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heme/themeOverride1.xml" ContentType="application/vnd.openxmlformats-officedocument.themeOverr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5" r:id="rId5"/>
    <p:sldMasterId id="2147483987" r:id="rId6"/>
  </p:sldMasterIdLst>
  <p:notesMasterIdLst>
    <p:notesMasterId r:id="rId38"/>
  </p:notesMasterIdLst>
  <p:sldIdLst>
    <p:sldId id="263" r:id="rId7"/>
    <p:sldId id="284" r:id="rId8"/>
    <p:sldId id="2147483647" r:id="rId9"/>
    <p:sldId id="273" r:id="rId10"/>
    <p:sldId id="2147483643" r:id="rId11"/>
    <p:sldId id="276" r:id="rId12"/>
    <p:sldId id="270" r:id="rId13"/>
    <p:sldId id="277" r:id="rId14"/>
    <p:sldId id="272" r:id="rId15"/>
    <p:sldId id="278" r:id="rId16"/>
    <p:sldId id="283" r:id="rId17"/>
    <p:sldId id="262" r:id="rId18"/>
    <p:sldId id="261" r:id="rId19"/>
    <p:sldId id="274" r:id="rId20"/>
    <p:sldId id="281" r:id="rId21"/>
    <p:sldId id="280" r:id="rId22"/>
    <p:sldId id="282" r:id="rId23"/>
    <p:sldId id="267" r:id="rId24"/>
    <p:sldId id="2147483641" r:id="rId25"/>
    <p:sldId id="268" r:id="rId26"/>
    <p:sldId id="258" r:id="rId27"/>
    <p:sldId id="265" r:id="rId28"/>
    <p:sldId id="269" r:id="rId29"/>
    <p:sldId id="279" r:id="rId30"/>
    <p:sldId id="260" r:id="rId31"/>
    <p:sldId id="266" r:id="rId32"/>
    <p:sldId id="264" r:id="rId33"/>
    <p:sldId id="256" r:id="rId34"/>
    <p:sldId id="275" r:id="rId35"/>
    <p:sldId id="2147483644" r:id="rId36"/>
    <p:sldId id="271" r:id="rId37"/>
  </p:sldIdLst>
  <p:sldSz cx="12192000" cy="6858000"/>
  <p:notesSz cx="7010400" cy="92964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CFA119-34B0-411E-8ACB-EC36691231DF}">
          <p14:sldIdLst>
            <p14:sldId id="263"/>
            <p14:sldId id="284"/>
            <p14:sldId id="2147483647"/>
            <p14:sldId id="273"/>
            <p14:sldId id="2147483643"/>
            <p14:sldId id="276"/>
            <p14:sldId id="270"/>
            <p14:sldId id="277"/>
            <p14:sldId id="272"/>
            <p14:sldId id="278"/>
            <p14:sldId id="283"/>
            <p14:sldId id="262"/>
            <p14:sldId id="261"/>
            <p14:sldId id="274"/>
            <p14:sldId id="281"/>
            <p14:sldId id="280"/>
            <p14:sldId id="282"/>
            <p14:sldId id="267"/>
            <p14:sldId id="2147483641"/>
            <p14:sldId id="268"/>
            <p14:sldId id="258"/>
            <p14:sldId id="265"/>
            <p14:sldId id="269"/>
            <p14:sldId id="279"/>
            <p14:sldId id="260"/>
            <p14:sldId id="266"/>
            <p14:sldId id="264"/>
            <p14:sldId id="256"/>
            <p14:sldId id="275"/>
            <p14:sldId id="2147483644"/>
            <p14:sldId id="2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1A240D-A016-229C-DEA0-4D45C7AB8119}" name="El Mehdi Abdat" initials="EA" userId="S::ElMehdi.Abdat@ventureone.ae::12fd7c7e-045c-482f-8d57-8f8db3b57389" providerId="AD"/>
  <p188:author id="{ECEFB5B2-8C47-B123-D083-EFD13B676FD3}" name="Clementine Dumortier" initials="CD" userId="S::clementine.dumortier@ventureone.ae::0fc01a85-59e2-49d7-b6a2-cf7d6a05318b" providerId="AD"/>
  <p188:author id="{89609CB8-EB10-0A97-F505-0B9D95FD08A1}" name="Abdelrahaman Aly" initials="AA" userId="S::abdelrahaman.aly@tii.ae::64865cd5-069c-41e6-8835-e8360e691aa1" providerId="AD"/>
  <p188:author id="{A02339E2-2ACB-D6A4-C45B-D0F3C538C7C7}" name="Christopher Walton" initials="CW" userId="S::christopher.walton@ventureone.ae::2582c1d1-b960-4d02-bc6d-402a7206d0a0" providerId="AD"/>
  <p188:author id="{69A6E4F6-6E99-1262-74BE-A8B2B3806B6E}" name="Maria Adami" initials="MA" userId="S::Maria.Adami@tii.ae::2dbf8ce5-8c3a-4315-810d-b889d940c6b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300FF"/>
    <a:srgbClr val="6400FF"/>
    <a:srgbClr val="FCFCFC"/>
    <a:srgbClr val="FBFBFB"/>
    <a:srgbClr val="F2F2F2"/>
    <a:srgbClr val="7229F6"/>
    <a:srgbClr val="1F9F92"/>
    <a:srgbClr val="6F8FB8"/>
    <a:srgbClr val="F6F6F6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458646-7D2F-3348-9320-DE510141F94E}" v="18" dt="2026-06-22T19:39:00.0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35"/>
    <p:restoredTop sz="95751"/>
  </p:normalViewPr>
  <p:slideViewPr>
    <p:cSldViewPr snapToGrid="0">
      <p:cViewPr varScale="1">
        <p:scale>
          <a:sx n="115" d="100"/>
          <a:sy n="115" d="100"/>
        </p:scale>
        <p:origin x="848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gs" Target="tags/tag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46" Type="http://schemas.microsoft.com/office/2018/10/relationships/authors" Target="authors.xml"/><Relationship Id="rId20" Type="http://schemas.openxmlformats.org/officeDocument/2006/relationships/slide" Target="slides/slide14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ctor Sucasas" userId="5e9b3a00-e16d-44aa-9a74-a37ad9fec3fb" providerId="ADAL" clId="{1E76A972-478F-5263-9F7B-46BF61F39BB0}"/>
    <pc:docChg chg="undo custSel addSld delSld modSld sldOrd modSection">
      <pc:chgData name="Victor Sucasas" userId="5e9b3a00-e16d-44aa-9a74-a37ad9fec3fb" providerId="ADAL" clId="{1E76A972-478F-5263-9F7B-46BF61F39BB0}" dt="2026-06-22T19:52:56.968" v="2429" actId="20577"/>
      <pc:docMkLst>
        <pc:docMk/>
      </pc:docMkLst>
      <pc:sldChg chg="ord">
        <pc:chgData name="Victor Sucasas" userId="5e9b3a00-e16d-44aa-9a74-a37ad9fec3fb" providerId="ADAL" clId="{1E76A972-478F-5263-9F7B-46BF61F39BB0}" dt="2026-06-08T16:54:00.021" v="0" actId="20578"/>
        <pc:sldMkLst>
          <pc:docMk/>
          <pc:sldMk cId="2358994834" sldId="256"/>
        </pc:sldMkLst>
      </pc:sldChg>
      <pc:sldChg chg="add">
        <pc:chgData name="Victor Sucasas" userId="5e9b3a00-e16d-44aa-9a74-a37ad9fec3fb" providerId="ADAL" clId="{1E76A972-478F-5263-9F7B-46BF61F39BB0}" dt="2026-06-12T12:41:41.538" v="2347"/>
        <pc:sldMkLst>
          <pc:docMk/>
          <pc:sldMk cId="3130519185" sldId="257"/>
        </pc:sldMkLst>
      </pc:sldChg>
      <pc:sldChg chg="modSp add mod">
        <pc:chgData name="Victor Sucasas" userId="5e9b3a00-e16d-44aa-9a74-a37ad9fec3fb" providerId="ADAL" clId="{1E76A972-478F-5263-9F7B-46BF61F39BB0}" dt="2026-06-11T11:49:12.508" v="1270" actId="20577"/>
        <pc:sldMkLst>
          <pc:docMk/>
          <pc:sldMk cId="2356372009" sldId="258"/>
        </pc:sldMkLst>
        <pc:spChg chg="mod">
          <ac:chgData name="Victor Sucasas" userId="5e9b3a00-e16d-44aa-9a74-a37ad9fec3fb" providerId="ADAL" clId="{1E76A972-478F-5263-9F7B-46BF61F39BB0}" dt="2026-06-11T11:49:12.508" v="1270" actId="20577"/>
          <ac:spMkLst>
            <pc:docMk/>
            <pc:sldMk cId="2356372009" sldId="258"/>
            <ac:spMk id="2" creationId="{D95C5478-E874-8BD9-B20F-D6716FFD6E6F}"/>
          </ac:spMkLst>
        </pc:spChg>
      </pc:sldChg>
      <pc:sldChg chg="add">
        <pc:chgData name="Victor Sucasas" userId="5e9b3a00-e16d-44aa-9a74-a37ad9fec3fb" providerId="ADAL" clId="{1E76A972-478F-5263-9F7B-46BF61F39BB0}" dt="2026-06-12T12:41:41.538" v="2347"/>
        <pc:sldMkLst>
          <pc:docMk/>
          <pc:sldMk cId="8861435" sldId="259"/>
        </pc:sldMkLst>
      </pc:sldChg>
      <pc:sldChg chg="delSp modSp mod delAnim">
        <pc:chgData name="Victor Sucasas" userId="5e9b3a00-e16d-44aa-9a74-a37ad9fec3fb" providerId="ADAL" clId="{1E76A972-478F-5263-9F7B-46BF61F39BB0}" dt="2026-06-11T10:59:30.546" v="154" actId="478"/>
        <pc:sldMkLst>
          <pc:docMk/>
          <pc:sldMk cId="118269092" sldId="261"/>
        </pc:sldMkLst>
      </pc:sldChg>
      <pc:sldChg chg="addSp delSp modSp mod">
        <pc:chgData name="Victor Sucasas" userId="5e9b3a00-e16d-44aa-9a74-a37ad9fec3fb" providerId="ADAL" clId="{1E76A972-478F-5263-9F7B-46BF61F39BB0}" dt="2026-06-11T12:14:08.399" v="1590" actId="478"/>
        <pc:sldMkLst>
          <pc:docMk/>
          <pc:sldMk cId="2163501029" sldId="262"/>
        </pc:sldMkLst>
      </pc:sldChg>
      <pc:sldChg chg="modSp add mod modAnim">
        <pc:chgData name="Victor Sucasas" userId="5e9b3a00-e16d-44aa-9a74-a37ad9fec3fb" providerId="ADAL" clId="{1E76A972-478F-5263-9F7B-46BF61F39BB0}" dt="2026-06-12T12:17:38.430" v="2343" actId="1076"/>
        <pc:sldMkLst>
          <pc:docMk/>
          <pc:sldMk cId="352003613" sldId="265"/>
        </pc:sldMkLst>
        <pc:spChg chg="mod">
          <ac:chgData name="Victor Sucasas" userId="5e9b3a00-e16d-44aa-9a74-a37ad9fec3fb" providerId="ADAL" clId="{1E76A972-478F-5263-9F7B-46BF61F39BB0}" dt="2026-06-12T12:17:33.710" v="2342" actId="1076"/>
          <ac:spMkLst>
            <pc:docMk/>
            <pc:sldMk cId="352003613" sldId="265"/>
            <ac:spMk id="124" creationId="{98AD43A5-F28F-8937-1F9A-07DDB3E98B77}"/>
          </ac:spMkLst>
        </pc:spChg>
        <pc:spChg chg="mod">
          <ac:chgData name="Victor Sucasas" userId="5e9b3a00-e16d-44aa-9a74-a37ad9fec3fb" providerId="ADAL" clId="{1E76A972-478F-5263-9F7B-46BF61F39BB0}" dt="2026-06-12T12:17:38.430" v="2343" actId="1076"/>
          <ac:spMkLst>
            <pc:docMk/>
            <pc:sldMk cId="352003613" sldId="265"/>
            <ac:spMk id="128" creationId="{C0663CE4-F059-73C3-E782-CD5C007793C8}"/>
          </ac:spMkLst>
        </pc:spChg>
        <pc:picChg chg="mod">
          <ac:chgData name="Victor Sucasas" userId="5e9b3a00-e16d-44aa-9a74-a37ad9fec3fb" providerId="ADAL" clId="{1E76A972-478F-5263-9F7B-46BF61F39BB0}" dt="2026-06-12T12:17:38.430" v="2343" actId="1076"/>
          <ac:picMkLst>
            <pc:docMk/>
            <pc:sldMk cId="352003613" sldId="265"/>
            <ac:picMk id="127" creationId="{D765DD89-00A8-DE61-F00D-0C32D0089788}"/>
          </ac:picMkLst>
        </pc:picChg>
      </pc:sldChg>
      <pc:sldChg chg="modSp add mod ord">
        <pc:chgData name="Victor Sucasas" userId="5e9b3a00-e16d-44aa-9a74-a37ad9fec3fb" providerId="ADAL" clId="{1E76A972-478F-5263-9F7B-46BF61F39BB0}" dt="2026-06-11T11:49:02.381" v="1254" actId="20577"/>
        <pc:sldMkLst>
          <pc:docMk/>
          <pc:sldMk cId="792693027" sldId="267"/>
        </pc:sldMkLst>
        <pc:spChg chg="mod">
          <ac:chgData name="Victor Sucasas" userId="5e9b3a00-e16d-44aa-9a74-a37ad9fec3fb" providerId="ADAL" clId="{1E76A972-478F-5263-9F7B-46BF61F39BB0}" dt="2026-06-11T11:49:02.381" v="1254" actId="20577"/>
          <ac:spMkLst>
            <pc:docMk/>
            <pc:sldMk cId="792693027" sldId="267"/>
            <ac:spMk id="2" creationId="{3E9C483C-1A11-078B-54F8-DE217CB6B80D}"/>
          </ac:spMkLst>
        </pc:spChg>
      </pc:sldChg>
      <pc:sldChg chg="add">
        <pc:chgData name="Victor Sucasas" userId="5e9b3a00-e16d-44aa-9a74-a37ad9fec3fb" providerId="ADAL" clId="{1E76A972-478F-5263-9F7B-46BF61F39BB0}" dt="2026-06-11T11:46:38.011" v="1214"/>
        <pc:sldMkLst>
          <pc:docMk/>
          <pc:sldMk cId="2143697301" sldId="268"/>
        </pc:sldMkLst>
      </pc:sldChg>
      <pc:sldChg chg="delSp modSp add mod delAnim">
        <pc:chgData name="Victor Sucasas" userId="5e9b3a00-e16d-44aa-9a74-a37ad9fec3fb" providerId="ADAL" clId="{1E76A972-478F-5263-9F7B-46BF61F39BB0}" dt="2026-06-22T19:52:56.968" v="2429" actId="20577"/>
        <pc:sldMkLst>
          <pc:docMk/>
          <pc:sldMk cId="221343574" sldId="269"/>
        </pc:sldMkLst>
        <pc:spChg chg="mod">
          <ac:chgData name="Victor Sucasas" userId="5e9b3a00-e16d-44aa-9a74-a37ad9fec3fb" providerId="ADAL" clId="{1E76A972-478F-5263-9F7B-46BF61F39BB0}" dt="2026-06-22T19:52:56.968" v="2429" actId="20577"/>
          <ac:spMkLst>
            <pc:docMk/>
            <pc:sldMk cId="221343574" sldId="269"/>
            <ac:spMk id="29" creationId="{D06CF79F-A1D2-EC30-8F07-D0D44AD0BB66}"/>
          </ac:spMkLst>
        </pc:spChg>
      </pc:sldChg>
      <pc:sldChg chg="addSp delSp modSp add mod modAnim">
        <pc:chgData name="Victor Sucasas" userId="5e9b3a00-e16d-44aa-9a74-a37ad9fec3fb" providerId="ADAL" clId="{1E76A972-478F-5263-9F7B-46BF61F39BB0}" dt="2026-06-11T12:16:33.001" v="1600"/>
        <pc:sldMkLst>
          <pc:docMk/>
          <pc:sldMk cId="52127948" sldId="270"/>
        </pc:sldMkLst>
        <pc:spChg chg="mod">
          <ac:chgData name="Victor Sucasas" userId="5e9b3a00-e16d-44aa-9a74-a37ad9fec3fb" providerId="ADAL" clId="{1E76A972-478F-5263-9F7B-46BF61F39BB0}" dt="2026-06-11T06:14:54.265" v="91" actId="14100"/>
          <ac:spMkLst>
            <pc:docMk/>
            <pc:sldMk cId="52127948" sldId="270"/>
            <ac:spMk id="2" creationId="{69ACA62B-FE2D-59BD-00AA-03A93C83B168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11" creationId="{1EBA4B00-7A2C-75C1-B61C-1A165FBBC4EF}"/>
          </ac:spMkLst>
        </pc:spChg>
        <pc:spChg chg="mod">
          <ac:chgData name="Victor Sucasas" userId="5e9b3a00-e16d-44aa-9a74-a37ad9fec3fb" providerId="ADAL" clId="{1E76A972-478F-5263-9F7B-46BF61F39BB0}" dt="2026-06-11T11:12:55.526" v="292" actId="1076"/>
          <ac:spMkLst>
            <pc:docMk/>
            <pc:sldMk cId="52127948" sldId="270"/>
            <ac:spMk id="32" creationId="{91FD960E-FEB4-FC77-392C-AB930260AB85}"/>
          </ac:spMkLst>
        </pc:spChg>
        <pc:spChg chg="mod">
          <ac:chgData name="Victor Sucasas" userId="5e9b3a00-e16d-44aa-9a74-a37ad9fec3fb" providerId="ADAL" clId="{1E76A972-478F-5263-9F7B-46BF61F39BB0}" dt="2026-06-11T11:17:07.582" v="357" actId="1076"/>
          <ac:spMkLst>
            <pc:docMk/>
            <pc:sldMk cId="52127948" sldId="270"/>
            <ac:spMk id="37" creationId="{BE269453-9E0C-FE5E-F767-F84B08C8AFDC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45" creationId="{4E6D4692-8BC2-B180-8029-649210CC5984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49" creationId="{39CAFDE6-DEE0-0FA1-00AC-8779111D8555}"/>
          </ac:spMkLst>
        </pc:spChg>
        <pc:spChg chg="mod">
          <ac:chgData name="Victor Sucasas" userId="5e9b3a00-e16d-44aa-9a74-a37ad9fec3fb" providerId="ADAL" clId="{1E76A972-478F-5263-9F7B-46BF61F39BB0}" dt="2026-06-11T11:12:55.526" v="292" actId="1076"/>
          <ac:spMkLst>
            <pc:docMk/>
            <pc:sldMk cId="52127948" sldId="270"/>
            <ac:spMk id="59" creationId="{D001E87D-99FF-742C-2EC8-E9CC911CB333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60" creationId="{DF8DEAEE-047E-D0CC-D9E6-F727A08E8E10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61" creationId="{904F9894-77C3-31EE-33A2-ADF399E62F3B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63" creationId="{F5B55B33-3D76-B8D7-7478-27D0F78BCDD3}"/>
          </ac:spMkLst>
        </pc:spChg>
        <pc:spChg chg="add mod">
          <ac:chgData name="Victor Sucasas" userId="5e9b3a00-e16d-44aa-9a74-a37ad9fec3fb" providerId="ADAL" clId="{1E76A972-478F-5263-9F7B-46BF61F39BB0}" dt="2026-06-11T11:17:07.582" v="357" actId="1076"/>
          <ac:spMkLst>
            <pc:docMk/>
            <pc:sldMk cId="52127948" sldId="270"/>
            <ac:spMk id="69" creationId="{801BF400-1914-78FF-AE6A-CEA403257974}"/>
          </ac:spMkLst>
        </pc:spChg>
        <pc:spChg chg="mod">
          <ac:chgData name="Victor Sucasas" userId="5e9b3a00-e16d-44aa-9a74-a37ad9fec3fb" providerId="ADAL" clId="{1E76A972-478F-5263-9F7B-46BF61F39BB0}" dt="2026-06-11T11:15:45.114" v="324" actId="1076"/>
          <ac:spMkLst>
            <pc:docMk/>
            <pc:sldMk cId="52127948" sldId="270"/>
            <ac:spMk id="73" creationId="{B75CBFE0-5166-0D76-85F5-C3E5D8C7FC37}"/>
          </ac:spMkLst>
        </pc:spChg>
        <pc:spChg chg="mod">
          <ac:chgData name="Victor Sucasas" userId="5e9b3a00-e16d-44aa-9a74-a37ad9fec3fb" providerId="ADAL" clId="{1E76A972-478F-5263-9F7B-46BF61F39BB0}" dt="2026-06-11T11:12:55.526" v="292" actId="1076"/>
          <ac:spMkLst>
            <pc:docMk/>
            <pc:sldMk cId="52127948" sldId="270"/>
            <ac:spMk id="78" creationId="{F2D317E0-7384-E726-78A5-075FAA2AD957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81" creationId="{97C5FD11-62B2-2A1B-A8B2-C44F9EA347EC}"/>
          </ac:spMkLst>
        </pc:spChg>
        <pc:spChg chg="add mod">
          <ac:chgData name="Victor Sucasas" userId="5e9b3a00-e16d-44aa-9a74-a37ad9fec3fb" providerId="ADAL" clId="{1E76A972-478F-5263-9F7B-46BF61F39BB0}" dt="2026-06-11T11:19:39.351" v="408" actId="1076"/>
          <ac:spMkLst>
            <pc:docMk/>
            <pc:sldMk cId="52127948" sldId="270"/>
            <ac:spMk id="85" creationId="{B3E09583-CA8E-FDD8-C72C-07519392DE51}"/>
          </ac:spMkLst>
        </pc:spChg>
        <pc:spChg chg="add mod">
          <ac:chgData name="Victor Sucasas" userId="5e9b3a00-e16d-44aa-9a74-a37ad9fec3fb" providerId="ADAL" clId="{1E76A972-478F-5263-9F7B-46BF61F39BB0}" dt="2026-06-11T11:19:39.351" v="408" actId="1076"/>
          <ac:spMkLst>
            <pc:docMk/>
            <pc:sldMk cId="52127948" sldId="270"/>
            <ac:spMk id="87" creationId="{FDE2975B-18EA-4767-55FB-0096782388BE}"/>
          </ac:spMkLst>
        </pc:spChg>
        <pc:spChg chg="add mod">
          <ac:chgData name="Victor Sucasas" userId="5e9b3a00-e16d-44aa-9a74-a37ad9fec3fb" providerId="ADAL" clId="{1E76A972-478F-5263-9F7B-46BF61F39BB0}" dt="2026-06-11T11:19:39.351" v="408" actId="1076"/>
          <ac:spMkLst>
            <pc:docMk/>
            <pc:sldMk cId="52127948" sldId="270"/>
            <ac:spMk id="88" creationId="{071A03E2-2607-7BB9-452A-E5DCEFD31057}"/>
          </ac:spMkLst>
        </pc:spChg>
        <pc:spChg chg="add mod">
          <ac:chgData name="Victor Sucasas" userId="5e9b3a00-e16d-44aa-9a74-a37ad9fec3fb" providerId="ADAL" clId="{1E76A972-478F-5263-9F7B-46BF61F39BB0}" dt="2026-06-11T11:19:39.351" v="408" actId="1076"/>
          <ac:spMkLst>
            <pc:docMk/>
            <pc:sldMk cId="52127948" sldId="270"/>
            <ac:spMk id="90" creationId="{16282525-1E8C-87D2-5A85-91F98837B621}"/>
          </ac:spMkLst>
        </pc:spChg>
        <pc:spChg chg="add mod">
          <ac:chgData name="Victor Sucasas" userId="5e9b3a00-e16d-44aa-9a74-a37ad9fec3fb" providerId="ADAL" clId="{1E76A972-478F-5263-9F7B-46BF61F39BB0}" dt="2026-06-11T11:44:51.088" v="1177" actId="1076"/>
          <ac:spMkLst>
            <pc:docMk/>
            <pc:sldMk cId="52127948" sldId="270"/>
            <ac:spMk id="103" creationId="{649205F4-DDF0-EB79-EB4B-25B1BD9F7D95}"/>
          </ac:spMkLst>
        </pc:spChg>
        <pc:spChg chg="add mod">
          <ac:chgData name="Victor Sucasas" userId="5e9b3a00-e16d-44aa-9a74-a37ad9fec3fb" providerId="ADAL" clId="{1E76A972-478F-5263-9F7B-46BF61F39BB0}" dt="2026-06-11T11:20:54.894" v="453" actId="1036"/>
          <ac:spMkLst>
            <pc:docMk/>
            <pc:sldMk cId="52127948" sldId="270"/>
            <ac:spMk id="104" creationId="{CF6F6010-BA59-D7AA-DC10-8A7535AE754B}"/>
          </ac:spMkLst>
        </pc:spChg>
        <pc:spChg chg="mod">
          <ac:chgData name="Victor Sucasas" userId="5e9b3a00-e16d-44aa-9a74-a37ad9fec3fb" providerId="ADAL" clId="{1E76A972-478F-5263-9F7B-46BF61F39BB0}" dt="2026-06-11T11:19:14.554" v="403" actId="1076"/>
          <ac:spMkLst>
            <pc:docMk/>
            <pc:sldMk cId="52127948" sldId="270"/>
            <ac:spMk id="112" creationId="{97B1DE46-8C9A-E2B7-D89E-87903694648A}"/>
          </ac:spMkLst>
        </pc:spChg>
        <pc:spChg chg="mod">
          <ac:chgData name="Victor Sucasas" userId="5e9b3a00-e16d-44aa-9a74-a37ad9fec3fb" providerId="ADAL" clId="{1E76A972-478F-5263-9F7B-46BF61F39BB0}" dt="2026-06-11T11:15:45.114" v="324" actId="1076"/>
          <ac:spMkLst>
            <pc:docMk/>
            <pc:sldMk cId="52127948" sldId="270"/>
            <ac:spMk id="113" creationId="{6C57AB43-DD2C-04A0-8C71-6D37B5A999D9}"/>
          </ac:spMkLst>
        </pc:spChg>
        <pc:spChg chg="add mod">
          <ac:chgData name="Victor Sucasas" userId="5e9b3a00-e16d-44aa-9a74-a37ad9fec3fb" providerId="ADAL" clId="{1E76A972-478F-5263-9F7B-46BF61F39BB0}" dt="2026-06-11T11:20:54.894" v="453" actId="1036"/>
          <ac:spMkLst>
            <pc:docMk/>
            <pc:sldMk cId="52127948" sldId="270"/>
            <ac:spMk id="115" creationId="{0FF40631-0775-16B6-5B38-7CB0A465CCFF}"/>
          </ac:spMkLst>
        </pc:spChg>
        <pc:spChg chg="add mod">
          <ac:chgData name="Victor Sucasas" userId="5e9b3a00-e16d-44aa-9a74-a37ad9fec3fb" providerId="ADAL" clId="{1E76A972-478F-5263-9F7B-46BF61F39BB0}" dt="2026-06-11T11:45:03.540" v="1199" actId="14100"/>
          <ac:spMkLst>
            <pc:docMk/>
            <pc:sldMk cId="52127948" sldId="270"/>
            <ac:spMk id="118" creationId="{EDA4578F-A0D6-1046-9CF2-85D1C6C8C227}"/>
          </ac:spMkLst>
        </pc:spChg>
        <pc:spChg chg="add mod">
          <ac:chgData name="Victor Sucasas" userId="5e9b3a00-e16d-44aa-9a74-a37ad9fec3fb" providerId="ADAL" clId="{1E76A972-478F-5263-9F7B-46BF61F39BB0}" dt="2026-06-11T11:21:08.783" v="458" actId="1076"/>
          <ac:spMkLst>
            <pc:docMk/>
            <pc:sldMk cId="52127948" sldId="270"/>
            <ac:spMk id="119" creationId="{6A2B1C09-84E6-24CC-BFC2-1D7AACC2F7FC}"/>
          </ac:spMkLst>
        </pc:spChg>
        <pc:spChg chg="mod">
          <ac:chgData name="Victor Sucasas" userId="5e9b3a00-e16d-44aa-9a74-a37ad9fec3fb" providerId="ADAL" clId="{1E76A972-478F-5263-9F7B-46BF61F39BB0}" dt="2026-06-11T11:17:15.453" v="364" actId="20577"/>
          <ac:spMkLst>
            <pc:docMk/>
            <pc:sldMk cId="52127948" sldId="270"/>
            <ac:spMk id="141" creationId="{9070AD0C-97AD-CDC3-8465-84EF90DD77B0}"/>
          </ac:spMkLst>
        </pc:spChg>
        <pc:picChg chg="add mod">
          <ac:chgData name="Victor Sucasas" userId="5e9b3a00-e16d-44aa-9a74-a37ad9fec3fb" providerId="ADAL" clId="{1E76A972-478F-5263-9F7B-46BF61F39BB0}" dt="2026-06-11T11:14:19.697" v="307" actId="1076"/>
          <ac:picMkLst>
            <pc:docMk/>
            <pc:sldMk cId="52127948" sldId="270"/>
            <ac:picMk id="9" creationId="{6E262C12-1713-24D1-D8FF-030476E58967}"/>
          </ac:picMkLst>
        </pc:picChg>
        <pc:picChg chg="add mod">
          <ac:chgData name="Victor Sucasas" userId="5e9b3a00-e16d-44aa-9a74-a37ad9fec3fb" providerId="ADAL" clId="{1E76A972-478F-5263-9F7B-46BF61F39BB0}" dt="2026-06-11T11:15:33.530" v="322" actId="1076"/>
          <ac:picMkLst>
            <pc:docMk/>
            <pc:sldMk cId="52127948" sldId="270"/>
            <ac:picMk id="10" creationId="{37962C36-18D9-9D9E-E6D3-C3C8584ED9EF}"/>
          </ac:picMkLst>
        </pc:picChg>
        <pc:picChg chg="add mod">
          <ac:chgData name="Victor Sucasas" userId="5e9b3a00-e16d-44aa-9a74-a37ad9fec3fb" providerId="ADAL" clId="{1E76A972-478F-5263-9F7B-46BF61F39BB0}" dt="2026-06-11T11:14:58.499" v="309" actId="1076"/>
          <ac:picMkLst>
            <pc:docMk/>
            <pc:sldMk cId="52127948" sldId="270"/>
            <ac:picMk id="42" creationId="{77EF62C3-DBD7-3242-1FA8-F617B24408CA}"/>
          </ac:picMkLst>
        </pc:picChg>
        <pc:picChg chg="add mod">
          <ac:chgData name="Victor Sucasas" userId="5e9b3a00-e16d-44aa-9a74-a37ad9fec3fb" providerId="ADAL" clId="{1E76A972-478F-5263-9F7B-46BF61F39BB0}" dt="2026-06-11T11:15:12.764" v="312" actId="1076"/>
          <ac:picMkLst>
            <pc:docMk/>
            <pc:sldMk cId="52127948" sldId="270"/>
            <ac:picMk id="47" creationId="{FF428436-F226-0550-4D3F-C0C8C0C074E6}"/>
          </ac:picMkLst>
        </pc:picChg>
        <pc:picChg chg="add mod">
          <ac:chgData name="Victor Sucasas" userId="5e9b3a00-e16d-44aa-9a74-a37ad9fec3fb" providerId="ADAL" clId="{1E76A972-478F-5263-9F7B-46BF61F39BB0}" dt="2026-06-11T11:15:16.281" v="314" actId="1076"/>
          <ac:picMkLst>
            <pc:docMk/>
            <pc:sldMk cId="52127948" sldId="270"/>
            <ac:picMk id="48" creationId="{405B6E58-9599-BB3F-9121-1BFB4A399565}"/>
          </ac:picMkLst>
        </pc:picChg>
        <pc:picChg chg="add mod">
          <ac:chgData name="Victor Sucasas" userId="5e9b3a00-e16d-44aa-9a74-a37ad9fec3fb" providerId="ADAL" clId="{1E76A972-478F-5263-9F7B-46BF61F39BB0}" dt="2026-06-11T11:15:19.148" v="316" actId="1076"/>
          <ac:picMkLst>
            <pc:docMk/>
            <pc:sldMk cId="52127948" sldId="270"/>
            <ac:picMk id="51" creationId="{D25CDC19-F760-BA3C-271A-4483B7AC1AF4}"/>
          </ac:picMkLst>
        </pc:picChg>
        <pc:picChg chg="add mod">
          <ac:chgData name="Victor Sucasas" userId="5e9b3a00-e16d-44aa-9a74-a37ad9fec3fb" providerId="ADAL" clId="{1E76A972-478F-5263-9F7B-46BF61F39BB0}" dt="2026-06-11T11:15:23.031" v="318" actId="1076"/>
          <ac:picMkLst>
            <pc:docMk/>
            <pc:sldMk cId="52127948" sldId="270"/>
            <ac:picMk id="52" creationId="{45C98338-ACF0-07F1-3346-50151B6CC212}"/>
          </ac:picMkLst>
        </pc:picChg>
        <pc:picChg chg="add mod">
          <ac:chgData name="Victor Sucasas" userId="5e9b3a00-e16d-44aa-9a74-a37ad9fec3fb" providerId="ADAL" clId="{1E76A972-478F-5263-9F7B-46BF61F39BB0}" dt="2026-06-11T11:15:36.330" v="323" actId="1076"/>
          <ac:picMkLst>
            <pc:docMk/>
            <pc:sldMk cId="52127948" sldId="270"/>
            <ac:picMk id="53" creationId="{C07ED9AA-A132-742A-3C93-383FEBA723A0}"/>
          </ac:picMkLst>
        </pc:picChg>
        <pc:picChg chg="mod">
          <ac:chgData name="Victor Sucasas" userId="5e9b3a00-e16d-44aa-9a74-a37ad9fec3fb" providerId="ADAL" clId="{1E76A972-478F-5263-9F7B-46BF61F39BB0}" dt="2026-06-11T11:18:11.382" v="386" actId="1076"/>
          <ac:picMkLst>
            <pc:docMk/>
            <pc:sldMk cId="52127948" sldId="270"/>
            <ac:picMk id="65" creationId="{6E98B60B-C2D5-2D55-1432-F2CD2A704B83}"/>
          </ac:picMkLst>
        </pc:picChg>
        <pc:picChg chg="add mod">
          <ac:chgData name="Victor Sucasas" userId="5e9b3a00-e16d-44aa-9a74-a37ad9fec3fb" providerId="ADAL" clId="{1E76A972-478F-5263-9F7B-46BF61F39BB0}" dt="2026-06-11T11:19:07.070" v="402" actId="1035"/>
          <ac:picMkLst>
            <pc:docMk/>
            <pc:sldMk cId="52127948" sldId="270"/>
            <ac:picMk id="68" creationId="{627D7DC9-4862-2877-F156-08F7129E0C31}"/>
          </ac:picMkLst>
        </pc:picChg>
        <pc:picChg chg="add mod">
          <ac:chgData name="Victor Sucasas" userId="5e9b3a00-e16d-44aa-9a74-a37ad9fec3fb" providerId="ADAL" clId="{1E76A972-478F-5263-9F7B-46BF61F39BB0}" dt="2026-06-11T11:19:39.351" v="408" actId="1076"/>
          <ac:picMkLst>
            <pc:docMk/>
            <pc:sldMk cId="52127948" sldId="270"/>
            <ac:picMk id="70" creationId="{4D1FE102-0527-23ED-E443-2CA156862A77}"/>
          </ac:picMkLst>
        </pc:picChg>
        <pc:picChg chg="add mod">
          <ac:chgData name="Victor Sucasas" userId="5e9b3a00-e16d-44aa-9a74-a37ad9fec3fb" providerId="ADAL" clId="{1E76A972-478F-5263-9F7B-46BF61F39BB0}" dt="2026-06-11T11:19:39.351" v="408" actId="1076"/>
          <ac:picMkLst>
            <pc:docMk/>
            <pc:sldMk cId="52127948" sldId="270"/>
            <ac:picMk id="72" creationId="{D9C12483-6CCB-4A3C-AA8E-82124D3F6FBF}"/>
          </ac:picMkLst>
        </pc:picChg>
        <pc:picChg chg="add mod">
          <ac:chgData name="Victor Sucasas" userId="5e9b3a00-e16d-44aa-9a74-a37ad9fec3fb" providerId="ADAL" clId="{1E76A972-478F-5263-9F7B-46BF61F39BB0}" dt="2026-06-11T11:19:39.351" v="408" actId="1076"/>
          <ac:picMkLst>
            <pc:docMk/>
            <pc:sldMk cId="52127948" sldId="270"/>
            <ac:picMk id="75" creationId="{D2EBE15F-DB1F-C494-4DA8-CAB29D996FED}"/>
          </ac:picMkLst>
        </pc:picChg>
        <pc:picChg chg="add mod">
          <ac:chgData name="Victor Sucasas" userId="5e9b3a00-e16d-44aa-9a74-a37ad9fec3fb" providerId="ADAL" clId="{1E76A972-478F-5263-9F7B-46BF61F39BB0}" dt="2026-06-11T11:19:39.351" v="408" actId="1076"/>
          <ac:picMkLst>
            <pc:docMk/>
            <pc:sldMk cId="52127948" sldId="270"/>
            <ac:picMk id="82" creationId="{B8F67D0D-BF48-5611-BB98-2D7689B68905}"/>
          </ac:picMkLst>
        </pc:picChg>
        <pc:picChg chg="add mod">
          <ac:chgData name="Victor Sucasas" userId="5e9b3a00-e16d-44aa-9a74-a37ad9fec3fb" providerId="ADAL" clId="{1E76A972-478F-5263-9F7B-46BF61F39BB0}" dt="2026-06-11T11:19:39.351" v="408" actId="1076"/>
          <ac:picMkLst>
            <pc:docMk/>
            <pc:sldMk cId="52127948" sldId="270"/>
            <ac:picMk id="83" creationId="{B852A091-EB5E-977A-EB46-11E9376F2520}"/>
          </ac:picMkLst>
        </pc:picChg>
        <pc:picChg chg="add mod">
          <ac:chgData name="Victor Sucasas" userId="5e9b3a00-e16d-44aa-9a74-a37ad9fec3fb" providerId="ADAL" clId="{1E76A972-478F-5263-9F7B-46BF61F39BB0}" dt="2026-06-11T11:18:14.866" v="387" actId="1076"/>
          <ac:picMkLst>
            <pc:docMk/>
            <pc:sldMk cId="52127948" sldId="270"/>
            <ac:picMk id="84" creationId="{9F99F44D-003F-55E3-1500-04F3D382A1B5}"/>
          </ac:picMkLst>
        </pc:picChg>
        <pc:picChg chg="add mod">
          <ac:chgData name="Victor Sucasas" userId="5e9b3a00-e16d-44aa-9a74-a37ad9fec3fb" providerId="ADAL" clId="{1E76A972-478F-5263-9F7B-46BF61F39BB0}" dt="2026-06-11T11:19:39.351" v="408" actId="1076"/>
          <ac:picMkLst>
            <pc:docMk/>
            <pc:sldMk cId="52127948" sldId="270"/>
            <ac:picMk id="89" creationId="{16DACD35-0FC9-6675-C52A-2E08F44D3C46}"/>
          </ac:picMkLst>
        </pc:picChg>
        <pc:picChg chg="add mod">
          <ac:chgData name="Victor Sucasas" userId="5e9b3a00-e16d-44aa-9a74-a37ad9fec3fb" providerId="ADAL" clId="{1E76A972-478F-5263-9F7B-46BF61F39BB0}" dt="2026-06-11T11:44:45.075" v="1174" actId="1076"/>
          <ac:picMkLst>
            <pc:docMk/>
            <pc:sldMk cId="52127948" sldId="270"/>
            <ac:picMk id="99" creationId="{F9967205-A176-85C0-7862-14D299EAA387}"/>
          </ac:picMkLst>
        </pc:picChg>
        <pc:picChg chg="add mod">
          <ac:chgData name="Victor Sucasas" userId="5e9b3a00-e16d-44aa-9a74-a37ad9fec3fb" providerId="ADAL" clId="{1E76A972-478F-5263-9F7B-46BF61F39BB0}" dt="2026-06-11T11:44:48.124" v="1176" actId="1076"/>
          <ac:picMkLst>
            <pc:docMk/>
            <pc:sldMk cId="52127948" sldId="270"/>
            <ac:picMk id="120" creationId="{F7C07976-93CC-1D7E-9A59-F846C8D6A5D7}"/>
          </ac:picMkLst>
        </pc:picChg>
        <pc:picChg chg="add mod">
          <ac:chgData name="Victor Sucasas" userId="5e9b3a00-e16d-44aa-9a74-a37ad9fec3fb" providerId="ADAL" clId="{1E76A972-478F-5263-9F7B-46BF61F39BB0}" dt="2026-06-11T11:44:55.308" v="1179" actId="1076"/>
          <ac:picMkLst>
            <pc:docMk/>
            <pc:sldMk cId="52127948" sldId="270"/>
            <ac:picMk id="121" creationId="{91A55B1F-8F2A-143A-1D83-FBE90AC1428A}"/>
          </ac:picMkLst>
        </pc:picChg>
        <pc:cxnChg chg="add mod">
          <ac:chgData name="Victor Sucasas" userId="5e9b3a00-e16d-44aa-9a74-a37ad9fec3fb" providerId="ADAL" clId="{1E76A972-478F-5263-9F7B-46BF61F39BB0}" dt="2026-06-11T11:19:07.070" v="402" actId="1035"/>
          <ac:cxnSpMkLst>
            <pc:docMk/>
            <pc:sldMk cId="52127948" sldId="270"/>
            <ac:cxnSpMk id="34" creationId="{6840E41B-2F3E-3862-F399-E54045F6E076}"/>
          </ac:cxnSpMkLst>
        </pc:cxnChg>
        <pc:cxnChg chg="mod">
          <ac:chgData name="Victor Sucasas" userId="5e9b3a00-e16d-44aa-9a74-a37ad9fec3fb" providerId="ADAL" clId="{1E76A972-478F-5263-9F7B-46BF61F39BB0}" dt="2026-06-11T11:12:39.145" v="289" actId="14100"/>
          <ac:cxnSpMkLst>
            <pc:docMk/>
            <pc:sldMk cId="52127948" sldId="270"/>
            <ac:cxnSpMk id="38" creationId="{05D7E6DE-09B8-56D9-9143-D21607EFC911}"/>
          </ac:cxnSpMkLst>
        </pc:cxnChg>
        <pc:cxnChg chg="add mod">
          <ac:chgData name="Victor Sucasas" userId="5e9b3a00-e16d-44aa-9a74-a37ad9fec3fb" providerId="ADAL" clId="{1E76A972-478F-5263-9F7B-46BF61F39BB0}" dt="2026-06-11T11:14:16.681" v="306" actId="692"/>
          <ac:cxnSpMkLst>
            <pc:docMk/>
            <pc:sldMk cId="52127948" sldId="270"/>
            <ac:cxnSpMk id="39" creationId="{F9C71A67-FA9C-2DD9-429C-74544C3065FE}"/>
          </ac:cxnSpMkLst>
        </pc:cxnChg>
        <pc:cxnChg chg="add mod">
          <ac:chgData name="Victor Sucasas" userId="5e9b3a00-e16d-44aa-9a74-a37ad9fec3fb" providerId="ADAL" clId="{1E76A972-478F-5263-9F7B-46BF61F39BB0}" dt="2026-06-11T11:14:58.499" v="309" actId="1076"/>
          <ac:cxnSpMkLst>
            <pc:docMk/>
            <pc:sldMk cId="52127948" sldId="270"/>
            <ac:cxnSpMk id="46" creationId="{F6F96431-E68D-C922-DDB6-8EADF406ACCB}"/>
          </ac:cxnSpMkLst>
        </pc:cxnChg>
        <pc:cxnChg chg="mod">
          <ac:chgData name="Victor Sucasas" userId="5e9b3a00-e16d-44aa-9a74-a37ad9fec3fb" providerId="ADAL" clId="{1E76A972-478F-5263-9F7B-46BF61F39BB0}" dt="2026-06-11T11:12:42.031" v="290" actId="14100"/>
          <ac:cxnSpMkLst>
            <pc:docMk/>
            <pc:sldMk cId="52127948" sldId="270"/>
            <ac:cxnSpMk id="71" creationId="{FA9EC478-4000-5881-68FA-137932C7D378}"/>
          </ac:cxnSpMkLst>
        </pc:cxnChg>
        <pc:cxnChg chg="mod">
          <ac:chgData name="Victor Sucasas" userId="5e9b3a00-e16d-44aa-9a74-a37ad9fec3fb" providerId="ADAL" clId="{1E76A972-478F-5263-9F7B-46BF61F39BB0}" dt="2026-06-11T11:12:45.262" v="291" actId="14100"/>
          <ac:cxnSpMkLst>
            <pc:docMk/>
            <pc:sldMk cId="52127948" sldId="270"/>
            <ac:cxnSpMk id="102" creationId="{99A8A7DE-FCFF-E7B2-B17F-C0702A95B845}"/>
          </ac:cxnSpMkLst>
        </pc:cxnChg>
      </pc:sldChg>
      <pc:sldChg chg="addSp delSp modSp add mod modAnim">
        <pc:chgData name="Victor Sucasas" userId="5e9b3a00-e16d-44aa-9a74-a37ad9fec3fb" providerId="ADAL" clId="{1E76A972-478F-5263-9F7B-46BF61F39BB0}" dt="2026-06-12T06:00:01.976" v="1664"/>
        <pc:sldMkLst>
          <pc:docMk/>
          <pc:sldMk cId="1457163500" sldId="272"/>
        </pc:sldMkLst>
        <pc:spChg chg="mod">
          <ac:chgData name="Victor Sucasas" userId="5e9b3a00-e16d-44aa-9a74-a37ad9fec3fb" providerId="ADAL" clId="{1E76A972-478F-5263-9F7B-46BF61F39BB0}" dt="2026-06-11T06:15:04.632" v="113" actId="14100"/>
          <ac:spMkLst>
            <pc:docMk/>
            <pc:sldMk cId="1457163500" sldId="272"/>
            <ac:spMk id="2" creationId="{1DF80590-E672-4AA0-62DB-EA5972C95C9B}"/>
          </ac:spMkLst>
        </pc:spChg>
        <pc:spChg chg="add mod">
          <ac:chgData name="Victor Sucasas" userId="5e9b3a00-e16d-44aa-9a74-a37ad9fec3fb" providerId="ADAL" clId="{1E76A972-478F-5263-9F7B-46BF61F39BB0}" dt="2026-06-11T11:35:16.291" v="872"/>
          <ac:spMkLst>
            <pc:docMk/>
            <pc:sldMk cId="1457163500" sldId="272"/>
            <ac:spMk id="42" creationId="{43063871-0E00-3322-349E-E3E40C968BFE}"/>
          </ac:spMkLst>
        </pc:spChg>
        <pc:spChg chg="add mod">
          <ac:chgData name="Victor Sucasas" userId="5e9b3a00-e16d-44aa-9a74-a37ad9fec3fb" providerId="ADAL" clId="{1E76A972-478F-5263-9F7B-46BF61F39BB0}" dt="2026-06-11T11:35:16.291" v="872"/>
          <ac:spMkLst>
            <pc:docMk/>
            <pc:sldMk cId="1457163500" sldId="272"/>
            <ac:spMk id="46" creationId="{70850040-F1E3-4424-7480-F1844AF88A4A}"/>
          </ac:spMkLst>
        </pc:spChg>
        <pc:spChg chg="add mod">
          <ac:chgData name="Victor Sucasas" userId="5e9b3a00-e16d-44aa-9a74-a37ad9fec3fb" providerId="ADAL" clId="{1E76A972-478F-5263-9F7B-46BF61F39BB0}" dt="2026-06-11T11:35:16.291" v="872"/>
          <ac:spMkLst>
            <pc:docMk/>
            <pc:sldMk cId="1457163500" sldId="272"/>
            <ac:spMk id="47" creationId="{20C8BA3E-2BE6-F49A-14D1-A6C937E3F7E9}"/>
          </ac:spMkLst>
        </pc:spChg>
        <pc:spChg chg="add mod">
          <ac:chgData name="Victor Sucasas" userId="5e9b3a00-e16d-44aa-9a74-a37ad9fec3fb" providerId="ADAL" clId="{1E76A972-478F-5263-9F7B-46BF61F39BB0}" dt="2026-06-11T11:35:51.114" v="890" actId="14100"/>
          <ac:spMkLst>
            <pc:docMk/>
            <pc:sldMk cId="1457163500" sldId="272"/>
            <ac:spMk id="51" creationId="{E6FC57EC-D4FF-4925-6518-D528B473F5EE}"/>
          </ac:spMkLst>
        </pc:spChg>
        <pc:spChg chg="mod">
          <ac:chgData name="Victor Sucasas" userId="5e9b3a00-e16d-44aa-9a74-a37ad9fec3fb" providerId="ADAL" clId="{1E76A972-478F-5263-9F7B-46BF61F39BB0}" dt="2026-06-11T11:35:24.837" v="875" actId="20577"/>
          <ac:spMkLst>
            <pc:docMk/>
            <pc:sldMk cId="1457163500" sldId="272"/>
            <ac:spMk id="63" creationId="{69C1CBFC-EED1-89A8-D0E2-B72034A47BC1}"/>
          </ac:spMkLst>
        </pc:spChg>
        <pc:spChg chg="mod">
          <ac:chgData name="Victor Sucasas" userId="5e9b3a00-e16d-44aa-9a74-a37ad9fec3fb" providerId="ADAL" clId="{1E76A972-478F-5263-9F7B-46BF61F39BB0}" dt="2026-06-11T11:34:21.425" v="854" actId="20577"/>
          <ac:spMkLst>
            <pc:docMk/>
            <pc:sldMk cId="1457163500" sldId="272"/>
            <ac:spMk id="73" creationId="{1065A552-CE78-F354-2C79-74C5E4FFF41E}"/>
          </ac:spMkLst>
        </pc:spChg>
        <pc:spChg chg="add del">
          <ac:chgData name="Victor Sucasas" userId="5e9b3a00-e16d-44aa-9a74-a37ad9fec3fb" providerId="ADAL" clId="{1E76A972-478F-5263-9F7B-46BF61F39BB0}" dt="2026-06-11T11:38:49.350" v="897" actId="478"/>
          <ac:spMkLst>
            <pc:docMk/>
            <pc:sldMk cId="1457163500" sldId="272"/>
            <ac:spMk id="113" creationId="{B05B6959-7552-0B8B-89B8-24C8F6BF8C43}"/>
          </ac:spMkLst>
        </pc:spChg>
        <pc:spChg chg="mod">
          <ac:chgData name="Victor Sucasas" userId="5e9b3a00-e16d-44aa-9a74-a37ad9fec3fb" providerId="ADAL" clId="{1E76A972-478F-5263-9F7B-46BF61F39BB0}" dt="2026-06-11T11:39:05.177" v="900" actId="20577"/>
          <ac:spMkLst>
            <pc:docMk/>
            <pc:sldMk cId="1457163500" sldId="272"/>
            <ac:spMk id="141" creationId="{DDA61A70-AA65-E1D9-C328-5289CD1F5190}"/>
          </ac:spMkLst>
        </pc:spChg>
        <pc:picChg chg="add mod">
          <ac:chgData name="Victor Sucasas" userId="5e9b3a00-e16d-44aa-9a74-a37ad9fec3fb" providerId="ADAL" clId="{1E76A972-478F-5263-9F7B-46BF61F39BB0}" dt="2026-06-11T11:35:39.163" v="882" actId="1076"/>
          <ac:picMkLst>
            <pc:docMk/>
            <pc:sldMk cId="1457163500" sldId="272"/>
            <ac:picMk id="9" creationId="{96DC8E2D-E618-3971-FBAD-9F15E25FD5F4}"/>
          </ac:picMkLst>
        </pc:picChg>
        <pc:picChg chg="add mod">
          <ac:chgData name="Victor Sucasas" userId="5e9b3a00-e16d-44aa-9a74-a37ad9fec3fb" providerId="ADAL" clId="{1E76A972-478F-5263-9F7B-46BF61F39BB0}" dt="2026-06-11T11:34:43.231" v="859" actId="1076"/>
          <ac:picMkLst>
            <pc:docMk/>
            <pc:sldMk cId="1457163500" sldId="272"/>
            <ac:picMk id="10" creationId="{36172B63-8AB0-CAAF-B7AF-116E49CDB012}"/>
          </ac:picMkLst>
        </pc:picChg>
        <pc:picChg chg="add mod">
          <ac:chgData name="Victor Sucasas" userId="5e9b3a00-e16d-44aa-9a74-a37ad9fec3fb" providerId="ADAL" clId="{1E76A972-478F-5263-9F7B-46BF61F39BB0}" dt="2026-06-11T11:34:48.927" v="862" actId="1076"/>
          <ac:picMkLst>
            <pc:docMk/>
            <pc:sldMk cId="1457163500" sldId="272"/>
            <ac:picMk id="19" creationId="{2390F0E0-AE4F-91BC-D7B2-21A0E66B820C}"/>
          </ac:picMkLst>
        </pc:picChg>
        <pc:picChg chg="add mod">
          <ac:chgData name="Victor Sucasas" userId="5e9b3a00-e16d-44aa-9a74-a37ad9fec3fb" providerId="ADAL" clId="{1E76A972-478F-5263-9F7B-46BF61F39BB0}" dt="2026-06-11T11:34:52.677" v="864" actId="1076"/>
          <ac:picMkLst>
            <pc:docMk/>
            <pc:sldMk cId="1457163500" sldId="272"/>
            <ac:picMk id="20" creationId="{8469F5BE-77E0-4244-2456-8B24F896805A}"/>
          </ac:picMkLst>
        </pc:picChg>
        <pc:picChg chg="add mod">
          <ac:chgData name="Victor Sucasas" userId="5e9b3a00-e16d-44aa-9a74-a37ad9fec3fb" providerId="ADAL" clId="{1E76A972-478F-5263-9F7B-46BF61F39BB0}" dt="2026-06-11T11:34:55.711" v="866" actId="1076"/>
          <ac:picMkLst>
            <pc:docMk/>
            <pc:sldMk cId="1457163500" sldId="272"/>
            <ac:picMk id="27" creationId="{E812F283-8852-A043-3BB0-8157504F11BF}"/>
          </ac:picMkLst>
        </pc:picChg>
        <pc:picChg chg="add mod">
          <ac:chgData name="Victor Sucasas" userId="5e9b3a00-e16d-44aa-9a74-a37ad9fec3fb" providerId="ADAL" clId="{1E76A972-478F-5263-9F7B-46BF61F39BB0}" dt="2026-06-11T11:34:59.996" v="868" actId="1076"/>
          <ac:picMkLst>
            <pc:docMk/>
            <pc:sldMk cId="1457163500" sldId="272"/>
            <ac:picMk id="28" creationId="{B82749D8-AD7B-2EBD-F075-5F07F698471D}"/>
          </ac:picMkLst>
        </pc:picChg>
        <pc:picChg chg="add mod">
          <ac:chgData name="Victor Sucasas" userId="5e9b3a00-e16d-44aa-9a74-a37ad9fec3fb" providerId="ADAL" clId="{1E76A972-478F-5263-9F7B-46BF61F39BB0}" dt="2026-06-11T11:35:02.917" v="870" actId="1076"/>
          <ac:picMkLst>
            <pc:docMk/>
            <pc:sldMk cId="1457163500" sldId="272"/>
            <ac:picMk id="29" creationId="{66B34F90-1FEB-B2E0-3EB2-8F9FCF2486F0}"/>
          </ac:picMkLst>
        </pc:picChg>
        <pc:picChg chg="add mod">
          <ac:chgData name="Victor Sucasas" userId="5e9b3a00-e16d-44aa-9a74-a37ad9fec3fb" providerId="ADAL" clId="{1E76A972-478F-5263-9F7B-46BF61F39BB0}" dt="2026-06-11T11:35:16.291" v="872"/>
          <ac:picMkLst>
            <pc:docMk/>
            <pc:sldMk cId="1457163500" sldId="272"/>
            <ac:picMk id="30" creationId="{78D5B633-6E4F-11CC-A22C-84CFF7B4B555}"/>
          </ac:picMkLst>
        </pc:picChg>
        <pc:picChg chg="add mod">
          <ac:chgData name="Victor Sucasas" userId="5e9b3a00-e16d-44aa-9a74-a37ad9fec3fb" providerId="ADAL" clId="{1E76A972-478F-5263-9F7B-46BF61F39BB0}" dt="2026-06-11T11:35:16.291" v="872"/>
          <ac:picMkLst>
            <pc:docMk/>
            <pc:sldMk cId="1457163500" sldId="272"/>
            <ac:picMk id="34" creationId="{6601E9FB-C3A9-A3A6-1313-3717B13AB061}"/>
          </ac:picMkLst>
        </pc:picChg>
        <pc:picChg chg="add mod">
          <ac:chgData name="Victor Sucasas" userId="5e9b3a00-e16d-44aa-9a74-a37ad9fec3fb" providerId="ADAL" clId="{1E76A972-478F-5263-9F7B-46BF61F39BB0}" dt="2026-06-11T11:35:16.291" v="872"/>
          <ac:picMkLst>
            <pc:docMk/>
            <pc:sldMk cId="1457163500" sldId="272"/>
            <ac:picMk id="48" creationId="{12329474-0212-0F05-9435-54C6CD325697}"/>
          </ac:picMkLst>
        </pc:picChg>
        <pc:picChg chg="add mod">
          <ac:chgData name="Victor Sucasas" userId="5e9b3a00-e16d-44aa-9a74-a37ad9fec3fb" providerId="ADAL" clId="{1E76A972-478F-5263-9F7B-46BF61F39BB0}" dt="2026-06-11T11:35:41.714" v="884" actId="1076"/>
          <ac:picMkLst>
            <pc:docMk/>
            <pc:sldMk cId="1457163500" sldId="272"/>
            <ac:picMk id="52" creationId="{480AD745-CB06-A24E-253B-78140A1E920A}"/>
          </ac:picMkLst>
        </pc:picChg>
        <pc:picChg chg="add mod">
          <ac:chgData name="Victor Sucasas" userId="5e9b3a00-e16d-44aa-9a74-a37ad9fec3fb" providerId="ADAL" clId="{1E76A972-478F-5263-9F7B-46BF61F39BB0}" dt="2026-06-11T11:35:42.074" v="885"/>
          <ac:picMkLst>
            <pc:docMk/>
            <pc:sldMk cId="1457163500" sldId="272"/>
            <ac:picMk id="53" creationId="{A0F31B31-BFC8-D5CD-4647-FA06DDA5BD06}"/>
          </ac:picMkLst>
        </pc:picChg>
        <pc:picChg chg="add mod">
          <ac:chgData name="Victor Sucasas" userId="5e9b3a00-e16d-44aa-9a74-a37ad9fec3fb" providerId="ADAL" clId="{1E76A972-478F-5263-9F7B-46BF61F39BB0}" dt="2026-06-11T11:39:17.025" v="903" actId="1076"/>
          <ac:picMkLst>
            <pc:docMk/>
            <pc:sldMk cId="1457163500" sldId="272"/>
            <ac:picMk id="54" creationId="{97283B08-FC4A-AF5A-295C-A2CA0918D94E}"/>
          </ac:picMkLst>
        </pc:picChg>
        <pc:picChg chg="mod">
          <ac:chgData name="Victor Sucasas" userId="5e9b3a00-e16d-44aa-9a74-a37ad9fec3fb" providerId="ADAL" clId="{1E76A972-478F-5263-9F7B-46BF61F39BB0}" dt="2026-06-11T11:35:21.800" v="873" actId="1076"/>
          <ac:picMkLst>
            <pc:docMk/>
            <pc:sldMk cId="1457163500" sldId="272"/>
            <ac:picMk id="65" creationId="{9185A7F9-77CD-1967-BF52-891285871EE6}"/>
          </ac:picMkLst>
        </pc:picChg>
      </pc:sldChg>
      <pc:sldChg chg="addSp delSp modSp add mod modAnim">
        <pc:chgData name="Victor Sucasas" userId="5e9b3a00-e16d-44aa-9a74-a37ad9fec3fb" providerId="ADAL" clId="{1E76A972-478F-5263-9F7B-46BF61F39BB0}" dt="2026-06-11T12:10:52.876" v="1553" actId="1076"/>
        <pc:sldMkLst>
          <pc:docMk/>
          <pc:sldMk cId="2489473934" sldId="273"/>
        </pc:sldMkLst>
        <pc:spChg chg="add mod">
          <ac:chgData name="Victor Sucasas" userId="5e9b3a00-e16d-44aa-9a74-a37ad9fec3fb" providerId="ADAL" clId="{1E76A972-478F-5263-9F7B-46BF61F39BB0}" dt="2026-06-11T12:10:50.077" v="1551" actId="1076"/>
          <ac:spMkLst>
            <pc:docMk/>
            <pc:sldMk cId="2489473934" sldId="273"/>
            <ac:spMk id="4" creationId="{9DA38F94-A9E0-68A3-006F-BE1B4FD2E4A2}"/>
          </ac:spMkLst>
        </pc:spChg>
        <pc:spChg chg="add mod">
          <ac:chgData name="Victor Sucasas" userId="5e9b3a00-e16d-44aa-9a74-a37ad9fec3fb" providerId="ADAL" clId="{1E76A972-478F-5263-9F7B-46BF61F39BB0}" dt="2026-06-11T11:09:56.180" v="249" actId="14100"/>
          <ac:spMkLst>
            <pc:docMk/>
            <pc:sldMk cId="2489473934" sldId="273"/>
            <ac:spMk id="9" creationId="{77A3E46D-886D-93EB-2CD3-52B22B73DD69}"/>
          </ac:spMkLst>
        </pc:spChg>
        <pc:spChg chg="add mod">
          <ac:chgData name="Victor Sucasas" userId="5e9b3a00-e16d-44aa-9a74-a37ad9fec3fb" providerId="ADAL" clId="{1E76A972-478F-5263-9F7B-46BF61F39BB0}" dt="2026-06-11T11:50:17.555" v="1274" actId="1035"/>
          <ac:spMkLst>
            <pc:docMk/>
            <pc:sldMk cId="2489473934" sldId="273"/>
            <ac:spMk id="15" creationId="{03D1DF86-B473-8C67-A943-93DEB1C5F452}"/>
          </ac:spMkLst>
        </pc:spChg>
        <pc:spChg chg="mod">
          <ac:chgData name="Victor Sucasas" userId="5e9b3a00-e16d-44aa-9a74-a37ad9fec3fb" providerId="ADAL" clId="{1E76A972-478F-5263-9F7B-46BF61F39BB0}" dt="2026-06-11T06:15:21.434" v="135" actId="20577"/>
          <ac:spMkLst>
            <pc:docMk/>
            <pc:sldMk cId="2489473934" sldId="273"/>
            <ac:spMk id="56" creationId="{8705FD9C-F288-757A-BB7E-BA6981A22606}"/>
          </ac:spMkLst>
        </pc:spChg>
        <pc:picChg chg="add mod">
          <ac:chgData name="Victor Sucasas" userId="5e9b3a00-e16d-44aa-9a74-a37ad9fec3fb" providerId="ADAL" clId="{1E76A972-478F-5263-9F7B-46BF61F39BB0}" dt="2026-06-11T12:10:46.260" v="1550" actId="1076"/>
          <ac:picMkLst>
            <pc:docMk/>
            <pc:sldMk cId="2489473934" sldId="273"/>
            <ac:picMk id="3" creationId="{E166CEE6-DD37-4237-3EDA-F6D7DF229597}"/>
          </ac:picMkLst>
        </pc:picChg>
        <pc:picChg chg="add mod">
          <ac:chgData name="Victor Sucasas" userId="5e9b3a00-e16d-44aa-9a74-a37ad9fec3fb" providerId="ADAL" clId="{1E76A972-478F-5263-9F7B-46BF61F39BB0}" dt="2026-06-11T12:10:50.077" v="1551" actId="1076"/>
          <ac:picMkLst>
            <pc:docMk/>
            <pc:sldMk cId="2489473934" sldId="273"/>
            <ac:picMk id="5" creationId="{6D9A95E8-74A9-14C5-45BE-CD404352089A}"/>
          </ac:picMkLst>
        </pc:picChg>
        <pc:picChg chg="add mod">
          <ac:chgData name="Victor Sucasas" userId="5e9b3a00-e16d-44aa-9a74-a37ad9fec3fb" providerId="ADAL" clId="{1E76A972-478F-5263-9F7B-46BF61F39BB0}" dt="2026-06-11T11:09:46.744" v="246" actId="1076"/>
          <ac:picMkLst>
            <pc:docMk/>
            <pc:sldMk cId="2489473934" sldId="273"/>
            <ac:picMk id="6" creationId="{101633AC-2199-1867-9FDD-8518E7C7D734}"/>
          </ac:picMkLst>
        </pc:picChg>
        <pc:picChg chg="add mod">
          <ac:chgData name="Victor Sucasas" userId="5e9b3a00-e16d-44aa-9a74-a37ad9fec3fb" providerId="ADAL" clId="{1E76A972-478F-5263-9F7B-46BF61F39BB0}" dt="2026-06-11T11:09:45.177" v="245" actId="1076"/>
          <ac:picMkLst>
            <pc:docMk/>
            <pc:sldMk cId="2489473934" sldId="273"/>
            <ac:picMk id="10" creationId="{584DDE03-E311-9A52-4320-3E80C0D646FB}"/>
          </ac:picMkLst>
        </pc:picChg>
        <pc:picChg chg="add mod">
          <ac:chgData name="Victor Sucasas" userId="5e9b3a00-e16d-44aa-9a74-a37ad9fec3fb" providerId="ADAL" clId="{1E76A972-478F-5263-9F7B-46BF61F39BB0}" dt="2026-06-11T11:09:30.311" v="239" actId="1076"/>
          <ac:picMkLst>
            <pc:docMk/>
            <pc:sldMk cId="2489473934" sldId="273"/>
            <ac:picMk id="13" creationId="{13ED51AF-B420-44ED-F9B8-E51D5F641B4C}"/>
          </ac:picMkLst>
        </pc:picChg>
        <pc:picChg chg="add mod">
          <ac:chgData name="Victor Sucasas" userId="5e9b3a00-e16d-44aa-9a74-a37ad9fec3fb" providerId="ADAL" clId="{1E76A972-478F-5263-9F7B-46BF61F39BB0}" dt="2026-06-11T11:10:18.960" v="252" actId="1076"/>
          <ac:picMkLst>
            <pc:docMk/>
            <pc:sldMk cId="2489473934" sldId="273"/>
            <ac:picMk id="14" creationId="{8F4DBEF5-21D9-B738-EDB3-9FEC2F92013B}"/>
          </ac:picMkLst>
        </pc:picChg>
        <pc:picChg chg="add mod">
          <ac:chgData name="Victor Sucasas" userId="5e9b3a00-e16d-44aa-9a74-a37ad9fec3fb" providerId="ADAL" clId="{1E76A972-478F-5263-9F7B-46BF61F39BB0}" dt="2026-06-11T12:10:52.876" v="1553" actId="1076"/>
          <ac:picMkLst>
            <pc:docMk/>
            <pc:sldMk cId="2489473934" sldId="273"/>
            <ac:picMk id="16" creationId="{7BC667C2-3B6B-7054-13E1-0B716B4481A0}"/>
          </ac:picMkLst>
        </pc:picChg>
      </pc:sldChg>
      <pc:sldChg chg="addSp delSp modSp add mod ord modAnim">
        <pc:chgData name="Victor Sucasas" userId="5e9b3a00-e16d-44aa-9a74-a37ad9fec3fb" providerId="ADAL" clId="{1E76A972-478F-5263-9F7B-46BF61F39BB0}" dt="2026-06-12T12:00:42.663" v="2161" actId="1076"/>
        <pc:sldMkLst>
          <pc:docMk/>
          <pc:sldMk cId="4157633018" sldId="274"/>
        </pc:sldMkLst>
        <pc:spChg chg="mod">
          <ac:chgData name="Victor Sucasas" userId="5e9b3a00-e16d-44aa-9a74-a37ad9fec3fb" providerId="ADAL" clId="{1E76A972-478F-5263-9F7B-46BF61F39BB0}" dt="2026-06-11T12:06:37.219" v="1488" actId="20577"/>
          <ac:spMkLst>
            <pc:docMk/>
            <pc:sldMk cId="4157633018" sldId="274"/>
            <ac:spMk id="2" creationId="{8A6D5394-8858-4A16-EA8B-AAFD3A26FB2A}"/>
          </ac:spMkLst>
        </pc:spChg>
        <pc:spChg chg="add mod">
          <ac:chgData name="Victor Sucasas" userId="5e9b3a00-e16d-44aa-9a74-a37ad9fec3fb" providerId="ADAL" clId="{1E76A972-478F-5263-9F7B-46BF61F39BB0}" dt="2026-06-12T12:00:38.479" v="2160" actId="1076"/>
          <ac:spMkLst>
            <pc:docMk/>
            <pc:sldMk cId="4157633018" sldId="274"/>
            <ac:spMk id="3" creationId="{3FD43115-C536-4B04-9726-6FE3BDAC73DD}"/>
          </ac:spMkLst>
        </pc:spChg>
        <pc:spChg chg="add mod">
          <ac:chgData name="Victor Sucasas" userId="5e9b3a00-e16d-44aa-9a74-a37ad9fec3fb" providerId="ADAL" clId="{1E76A972-478F-5263-9F7B-46BF61F39BB0}" dt="2026-06-12T12:00:38.479" v="2160" actId="1076"/>
          <ac:spMkLst>
            <pc:docMk/>
            <pc:sldMk cId="4157633018" sldId="274"/>
            <ac:spMk id="8" creationId="{C5F1410E-A44D-361D-606F-250327D9A034}"/>
          </ac:spMkLst>
        </pc:spChg>
        <pc:spChg chg="add mod">
          <ac:chgData name="Victor Sucasas" userId="5e9b3a00-e16d-44aa-9a74-a37ad9fec3fb" providerId="ADAL" clId="{1E76A972-478F-5263-9F7B-46BF61F39BB0}" dt="2026-06-12T12:00:38.479" v="2160" actId="1076"/>
          <ac:spMkLst>
            <pc:docMk/>
            <pc:sldMk cId="4157633018" sldId="274"/>
            <ac:spMk id="9" creationId="{97A47839-D1CF-8AF7-F36A-4B3573C46675}"/>
          </ac:spMkLst>
        </pc:spChg>
        <pc:spChg chg="add mod">
          <ac:chgData name="Victor Sucasas" userId="5e9b3a00-e16d-44aa-9a74-a37ad9fec3fb" providerId="ADAL" clId="{1E76A972-478F-5263-9F7B-46BF61F39BB0}" dt="2026-06-12T12:00:42.663" v="2161" actId="1076"/>
          <ac:spMkLst>
            <pc:docMk/>
            <pc:sldMk cId="4157633018" sldId="274"/>
            <ac:spMk id="18" creationId="{E60B7913-69E0-A24C-FD01-733E8352BA3C}"/>
          </ac:spMkLst>
        </pc:spChg>
        <pc:picChg chg="add mod">
          <ac:chgData name="Victor Sucasas" userId="5e9b3a00-e16d-44aa-9a74-a37ad9fec3fb" providerId="ADAL" clId="{1E76A972-478F-5263-9F7B-46BF61F39BB0}" dt="2026-06-12T11:59:29.563" v="2152" actId="1076"/>
          <ac:picMkLst>
            <pc:docMk/>
            <pc:sldMk cId="4157633018" sldId="274"/>
            <ac:picMk id="10" creationId="{E791DB36-8F8B-D04B-3F6E-7E3009804840}"/>
          </ac:picMkLst>
        </pc:picChg>
        <pc:picChg chg="add mod">
          <ac:chgData name="Victor Sucasas" userId="5e9b3a00-e16d-44aa-9a74-a37ad9fec3fb" providerId="ADAL" clId="{1E76A972-478F-5263-9F7B-46BF61F39BB0}" dt="2026-06-12T12:00:42.663" v="2161" actId="1076"/>
          <ac:picMkLst>
            <pc:docMk/>
            <pc:sldMk cId="4157633018" sldId="274"/>
            <ac:picMk id="19" creationId="{5DB82972-39BC-B201-256A-D486FC62E564}"/>
          </ac:picMkLst>
        </pc:picChg>
        <pc:picChg chg="add mod">
          <ac:chgData name="Victor Sucasas" userId="5e9b3a00-e16d-44aa-9a74-a37ad9fec3fb" providerId="ADAL" clId="{1E76A972-478F-5263-9F7B-46BF61F39BB0}" dt="2026-06-12T12:00:42.663" v="2161" actId="1076"/>
          <ac:picMkLst>
            <pc:docMk/>
            <pc:sldMk cId="4157633018" sldId="274"/>
            <ac:picMk id="20" creationId="{F4BDA25D-6A2B-7D21-94EE-ED961519B570}"/>
          </ac:picMkLst>
        </pc:picChg>
        <pc:picChg chg="add mod">
          <ac:chgData name="Victor Sucasas" userId="5e9b3a00-e16d-44aa-9a74-a37ad9fec3fb" providerId="ADAL" clId="{1E76A972-478F-5263-9F7B-46BF61F39BB0}" dt="2026-06-12T12:00:42.663" v="2161" actId="1076"/>
          <ac:picMkLst>
            <pc:docMk/>
            <pc:sldMk cId="4157633018" sldId="274"/>
            <ac:picMk id="21" creationId="{A141E1C7-0011-FDFF-F6E1-53E4BF892808}"/>
          </ac:picMkLst>
        </pc:picChg>
        <pc:picChg chg="add mod">
          <ac:chgData name="Victor Sucasas" userId="5e9b3a00-e16d-44aa-9a74-a37ad9fec3fb" providerId="ADAL" clId="{1E76A972-478F-5263-9F7B-46BF61F39BB0}" dt="2026-06-12T12:00:42.663" v="2161" actId="1076"/>
          <ac:picMkLst>
            <pc:docMk/>
            <pc:sldMk cId="4157633018" sldId="274"/>
            <ac:picMk id="22" creationId="{473E2E79-1325-0D7F-54BA-F4C752435A0A}"/>
          </ac:picMkLst>
        </pc:picChg>
        <pc:picChg chg="add mod">
          <ac:chgData name="Victor Sucasas" userId="5e9b3a00-e16d-44aa-9a74-a37ad9fec3fb" providerId="ADAL" clId="{1E76A972-478F-5263-9F7B-46BF61F39BB0}" dt="2026-06-12T12:00:42.663" v="2161" actId="1076"/>
          <ac:picMkLst>
            <pc:docMk/>
            <pc:sldMk cId="4157633018" sldId="274"/>
            <ac:picMk id="23" creationId="{D6C4661D-557A-2E40-1097-BA137A05449F}"/>
          </ac:picMkLst>
        </pc:picChg>
        <pc:picChg chg="mod">
          <ac:chgData name="Victor Sucasas" userId="5e9b3a00-e16d-44aa-9a74-a37ad9fec3fb" providerId="ADAL" clId="{1E76A972-478F-5263-9F7B-46BF61F39BB0}" dt="2026-06-12T12:00:21.516" v="2155" actId="14100"/>
          <ac:picMkLst>
            <pc:docMk/>
            <pc:sldMk cId="4157633018" sldId="274"/>
            <ac:picMk id="146" creationId="{105DAB66-BF2E-1BE9-191B-F8CD2B9E7E9A}"/>
          </ac:picMkLst>
        </pc:picChg>
        <pc:cxnChg chg="add mod">
          <ac:chgData name="Victor Sucasas" userId="5e9b3a00-e16d-44aa-9a74-a37ad9fec3fb" providerId="ADAL" clId="{1E76A972-478F-5263-9F7B-46BF61F39BB0}" dt="2026-06-12T12:00:38.479" v="2160" actId="1076"/>
          <ac:cxnSpMkLst>
            <pc:docMk/>
            <pc:sldMk cId="4157633018" sldId="274"/>
            <ac:cxnSpMk id="6" creationId="{177A37F3-3750-3F58-1A52-D0C274FEDD6F}"/>
          </ac:cxnSpMkLst>
        </pc:cxnChg>
        <pc:cxnChg chg="add mod">
          <ac:chgData name="Victor Sucasas" userId="5e9b3a00-e16d-44aa-9a74-a37ad9fec3fb" providerId="ADAL" clId="{1E76A972-478F-5263-9F7B-46BF61F39BB0}" dt="2026-06-12T12:00:38.479" v="2160" actId="1076"/>
          <ac:cxnSpMkLst>
            <pc:docMk/>
            <pc:sldMk cId="4157633018" sldId="274"/>
            <ac:cxnSpMk id="7" creationId="{91E99100-A0AE-BD5F-1AFF-CE07F630B7B3}"/>
          </ac:cxnSpMkLst>
        </pc:cxnChg>
      </pc:sldChg>
      <pc:sldChg chg="ord">
        <pc:chgData name="Victor Sucasas" userId="5e9b3a00-e16d-44aa-9a74-a37ad9fec3fb" providerId="ADAL" clId="{1E76A972-478F-5263-9F7B-46BF61F39BB0}" dt="2026-06-08T16:54:03.964" v="1" actId="20578"/>
        <pc:sldMkLst>
          <pc:docMk/>
          <pc:sldMk cId="2253087317" sldId="275"/>
        </pc:sldMkLst>
      </pc:sldChg>
      <pc:sldChg chg="addSp delSp modSp add mod">
        <pc:chgData name="Victor Sucasas" userId="5e9b3a00-e16d-44aa-9a74-a37ad9fec3fb" providerId="ADAL" clId="{1E76A972-478F-5263-9F7B-46BF61F39BB0}" dt="2026-06-22T19:40:08.150" v="2427" actId="478"/>
        <pc:sldMkLst>
          <pc:docMk/>
          <pc:sldMk cId="987513330" sldId="276"/>
        </pc:sldMkLst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9" creationId="{E1DE74AB-85F1-6C10-A002-82FA0E53B32C}"/>
          </ac:spMkLst>
        </pc:spChg>
        <pc:spChg chg="mod">
          <ac:chgData name="Victor Sucasas" userId="5e9b3a00-e16d-44aa-9a74-a37ad9fec3fb" providerId="ADAL" clId="{1E76A972-478F-5263-9F7B-46BF61F39BB0}" dt="2026-06-11T11:11:22.107" v="266" actId="1076"/>
          <ac:spMkLst>
            <pc:docMk/>
            <pc:sldMk cId="987513330" sldId="276"/>
            <ac:spMk id="25" creationId="{47938A2F-0634-FA64-14E9-CC47AFA25222}"/>
          </ac:spMkLst>
        </pc:spChg>
        <pc:spChg chg="add del mod">
          <ac:chgData name="Victor Sucasas" userId="5e9b3a00-e16d-44aa-9a74-a37ad9fec3fb" providerId="ADAL" clId="{1E76A972-478F-5263-9F7B-46BF61F39BB0}" dt="2026-06-22T19:40:08.150" v="2427" actId="478"/>
          <ac:spMkLst>
            <pc:docMk/>
            <pc:sldMk cId="987513330" sldId="276"/>
            <ac:spMk id="26" creationId="{236C930D-1600-2684-8E24-6848EE260108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28" creationId="{24F3B890-DE7B-D086-FBE4-D648A98F6564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31" creationId="{16C22F4B-1883-9643-6D03-9753E4877BD3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32" creationId="{A61C8896-243D-61A2-890B-DEDC1BC7A18D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36" creationId="{09340B0C-AFF0-CDAC-8A32-4694B3A6C646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37" creationId="{5FB158AB-9773-9DFE-83B4-972C5656D242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56" creationId="{13B1AFBB-5B1D-D7FA-489E-B37CFADDA7F0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58" creationId="{E05C53FA-CCD3-E290-5311-40C196284114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59" creationId="{0EFAD03B-6C6D-C87B-F4B7-ED48E6375AE6}"/>
          </ac:spMkLst>
        </pc:spChg>
        <pc:spChg chg="mod">
          <ac:chgData name="Victor Sucasas" userId="5e9b3a00-e16d-44aa-9a74-a37ad9fec3fb" providerId="ADAL" clId="{1E76A972-478F-5263-9F7B-46BF61F39BB0}" dt="2026-06-11T11:11:51.983" v="271" actId="1076"/>
          <ac:spMkLst>
            <pc:docMk/>
            <pc:sldMk cId="987513330" sldId="276"/>
            <ac:spMk id="100" creationId="{31917D9F-FC93-E68B-2AD4-F610D615BA9A}"/>
          </ac:spMkLst>
        </pc:spChg>
        <pc:grpChg chg="mod">
          <ac:chgData name="Victor Sucasas" userId="5e9b3a00-e16d-44aa-9a74-a37ad9fec3fb" providerId="ADAL" clId="{1E76A972-478F-5263-9F7B-46BF61F39BB0}" dt="2026-06-11T11:11:35.846" v="270" actId="1076"/>
          <ac:grpSpMkLst>
            <pc:docMk/>
            <pc:sldMk cId="987513330" sldId="276"/>
            <ac:grpSpMk id="22" creationId="{05422B92-3A49-6CC7-65E2-95D810E8D1BA}"/>
          </ac:grpSpMkLst>
        </pc:grpChg>
      </pc:sldChg>
      <pc:sldChg chg="addSp delSp modSp add mod modAnim">
        <pc:chgData name="Victor Sucasas" userId="5e9b3a00-e16d-44aa-9a74-a37ad9fec3fb" providerId="ADAL" clId="{1E76A972-478F-5263-9F7B-46BF61F39BB0}" dt="2026-06-12T06:22:54.831" v="2072"/>
        <pc:sldMkLst>
          <pc:docMk/>
          <pc:sldMk cId="4051559222" sldId="277"/>
        </pc:sldMkLst>
        <pc:spChg chg="mod">
          <ac:chgData name="Victor Sucasas" userId="5e9b3a00-e16d-44aa-9a74-a37ad9fec3fb" providerId="ADAL" clId="{1E76A972-478F-5263-9F7B-46BF61F39BB0}" dt="2026-06-11T11:21:37.279" v="473" actId="207"/>
          <ac:spMkLst>
            <pc:docMk/>
            <pc:sldMk cId="4051559222" sldId="277"/>
            <ac:spMk id="2" creationId="{6EEE2136-9F87-AFE6-23C4-D942F7D9A6E2}"/>
          </ac:spMkLst>
        </pc:spChg>
        <pc:spChg chg="add mod">
          <ac:chgData name="Victor Sucasas" userId="5e9b3a00-e16d-44aa-9a74-a37ad9fec3fb" providerId="ADAL" clId="{1E76A972-478F-5263-9F7B-46BF61F39BB0}" dt="2026-06-12T05:52:23.827" v="1622" actId="1076"/>
          <ac:spMkLst>
            <pc:docMk/>
            <pc:sldMk cId="4051559222" sldId="277"/>
            <ac:spMk id="3" creationId="{C0D6CDC7-0D9E-2C5C-CA71-0284E74385FA}"/>
          </ac:spMkLst>
        </pc:spChg>
        <pc:spChg chg="add mod">
          <ac:chgData name="Victor Sucasas" userId="5e9b3a00-e16d-44aa-9a74-a37ad9fec3fb" providerId="ADAL" clId="{1E76A972-478F-5263-9F7B-46BF61F39BB0}" dt="2026-06-12T05:52:23.827" v="1622" actId="1076"/>
          <ac:spMkLst>
            <pc:docMk/>
            <pc:sldMk cId="4051559222" sldId="277"/>
            <ac:spMk id="6" creationId="{BD987EB3-DF9A-5A47-78B9-215B0C98A999}"/>
          </ac:spMkLst>
        </pc:spChg>
        <pc:spChg chg="add mod">
          <ac:chgData name="Victor Sucasas" userId="5e9b3a00-e16d-44aa-9a74-a37ad9fec3fb" providerId="ADAL" clId="{1E76A972-478F-5263-9F7B-46BF61F39BB0}" dt="2026-06-12T05:52:30.827" v="1624" actId="1076"/>
          <ac:spMkLst>
            <pc:docMk/>
            <pc:sldMk cId="4051559222" sldId="277"/>
            <ac:spMk id="7" creationId="{AE94E4A2-7F52-0301-26CE-9BC88284BCA8}"/>
          </ac:spMkLst>
        </pc:spChg>
        <pc:spChg chg="add mod">
          <ac:chgData name="Victor Sucasas" userId="5e9b3a00-e16d-44aa-9a74-a37ad9fec3fb" providerId="ADAL" clId="{1E76A972-478F-5263-9F7B-46BF61F39BB0}" dt="2026-06-12T05:56:36.025" v="1659" actId="1076"/>
          <ac:spMkLst>
            <pc:docMk/>
            <pc:sldMk cId="4051559222" sldId="277"/>
            <ac:spMk id="20" creationId="{6857DF68-B661-0C6D-9375-CFB6B33EC33B}"/>
          </ac:spMkLst>
        </pc:spChg>
        <pc:spChg chg="add mod">
          <ac:chgData name="Victor Sucasas" userId="5e9b3a00-e16d-44aa-9a74-a37ad9fec3fb" providerId="ADAL" clId="{1E76A972-478F-5263-9F7B-46BF61F39BB0}" dt="2026-06-12T05:52:47.195" v="1625" actId="1076"/>
          <ac:spMkLst>
            <pc:docMk/>
            <pc:sldMk cId="4051559222" sldId="277"/>
            <ac:spMk id="24" creationId="{0A476D49-7EEA-9A35-9C1E-14261AB60189}"/>
          </ac:spMkLst>
        </pc:spChg>
        <pc:spChg chg="add mod">
          <ac:chgData name="Victor Sucasas" userId="5e9b3a00-e16d-44aa-9a74-a37ad9fec3fb" providerId="ADAL" clId="{1E76A972-478F-5263-9F7B-46BF61F39BB0}" dt="2026-06-12T05:52:47.195" v="1625" actId="1076"/>
          <ac:spMkLst>
            <pc:docMk/>
            <pc:sldMk cId="4051559222" sldId="277"/>
            <ac:spMk id="25" creationId="{10516E48-EA85-71CA-3626-99EF04A8D23E}"/>
          </ac:spMkLst>
        </pc:spChg>
        <pc:spChg chg="add mod">
          <ac:chgData name="Victor Sucasas" userId="5e9b3a00-e16d-44aa-9a74-a37ad9fec3fb" providerId="ADAL" clId="{1E76A972-478F-5263-9F7B-46BF61F39BB0}" dt="2026-06-12T05:52:47.195" v="1625" actId="1076"/>
          <ac:spMkLst>
            <pc:docMk/>
            <pc:sldMk cId="4051559222" sldId="277"/>
            <ac:spMk id="27" creationId="{93B9F567-F33A-7A16-7D4D-B9D18A4E5D20}"/>
          </ac:spMkLst>
        </pc:spChg>
        <pc:spChg chg="add mod">
          <ac:chgData name="Victor Sucasas" userId="5e9b3a00-e16d-44aa-9a74-a37ad9fec3fb" providerId="ADAL" clId="{1E76A972-478F-5263-9F7B-46BF61F39BB0}" dt="2026-06-12T05:52:47.195" v="1625" actId="1076"/>
          <ac:spMkLst>
            <pc:docMk/>
            <pc:sldMk cId="4051559222" sldId="277"/>
            <ac:spMk id="31" creationId="{A4D491D8-7B89-925B-82FC-62DFCAD1F957}"/>
          </ac:spMkLst>
        </pc:spChg>
        <pc:spChg chg="add mod">
          <ac:chgData name="Victor Sucasas" userId="5e9b3a00-e16d-44aa-9a74-a37ad9fec3fb" providerId="ADAL" clId="{1E76A972-478F-5263-9F7B-46BF61F39BB0}" dt="2026-06-12T05:52:47.195" v="1625" actId="1076"/>
          <ac:spMkLst>
            <pc:docMk/>
            <pc:sldMk cId="4051559222" sldId="277"/>
            <ac:spMk id="35" creationId="{24B1C9EF-0D99-B267-472E-AF25F30B3DEC}"/>
          </ac:spMkLst>
        </pc:spChg>
        <pc:spChg chg="add mod">
          <ac:chgData name="Victor Sucasas" userId="5e9b3a00-e16d-44aa-9a74-a37ad9fec3fb" providerId="ADAL" clId="{1E76A972-478F-5263-9F7B-46BF61F39BB0}" dt="2026-06-12T05:54:38.709" v="1638" actId="1076"/>
          <ac:spMkLst>
            <pc:docMk/>
            <pc:sldMk cId="4051559222" sldId="277"/>
            <ac:spMk id="36" creationId="{0B7D22EB-2624-31CD-A24F-8F0BFC151EE5}"/>
          </ac:spMkLst>
        </pc:spChg>
        <pc:spChg chg="add del">
          <ac:chgData name="Victor Sucasas" userId="5e9b3a00-e16d-44aa-9a74-a37ad9fec3fb" providerId="ADAL" clId="{1E76A972-478F-5263-9F7B-46BF61F39BB0}" dt="2026-06-11T11:24:58.681" v="476" actId="478"/>
          <ac:spMkLst>
            <pc:docMk/>
            <pc:sldMk cId="4051559222" sldId="277"/>
            <ac:spMk id="85" creationId="{B0D95C8A-BC6B-E6C2-500D-8EB1D3F93D2D}"/>
          </ac:spMkLst>
        </pc:spChg>
        <pc:spChg chg="add del">
          <ac:chgData name="Victor Sucasas" userId="5e9b3a00-e16d-44aa-9a74-a37ad9fec3fb" providerId="ADAL" clId="{1E76A972-478F-5263-9F7B-46BF61F39BB0}" dt="2026-06-11T11:24:58.681" v="476" actId="478"/>
          <ac:spMkLst>
            <pc:docMk/>
            <pc:sldMk cId="4051559222" sldId="277"/>
            <ac:spMk id="87" creationId="{143B19D4-FC7D-F06A-B7DB-17C9C3F5F037}"/>
          </ac:spMkLst>
        </pc:spChg>
        <pc:spChg chg="add del">
          <ac:chgData name="Victor Sucasas" userId="5e9b3a00-e16d-44aa-9a74-a37ad9fec3fb" providerId="ADAL" clId="{1E76A972-478F-5263-9F7B-46BF61F39BB0}" dt="2026-06-11T11:24:58.681" v="476" actId="478"/>
          <ac:spMkLst>
            <pc:docMk/>
            <pc:sldMk cId="4051559222" sldId="277"/>
            <ac:spMk id="88" creationId="{F46024AD-E7CE-6869-9BFA-3F69D541B6C6}"/>
          </ac:spMkLst>
        </pc:spChg>
        <pc:spChg chg="add del">
          <ac:chgData name="Victor Sucasas" userId="5e9b3a00-e16d-44aa-9a74-a37ad9fec3fb" providerId="ADAL" clId="{1E76A972-478F-5263-9F7B-46BF61F39BB0}" dt="2026-06-11T11:24:58.681" v="476" actId="478"/>
          <ac:spMkLst>
            <pc:docMk/>
            <pc:sldMk cId="4051559222" sldId="277"/>
            <ac:spMk id="90" creationId="{DC6D69B5-E970-53C5-7412-CEDBCE8EB193}"/>
          </ac:spMkLst>
        </pc:spChg>
        <pc:picChg chg="add mod">
          <ac:chgData name="Victor Sucasas" userId="5e9b3a00-e16d-44aa-9a74-a37ad9fec3fb" providerId="ADAL" clId="{1E76A972-478F-5263-9F7B-46BF61F39BB0}" dt="2026-06-12T05:52:23.827" v="1622" actId="1076"/>
          <ac:picMkLst>
            <pc:docMk/>
            <pc:sldMk cId="4051559222" sldId="277"/>
            <ac:picMk id="4" creationId="{0BBB03B2-BA18-8EC8-E967-8932F6D9F8CF}"/>
          </ac:picMkLst>
        </pc:picChg>
        <pc:picChg chg="add mod">
          <ac:chgData name="Victor Sucasas" userId="5e9b3a00-e16d-44aa-9a74-a37ad9fec3fb" providerId="ADAL" clId="{1E76A972-478F-5263-9F7B-46BF61F39BB0}" dt="2026-06-12T05:52:23.827" v="1622" actId="1076"/>
          <ac:picMkLst>
            <pc:docMk/>
            <pc:sldMk cId="4051559222" sldId="277"/>
            <ac:picMk id="5" creationId="{958D97DE-5659-28DE-33C5-EC2F73DE3A5D}"/>
          </ac:picMkLst>
        </pc:picChg>
        <pc:picChg chg="add mod">
          <ac:chgData name="Victor Sucasas" userId="5e9b3a00-e16d-44aa-9a74-a37ad9fec3fb" providerId="ADAL" clId="{1E76A972-478F-5263-9F7B-46BF61F39BB0}" dt="2026-06-12T05:52:30.827" v="1624" actId="1076"/>
          <ac:picMkLst>
            <pc:docMk/>
            <pc:sldMk cId="4051559222" sldId="277"/>
            <ac:picMk id="8" creationId="{1FCC77B7-782F-0B9F-9DED-6C7170E3D488}"/>
          </ac:picMkLst>
        </pc:picChg>
        <pc:picChg chg="add mod">
          <ac:chgData name="Victor Sucasas" userId="5e9b3a00-e16d-44aa-9a74-a37ad9fec3fb" providerId="ADAL" clId="{1E76A972-478F-5263-9F7B-46BF61F39BB0}" dt="2026-06-12T05:56:36.025" v="1659" actId="1076"/>
          <ac:picMkLst>
            <pc:docMk/>
            <pc:sldMk cId="4051559222" sldId="277"/>
            <ac:picMk id="21" creationId="{1EFB2E33-C505-7A37-2FC2-B5A2DDD139AA}"/>
          </ac:picMkLst>
        </pc:picChg>
        <pc:picChg chg="add mod">
          <ac:chgData name="Victor Sucasas" userId="5e9b3a00-e16d-44aa-9a74-a37ad9fec3fb" providerId="ADAL" clId="{1E76A972-478F-5263-9F7B-46BF61F39BB0}" dt="2026-06-12T05:52:47.195" v="1625" actId="1076"/>
          <ac:picMkLst>
            <pc:docMk/>
            <pc:sldMk cId="4051559222" sldId="277"/>
            <ac:picMk id="29" creationId="{D88DB5DC-4689-22EB-BB84-D45E2FB5B377}"/>
          </ac:picMkLst>
        </pc:picChg>
        <pc:picChg chg="add mod">
          <ac:chgData name="Victor Sucasas" userId="5e9b3a00-e16d-44aa-9a74-a37ad9fec3fb" providerId="ADAL" clId="{1E76A972-478F-5263-9F7B-46BF61F39BB0}" dt="2026-06-12T05:52:47.195" v="1625" actId="1076"/>
          <ac:picMkLst>
            <pc:docMk/>
            <pc:sldMk cId="4051559222" sldId="277"/>
            <ac:picMk id="30" creationId="{41023059-A0D3-25C7-99AC-09416F5F72B2}"/>
          </ac:picMkLst>
        </pc:picChg>
        <pc:picChg chg="add mod">
          <ac:chgData name="Victor Sucasas" userId="5e9b3a00-e16d-44aa-9a74-a37ad9fec3fb" providerId="ADAL" clId="{1E76A972-478F-5263-9F7B-46BF61F39BB0}" dt="2026-06-12T06:22:08.380" v="2063" actId="1076"/>
          <ac:picMkLst>
            <pc:docMk/>
            <pc:sldMk cId="4051559222" sldId="277"/>
            <ac:picMk id="54" creationId="{DE5D9E8F-DDF9-43C2-D022-47A1D9676C23}"/>
          </ac:picMkLst>
        </pc:picChg>
        <pc:picChg chg="add mod">
          <ac:chgData name="Victor Sucasas" userId="5e9b3a00-e16d-44aa-9a74-a37ad9fec3fb" providerId="ADAL" clId="{1E76A972-478F-5263-9F7B-46BF61F39BB0}" dt="2026-06-12T06:22:22.864" v="2068" actId="1076"/>
          <ac:picMkLst>
            <pc:docMk/>
            <pc:sldMk cId="4051559222" sldId="277"/>
            <ac:picMk id="55" creationId="{90BCCDC9-2A7D-EA3C-FADA-3D5A2BAE3045}"/>
          </ac:picMkLst>
        </pc:picChg>
        <pc:picChg chg="add del">
          <ac:chgData name="Victor Sucasas" userId="5e9b3a00-e16d-44aa-9a74-a37ad9fec3fb" providerId="ADAL" clId="{1E76A972-478F-5263-9F7B-46BF61F39BB0}" dt="2026-06-11T11:24:58.681" v="476" actId="478"/>
          <ac:picMkLst>
            <pc:docMk/>
            <pc:sldMk cId="4051559222" sldId="277"/>
            <ac:picMk id="70" creationId="{63F34242-BAA8-BEA8-C6CC-CA0EBF3F5842}"/>
          </ac:picMkLst>
        </pc:picChg>
        <pc:picChg chg="del">
          <ac:chgData name="Victor Sucasas" userId="5e9b3a00-e16d-44aa-9a74-a37ad9fec3fb" providerId="ADAL" clId="{1E76A972-478F-5263-9F7B-46BF61F39BB0}" dt="2026-06-11T11:24:25.958" v="475" actId="478"/>
          <ac:picMkLst>
            <pc:docMk/>
            <pc:sldMk cId="4051559222" sldId="277"/>
            <ac:picMk id="72" creationId="{100E395D-E37F-8D48-E9BD-D572CE7E0651}"/>
          </ac:picMkLst>
        </pc:picChg>
        <pc:picChg chg="add del mod">
          <ac:chgData name="Victor Sucasas" userId="5e9b3a00-e16d-44aa-9a74-a37ad9fec3fb" providerId="ADAL" clId="{1E76A972-478F-5263-9F7B-46BF61F39BB0}" dt="2026-06-12T06:21:52.867" v="2059" actId="1076"/>
          <ac:picMkLst>
            <pc:docMk/>
            <pc:sldMk cId="4051559222" sldId="277"/>
            <ac:picMk id="82" creationId="{86CF086F-F552-4DFA-E036-72C3BDDC7AD4}"/>
          </ac:picMkLst>
        </pc:picChg>
        <pc:picChg chg="add">
          <ac:chgData name="Victor Sucasas" userId="5e9b3a00-e16d-44aa-9a74-a37ad9fec3fb" providerId="ADAL" clId="{1E76A972-478F-5263-9F7B-46BF61F39BB0}" dt="2026-06-11T11:24:58.681" v="476" actId="478"/>
          <ac:picMkLst>
            <pc:docMk/>
            <pc:sldMk cId="4051559222" sldId="277"/>
            <ac:picMk id="83" creationId="{CF808D86-0EEA-92B9-C35F-91D26D864126}"/>
          </ac:picMkLst>
        </pc:picChg>
        <pc:picChg chg="add del">
          <ac:chgData name="Victor Sucasas" userId="5e9b3a00-e16d-44aa-9a74-a37ad9fec3fb" providerId="ADAL" clId="{1E76A972-478F-5263-9F7B-46BF61F39BB0}" dt="2026-06-11T11:24:58.681" v="476" actId="478"/>
          <ac:picMkLst>
            <pc:docMk/>
            <pc:sldMk cId="4051559222" sldId="277"/>
            <ac:picMk id="84" creationId="{C0E6FDB1-B5ED-9BAA-29A0-0853342B82AC}"/>
          </ac:picMkLst>
        </pc:picChg>
        <pc:picChg chg="add del mod">
          <ac:chgData name="Victor Sucasas" userId="5e9b3a00-e16d-44aa-9a74-a37ad9fec3fb" providerId="ADAL" clId="{1E76A972-478F-5263-9F7B-46BF61F39BB0}" dt="2026-06-12T05:55:22.150" v="1645" actId="207"/>
          <ac:picMkLst>
            <pc:docMk/>
            <pc:sldMk cId="4051559222" sldId="277"/>
            <ac:picMk id="89" creationId="{A9A50107-9CBE-0848-2B3F-CC5937BDFB38}"/>
          </ac:picMkLst>
        </pc:picChg>
        <pc:cxnChg chg="mod">
          <ac:chgData name="Victor Sucasas" userId="5e9b3a00-e16d-44aa-9a74-a37ad9fec3fb" providerId="ADAL" clId="{1E76A972-478F-5263-9F7B-46BF61F39BB0}" dt="2026-06-12T05:51:51.146" v="1618" actId="692"/>
          <ac:cxnSpMkLst>
            <pc:docMk/>
            <pc:sldMk cId="4051559222" sldId="277"/>
            <ac:cxnSpMk id="34" creationId="{5A075FA7-D11A-F234-3D17-7B4CC675FB1C}"/>
          </ac:cxnSpMkLst>
        </pc:cxnChg>
        <pc:cxnChg chg="mod">
          <ac:chgData name="Victor Sucasas" userId="5e9b3a00-e16d-44aa-9a74-a37ad9fec3fb" providerId="ADAL" clId="{1E76A972-478F-5263-9F7B-46BF61F39BB0}" dt="2026-06-12T05:51:51.146" v="1618" actId="692"/>
          <ac:cxnSpMkLst>
            <pc:docMk/>
            <pc:sldMk cId="4051559222" sldId="277"/>
            <ac:cxnSpMk id="39" creationId="{28D9681B-0398-4002-3632-09FCAEF31A69}"/>
          </ac:cxnSpMkLst>
        </pc:cxnChg>
        <pc:cxnChg chg="mod">
          <ac:chgData name="Victor Sucasas" userId="5e9b3a00-e16d-44aa-9a74-a37ad9fec3fb" providerId="ADAL" clId="{1E76A972-478F-5263-9F7B-46BF61F39BB0}" dt="2026-06-12T05:51:51.146" v="1618" actId="692"/>
          <ac:cxnSpMkLst>
            <pc:docMk/>
            <pc:sldMk cId="4051559222" sldId="277"/>
            <ac:cxnSpMk id="46" creationId="{4039391B-BD05-2F71-6477-E09DB786470F}"/>
          </ac:cxnSpMkLst>
        </pc:cxnChg>
      </pc:sldChg>
      <pc:sldChg chg="addSp delSp modSp add mod modAnim">
        <pc:chgData name="Victor Sucasas" userId="5e9b3a00-e16d-44aa-9a74-a37ad9fec3fb" providerId="ADAL" clId="{1E76A972-478F-5263-9F7B-46BF61F39BB0}" dt="2026-06-12T07:44:43.704" v="2135" actId="478"/>
        <pc:sldMkLst>
          <pc:docMk/>
          <pc:sldMk cId="2281719576" sldId="278"/>
        </pc:sldMkLst>
        <pc:spChg chg="mod">
          <ac:chgData name="Victor Sucasas" userId="5e9b3a00-e16d-44aa-9a74-a37ad9fec3fb" providerId="ADAL" clId="{1E76A972-478F-5263-9F7B-46BF61F39BB0}" dt="2026-06-11T11:39:50.910" v="917" actId="207"/>
          <ac:spMkLst>
            <pc:docMk/>
            <pc:sldMk cId="2281719576" sldId="278"/>
            <ac:spMk id="2" creationId="{804C899F-B050-C1EC-7C1F-7FC97323FB69}"/>
          </ac:spMkLst>
        </pc:spChg>
        <pc:spChg chg="add mod">
          <ac:chgData name="Victor Sucasas" userId="5e9b3a00-e16d-44aa-9a74-a37ad9fec3fb" providerId="ADAL" clId="{1E76A972-478F-5263-9F7B-46BF61F39BB0}" dt="2026-06-11T11:41:35.806" v="1003" actId="1076"/>
          <ac:spMkLst>
            <pc:docMk/>
            <pc:sldMk cId="2281719576" sldId="278"/>
            <ac:spMk id="3" creationId="{919D6466-4906-F271-B3F5-39C900E8D58F}"/>
          </ac:spMkLst>
        </pc:spChg>
        <pc:spChg chg="add mod">
          <ac:chgData name="Victor Sucasas" userId="5e9b3a00-e16d-44aa-9a74-a37ad9fec3fb" providerId="ADAL" clId="{1E76A972-478F-5263-9F7B-46BF61F39BB0}" dt="2026-06-11T11:43:10.690" v="1148" actId="14100"/>
          <ac:spMkLst>
            <pc:docMk/>
            <pc:sldMk cId="2281719576" sldId="278"/>
            <ac:spMk id="5" creationId="{4BF041A3-2C93-ED06-79B8-8E9487C350D3}"/>
          </ac:spMkLst>
        </pc:spChg>
        <pc:spChg chg="add mod">
          <ac:chgData name="Victor Sucasas" userId="5e9b3a00-e16d-44aa-9a74-a37ad9fec3fb" providerId="ADAL" clId="{1E76A972-478F-5263-9F7B-46BF61F39BB0}" dt="2026-06-11T11:44:09.609" v="1168" actId="1076"/>
          <ac:spMkLst>
            <pc:docMk/>
            <pc:sldMk cId="2281719576" sldId="278"/>
            <ac:spMk id="15" creationId="{AE45A9C1-46A4-2965-2D8B-7657E53CC902}"/>
          </ac:spMkLst>
        </pc:spChg>
        <pc:spChg chg="add mod">
          <ac:chgData name="Victor Sucasas" userId="5e9b3a00-e16d-44aa-9a74-a37ad9fec3fb" providerId="ADAL" clId="{1E76A972-478F-5263-9F7B-46BF61F39BB0}" dt="2026-06-11T11:44:09.609" v="1168" actId="1076"/>
          <ac:spMkLst>
            <pc:docMk/>
            <pc:sldMk cId="2281719576" sldId="278"/>
            <ac:spMk id="16" creationId="{AF29231F-1C16-A6DC-8446-3A26900AAFCC}"/>
          </ac:spMkLst>
        </pc:spChg>
        <pc:spChg chg="add mod">
          <ac:chgData name="Victor Sucasas" userId="5e9b3a00-e16d-44aa-9a74-a37ad9fec3fb" providerId="ADAL" clId="{1E76A972-478F-5263-9F7B-46BF61F39BB0}" dt="2026-06-11T11:44:09.609" v="1168" actId="1076"/>
          <ac:spMkLst>
            <pc:docMk/>
            <pc:sldMk cId="2281719576" sldId="278"/>
            <ac:spMk id="17" creationId="{02A3149C-1011-EC71-10A3-66AB3BC40615}"/>
          </ac:spMkLst>
        </pc:spChg>
        <pc:picChg chg="add mod">
          <ac:chgData name="Victor Sucasas" userId="5e9b3a00-e16d-44aa-9a74-a37ad9fec3fb" providerId="ADAL" clId="{1E76A972-478F-5263-9F7B-46BF61F39BB0}" dt="2026-06-11T11:41:35.806" v="1003" actId="1076"/>
          <ac:picMkLst>
            <pc:docMk/>
            <pc:sldMk cId="2281719576" sldId="278"/>
            <ac:picMk id="4" creationId="{0F63659C-DCF7-56F4-D577-43C6C899162E}"/>
          </ac:picMkLst>
        </pc:picChg>
        <pc:picChg chg="add mod">
          <ac:chgData name="Victor Sucasas" userId="5e9b3a00-e16d-44aa-9a74-a37ad9fec3fb" providerId="ADAL" clId="{1E76A972-478F-5263-9F7B-46BF61F39BB0}" dt="2026-06-11T11:42:32.476" v="1021" actId="1076"/>
          <ac:picMkLst>
            <pc:docMk/>
            <pc:sldMk cId="2281719576" sldId="278"/>
            <ac:picMk id="6" creationId="{7E20695B-3349-7645-9813-E226941D6C90}"/>
          </ac:picMkLst>
        </pc:picChg>
        <pc:picChg chg="add mod">
          <ac:chgData name="Victor Sucasas" userId="5e9b3a00-e16d-44aa-9a74-a37ad9fec3fb" providerId="ADAL" clId="{1E76A972-478F-5263-9F7B-46BF61F39BB0}" dt="2026-06-11T11:43:30.342" v="1152" actId="1076"/>
          <ac:picMkLst>
            <pc:docMk/>
            <pc:sldMk cId="2281719576" sldId="278"/>
            <ac:picMk id="7" creationId="{64C1EEAD-50DC-8217-A631-C04340EB855A}"/>
          </ac:picMkLst>
        </pc:picChg>
        <pc:picChg chg="add mod">
          <ac:chgData name="Victor Sucasas" userId="5e9b3a00-e16d-44aa-9a74-a37ad9fec3fb" providerId="ADAL" clId="{1E76A972-478F-5263-9F7B-46BF61F39BB0}" dt="2026-06-11T11:43:30.342" v="1152" actId="1076"/>
          <ac:picMkLst>
            <pc:docMk/>
            <pc:sldMk cId="2281719576" sldId="278"/>
            <ac:picMk id="8" creationId="{26074E8F-1D4C-896D-ABF6-2839C7F543C2}"/>
          </ac:picMkLst>
        </pc:picChg>
        <pc:picChg chg="add mod">
          <ac:chgData name="Victor Sucasas" userId="5e9b3a00-e16d-44aa-9a74-a37ad9fec3fb" providerId="ADAL" clId="{1E76A972-478F-5263-9F7B-46BF61F39BB0}" dt="2026-06-11T11:44:09.609" v="1168" actId="1076"/>
          <ac:picMkLst>
            <pc:docMk/>
            <pc:sldMk cId="2281719576" sldId="278"/>
            <ac:picMk id="22" creationId="{B9C8BF08-01DF-531A-8B0C-60688920254F}"/>
          </ac:picMkLst>
        </pc:picChg>
        <pc:picChg chg="add mod">
          <ac:chgData name="Victor Sucasas" userId="5e9b3a00-e16d-44aa-9a74-a37ad9fec3fb" providerId="ADAL" clId="{1E76A972-478F-5263-9F7B-46BF61F39BB0}" dt="2026-06-11T11:44:09.609" v="1168" actId="1076"/>
          <ac:picMkLst>
            <pc:docMk/>
            <pc:sldMk cId="2281719576" sldId="278"/>
            <ac:picMk id="25" creationId="{B90F2312-7B81-4BCC-3732-7153B2B16DC8}"/>
          </ac:picMkLst>
        </pc:picChg>
        <pc:picChg chg="add mod">
          <ac:chgData name="Victor Sucasas" userId="5e9b3a00-e16d-44aa-9a74-a37ad9fec3fb" providerId="ADAL" clId="{1E76A972-478F-5263-9F7B-46BF61F39BB0}" dt="2026-06-11T11:43:25.527" v="1151" actId="1076"/>
          <ac:picMkLst>
            <pc:docMk/>
            <pc:sldMk cId="2281719576" sldId="278"/>
            <ac:picMk id="26" creationId="{DCA5973E-2E3B-4A6D-3DFA-33DEF3207701}"/>
          </ac:picMkLst>
        </pc:picChg>
        <pc:picChg chg="add mod">
          <ac:chgData name="Victor Sucasas" userId="5e9b3a00-e16d-44aa-9a74-a37ad9fec3fb" providerId="ADAL" clId="{1E76A972-478F-5263-9F7B-46BF61F39BB0}" dt="2026-06-11T11:44:09.609" v="1168" actId="1076"/>
          <ac:picMkLst>
            <pc:docMk/>
            <pc:sldMk cId="2281719576" sldId="278"/>
            <ac:picMk id="35" creationId="{98FAA291-567A-56D9-6901-DC6DFE3CD887}"/>
          </ac:picMkLst>
        </pc:picChg>
        <pc:picChg chg="add mod">
          <ac:chgData name="Victor Sucasas" userId="5e9b3a00-e16d-44aa-9a74-a37ad9fec3fb" providerId="ADAL" clId="{1E76A972-478F-5263-9F7B-46BF61F39BB0}" dt="2026-06-11T11:44:09.609" v="1168" actId="1076"/>
          <ac:picMkLst>
            <pc:docMk/>
            <pc:sldMk cId="2281719576" sldId="278"/>
            <ac:picMk id="36" creationId="{42BBDB81-015D-64B0-ECD8-2A64259D3969}"/>
          </ac:picMkLst>
        </pc:picChg>
        <pc:picChg chg="add mod">
          <ac:chgData name="Victor Sucasas" userId="5e9b3a00-e16d-44aa-9a74-a37ad9fec3fb" providerId="ADAL" clId="{1E76A972-478F-5263-9F7B-46BF61F39BB0}" dt="2026-06-12T06:00:24.740" v="1667" actId="1076"/>
          <ac:picMkLst>
            <pc:docMk/>
            <pc:sldMk cId="2281719576" sldId="278"/>
            <ac:picMk id="39" creationId="{3306BF7E-4008-2233-2344-16EF782FCDCA}"/>
          </ac:picMkLst>
        </pc:picChg>
      </pc:sldChg>
      <pc:sldChg chg="modSp add mod">
        <pc:chgData name="Victor Sucasas" userId="5e9b3a00-e16d-44aa-9a74-a37ad9fec3fb" providerId="ADAL" clId="{1E76A972-478F-5263-9F7B-46BF61F39BB0}" dt="2026-06-11T11:46:52.301" v="1234" actId="20577"/>
        <pc:sldMkLst>
          <pc:docMk/>
          <pc:sldMk cId="2744289354" sldId="279"/>
        </pc:sldMkLst>
        <pc:spChg chg="mod">
          <ac:chgData name="Victor Sucasas" userId="5e9b3a00-e16d-44aa-9a74-a37ad9fec3fb" providerId="ADAL" clId="{1E76A972-478F-5263-9F7B-46BF61F39BB0}" dt="2026-06-11T11:46:52.301" v="1234" actId="20577"/>
          <ac:spMkLst>
            <pc:docMk/>
            <pc:sldMk cId="2744289354" sldId="279"/>
            <ac:spMk id="2" creationId="{24AAA165-EA7C-00DC-2C16-FA8FE11895A2}"/>
          </ac:spMkLst>
        </pc:spChg>
      </pc:sldChg>
      <pc:sldChg chg="addSp delSp modSp add mod delAnim modAnim">
        <pc:chgData name="Victor Sucasas" userId="5e9b3a00-e16d-44aa-9a74-a37ad9fec3fb" providerId="ADAL" clId="{1E76A972-478F-5263-9F7B-46BF61F39BB0}" dt="2026-06-12T12:09:13.934" v="2181"/>
        <pc:sldMkLst>
          <pc:docMk/>
          <pc:sldMk cId="882717503" sldId="280"/>
        </pc:sldMkLst>
        <pc:spChg chg="mod">
          <ac:chgData name="Victor Sucasas" userId="5e9b3a00-e16d-44aa-9a74-a37ad9fec3fb" providerId="ADAL" clId="{1E76A972-478F-5263-9F7B-46BF61F39BB0}" dt="2026-06-12T12:09:13.934" v="2181"/>
          <ac:spMkLst>
            <pc:docMk/>
            <pc:sldMk cId="882717503" sldId="280"/>
            <ac:spMk id="2" creationId="{BB15C6F4-B13E-3064-0B0E-4BDD47A7FFEC}"/>
          </ac:spMkLst>
        </pc:spChg>
        <pc:spChg chg="mod">
          <ac:chgData name="Victor Sucasas" userId="5e9b3a00-e16d-44aa-9a74-a37ad9fec3fb" providerId="ADAL" clId="{1E76A972-478F-5263-9F7B-46BF61F39BB0}" dt="2026-06-12T06:14:20.231" v="1874" actId="1038"/>
          <ac:spMkLst>
            <pc:docMk/>
            <pc:sldMk cId="882717503" sldId="280"/>
            <ac:spMk id="11" creationId="{A168E1CB-FACD-376B-0A01-02326AC6F31D}"/>
          </ac:spMkLst>
        </pc:spChg>
        <pc:spChg chg="mod">
          <ac:chgData name="Victor Sucasas" userId="5e9b3a00-e16d-44aa-9a74-a37ad9fec3fb" providerId="ADAL" clId="{1E76A972-478F-5263-9F7B-46BF61F39BB0}" dt="2026-06-12T06:14:20.231" v="1874" actId="1038"/>
          <ac:spMkLst>
            <pc:docMk/>
            <pc:sldMk cId="882717503" sldId="280"/>
            <ac:spMk id="45" creationId="{65685B88-324A-F4C5-19C6-F7AD5AD4151F}"/>
          </ac:spMkLst>
        </pc:spChg>
        <pc:spChg chg="mod">
          <ac:chgData name="Victor Sucasas" userId="5e9b3a00-e16d-44aa-9a74-a37ad9fec3fb" providerId="ADAL" clId="{1E76A972-478F-5263-9F7B-46BF61F39BB0}" dt="2026-06-12T06:14:20.231" v="1874" actId="1038"/>
          <ac:spMkLst>
            <pc:docMk/>
            <pc:sldMk cId="882717503" sldId="280"/>
            <ac:spMk id="60" creationId="{17C56B6C-1886-EA2F-7D43-3E38314CEA68}"/>
          </ac:spMkLst>
        </pc:spChg>
        <pc:spChg chg="mod">
          <ac:chgData name="Victor Sucasas" userId="5e9b3a00-e16d-44aa-9a74-a37ad9fec3fb" providerId="ADAL" clId="{1E76A972-478F-5263-9F7B-46BF61F39BB0}" dt="2026-06-12T06:17:44.948" v="2020" actId="20577"/>
          <ac:spMkLst>
            <pc:docMk/>
            <pc:sldMk cId="882717503" sldId="280"/>
            <ac:spMk id="113" creationId="{3E401E93-7D59-0CED-4BF2-7E0081DFD1E2}"/>
          </ac:spMkLst>
        </pc:spChg>
        <pc:spChg chg="add mod">
          <ac:chgData name="Victor Sucasas" userId="5e9b3a00-e16d-44aa-9a74-a37ad9fec3fb" providerId="ADAL" clId="{1E76A972-478F-5263-9F7B-46BF61F39BB0}" dt="2026-06-12T06:15:17.083" v="1933" actId="692"/>
          <ac:spMkLst>
            <pc:docMk/>
            <pc:sldMk cId="882717503" sldId="280"/>
            <ac:spMk id="150" creationId="{9918106A-1579-75FE-F2AF-0ED60FC16DB8}"/>
          </ac:spMkLst>
        </pc:spChg>
        <pc:spChg chg="add mod">
          <ac:chgData name="Victor Sucasas" userId="5e9b3a00-e16d-44aa-9a74-a37ad9fec3fb" providerId="ADAL" clId="{1E76A972-478F-5263-9F7B-46BF61F39BB0}" dt="2026-06-12T06:15:17.083" v="1933" actId="692"/>
          <ac:spMkLst>
            <pc:docMk/>
            <pc:sldMk cId="882717503" sldId="280"/>
            <ac:spMk id="151" creationId="{3500AB3F-7E24-67AF-46E6-2B05E2932F62}"/>
          </ac:spMkLst>
        </pc:spChg>
        <pc:spChg chg="add mod">
          <ac:chgData name="Victor Sucasas" userId="5e9b3a00-e16d-44aa-9a74-a37ad9fec3fb" providerId="ADAL" clId="{1E76A972-478F-5263-9F7B-46BF61F39BB0}" dt="2026-06-12T06:15:17.083" v="1933" actId="692"/>
          <ac:spMkLst>
            <pc:docMk/>
            <pc:sldMk cId="882717503" sldId="280"/>
            <ac:spMk id="152" creationId="{B2232FA5-5EC5-3D75-CA16-51E963467200}"/>
          </ac:spMkLst>
        </pc:spChg>
        <pc:picChg chg="mod">
          <ac:chgData name="Victor Sucasas" userId="5e9b3a00-e16d-44aa-9a74-a37ad9fec3fb" providerId="ADAL" clId="{1E76A972-478F-5263-9F7B-46BF61F39BB0}" dt="2026-06-12T06:15:43.140" v="1937" actId="1076"/>
          <ac:picMkLst>
            <pc:docMk/>
            <pc:sldMk cId="882717503" sldId="280"/>
            <ac:picMk id="10" creationId="{15EB7691-DE6A-26B8-55E0-2D7412F28BC1}"/>
          </ac:picMkLst>
        </pc:picChg>
        <pc:picChg chg="mod">
          <ac:chgData name="Victor Sucasas" userId="5e9b3a00-e16d-44aa-9a74-a37ad9fec3fb" providerId="ADAL" clId="{1E76A972-478F-5263-9F7B-46BF61F39BB0}" dt="2026-06-12T06:15:41.141" v="1936" actId="1076"/>
          <ac:picMkLst>
            <pc:docMk/>
            <pc:sldMk cId="882717503" sldId="280"/>
            <ac:picMk id="19" creationId="{81EA002B-4AEA-3F90-52A6-0EA4358C6630}"/>
          </ac:picMkLst>
        </pc:picChg>
        <pc:picChg chg="mod">
          <ac:chgData name="Victor Sucasas" userId="5e9b3a00-e16d-44aa-9a74-a37ad9fec3fb" providerId="ADAL" clId="{1E76A972-478F-5263-9F7B-46BF61F39BB0}" dt="2026-06-12T06:16:04.489" v="1942" actId="1076"/>
          <ac:picMkLst>
            <pc:docMk/>
            <pc:sldMk cId="882717503" sldId="280"/>
            <ac:picMk id="20" creationId="{9717DDC6-CA95-78D0-8E26-379A47E6491F}"/>
          </ac:picMkLst>
        </pc:picChg>
        <pc:picChg chg="mod">
          <ac:chgData name="Victor Sucasas" userId="5e9b3a00-e16d-44aa-9a74-a37ad9fec3fb" providerId="ADAL" clId="{1E76A972-478F-5263-9F7B-46BF61F39BB0}" dt="2026-06-12T06:16:55.007" v="1953" actId="1076"/>
          <ac:picMkLst>
            <pc:docMk/>
            <pc:sldMk cId="882717503" sldId="280"/>
            <ac:picMk id="28" creationId="{BF26DD6F-2071-9D0D-12FC-092B27CAC0D9}"/>
          </ac:picMkLst>
        </pc:picChg>
        <pc:picChg chg="mod">
          <ac:chgData name="Victor Sucasas" userId="5e9b3a00-e16d-44aa-9a74-a37ad9fec3fb" providerId="ADAL" clId="{1E76A972-478F-5263-9F7B-46BF61F39BB0}" dt="2026-06-12T06:16:51.839" v="1952" actId="1076"/>
          <ac:picMkLst>
            <pc:docMk/>
            <pc:sldMk cId="882717503" sldId="280"/>
            <ac:picMk id="29" creationId="{F302E3C0-7BDD-FFDE-0044-AF2EE31E5E8E}"/>
          </ac:picMkLst>
        </pc:picChg>
        <pc:picChg chg="mod">
          <ac:chgData name="Victor Sucasas" userId="5e9b3a00-e16d-44aa-9a74-a37ad9fec3fb" providerId="ADAL" clId="{1E76A972-478F-5263-9F7B-46BF61F39BB0}" dt="2026-06-12T06:14:20.231" v="1874" actId="1038"/>
          <ac:picMkLst>
            <pc:docMk/>
            <pc:sldMk cId="882717503" sldId="280"/>
            <ac:picMk id="33" creationId="{46037207-365D-A7A5-1427-311367BDDA12}"/>
          </ac:picMkLst>
        </pc:picChg>
        <pc:picChg chg="mod">
          <ac:chgData name="Victor Sucasas" userId="5e9b3a00-e16d-44aa-9a74-a37ad9fec3fb" providerId="ADAL" clId="{1E76A972-478F-5263-9F7B-46BF61F39BB0}" dt="2026-06-12T06:14:20.231" v="1874" actId="1038"/>
          <ac:picMkLst>
            <pc:docMk/>
            <pc:sldMk cId="882717503" sldId="280"/>
            <ac:picMk id="40" creationId="{9500B9EB-47BC-85EF-9EE5-B02C947BA670}"/>
          </ac:picMkLst>
        </pc:picChg>
        <pc:picChg chg="mod">
          <ac:chgData name="Victor Sucasas" userId="5e9b3a00-e16d-44aa-9a74-a37ad9fec3fb" providerId="ADAL" clId="{1E76A972-478F-5263-9F7B-46BF61F39BB0}" dt="2026-06-12T06:14:20.231" v="1874" actId="1038"/>
          <ac:picMkLst>
            <pc:docMk/>
            <pc:sldMk cId="882717503" sldId="280"/>
            <ac:picMk id="56" creationId="{53A8A029-2EEF-4C05-2EF6-6EB9C31EA5C4}"/>
          </ac:picMkLst>
        </pc:picChg>
        <pc:picChg chg="add mod">
          <ac:chgData name="Victor Sucasas" userId="5e9b3a00-e16d-44aa-9a74-a37ad9fec3fb" providerId="ADAL" clId="{1E76A972-478F-5263-9F7B-46BF61F39BB0}" dt="2026-06-12T06:17:01.535" v="1962" actId="1076"/>
          <ac:picMkLst>
            <pc:docMk/>
            <pc:sldMk cId="882717503" sldId="280"/>
            <ac:picMk id="162" creationId="{E2EBB0F2-AB12-CE88-A035-D8C52BB1A466}"/>
          </ac:picMkLst>
        </pc:picChg>
        <pc:cxnChg chg="add mod">
          <ac:chgData name="Victor Sucasas" userId="5e9b3a00-e16d-44aa-9a74-a37ad9fec3fb" providerId="ADAL" clId="{1E76A972-478F-5263-9F7B-46BF61F39BB0}" dt="2026-06-12T06:16:02.439" v="1941" actId="14100"/>
          <ac:cxnSpMkLst>
            <pc:docMk/>
            <pc:sldMk cId="882717503" sldId="280"/>
            <ac:cxnSpMk id="55" creationId="{D2CB608D-A449-E9E9-3676-CB6DDABB5FE5}"/>
          </ac:cxnSpMkLst>
        </pc:cxnChg>
        <pc:cxnChg chg="add mod">
          <ac:chgData name="Victor Sucasas" userId="5e9b3a00-e16d-44aa-9a74-a37ad9fec3fb" providerId="ADAL" clId="{1E76A972-478F-5263-9F7B-46BF61F39BB0}" dt="2026-06-12T06:16:40.538" v="1951" actId="14100"/>
          <ac:cxnSpMkLst>
            <pc:docMk/>
            <pc:sldMk cId="882717503" sldId="280"/>
            <ac:cxnSpMk id="67" creationId="{96FF5D67-7E25-C02F-F735-4B31788E6319}"/>
          </ac:cxnSpMkLst>
        </pc:cxnChg>
        <pc:cxnChg chg="add mod">
          <ac:chgData name="Victor Sucasas" userId="5e9b3a00-e16d-44aa-9a74-a37ad9fec3fb" providerId="ADAL" clId="{1E76A972-478F-5263-9F7B-46BF61F39BB0}" dt="2026-06-12T06:16:57.102" v="1960" actId="1036"/>
          <ac:cxnSpMkLst>
            <pc:docMk/>
            <pc:sldMk cId="882717503" sldId="280"/>
            <ac:cxnSpMk id="72" creationId="{120BBDAF-5881-73D1-4DA0-02C206DECA03}"/>
          </ac:cxnSpMkLst>
        </pc:cxnChg>
        <pc:cxnChg chg="add mod">
          <ac:chgData name="Victor Sucasas" userId="5e9b3a00-e16d-44aa-9a74-a37ad9fec3fb" providerId="ADAL" clId="{1E76A972-478F-5263-9F7B-46BF61F39BB0}" dt="2026-06-12T06:16:33.407" v="1949" actId="14100"/>
          <ac:cxnSpMkLst>
            <pc:docMk/>
            <pc:sldMk cId="882717503" sldId="280"/>
            <ac:cxnSpMk id="73" creationId="{5FBF312D-6B53-68C7-4386-20CA524B50FC}"/>
          </ac:cxnSpMkLst>
        </pc:cxnChg>
        <pc:cxnChg chg="add mod">
          <ac:chgData name="Victor Sucasas" userId="5e9b3a00-e16d-44aa-9a74-a37ad9fec3fb" providerId="ADAL" clId="{1E76A972-478F-5263-9F7B-46BF61F39BB0}" dt="2026-06-12T06:16:28.269" v="1948" actId="14100"/>
          <ac:cxnSpMkLst>
            <pc:docMk/>
            <pc:sldMk cId="882717503" sldId="280"/>
            <ac:cxnSpMk id="82" creationId="{AA913735-CFDF-C7E4-62C4-B4A10683EF74}"/>
          </ac:cxnSpMkLst>
        </pc:cxnChg>
        <pc:cxnChg chg="add mod">
          <ac:chgData name="Victor Sucasas" userId="5e9b3a00-e16d-44aa-9a74-a37ad9fec3fb" providerId="ADAL" clId="{1E76A972-478F-5263-9F7B-46BF61F39BB0}" dt="2026-06-12T06:15:46.921" v="1938" actId="14100"/>
          <ac:cxnSpMkLst>
            <pc:docMk/>
            <pc:sldMk cId="882717503" sldId="280"/>
            <ac:cxnSpMk id="87" creationId="{52B56159-2ACC-E8D1-9E0A-CEF8CFAC4334}"/>
          </ac:cxnSpMkLst>
        </pc:cxnChg>
      </pc:sldChg>
      <pc:sldChg chg="addSp delSp modSp add mod addAnim delAnim modAnim">
        <pc:chgData name="Victor Sucasas" userId="5e9b3a00-e16d-44aa-9a74-a37ad9fec3fb" providerId="ADAL" clId="{1E76A972-478F-5263-9F7B-46BF61F39BB0}" dt="2026-06-12T12:09:05.841" v="2180" actId="20577"/>
        <pc:sldMkLst>
          <pc:docMk/>
          <pc:sldMk cId="962621261" sldId="281"/>
        </pc:sldMkLst>
        <pc:spChg chg="mod">
          <ac:chgData name="Victor Sucasas" userId="5e9b3a00-e16d-44aa-9a74-a37ad9fec3fb" providerId="ADAL" clId="{1E76A972-478F-5263-9F7B-46BF61F39BB0}" dt="2026-06-12T12:09:05.841" v="2180" actId="20577"/>
          <ac:spMkLst>
            <pc:docMk/>
            <pc:sldMk cId="962621261" sldId="281"/>
            <ac:spMk id="2" creationId="{BBF0A76C-32A2-5600-B238-7F03596B6197}"/>
          </ac:spMkLst>
        </pc:spChg>
        <pc:spChg chg="mod">
          <ac:chgData name="Victor Sucasas" userId="5e9b3a00-e16d-44aa-9a74-a37ad9fec3fb" providerId="ADAL" clId="{1E76A972-478F-5263-9F7B-46BF61F39BB0}" dt="2026-06-11T12:13:59.792" v="1589" actId="14100"/>
          <ac:spMkLst>
            <pc:docMk/>
            <pc:sldMk cId="962621261" sldId="281"/>
            <ac:spMk id="113" creationId="{4703A765-67DB-D943-0D4B-A9B79D31DA8E}"/>
          </ac:spMkLst>
        </pc:spChg>
        <pc:grpChg chg="add del">
          <ac:chgData name="Victor Sucasas" userId="5e9b3a00-e16d-44aa-9a74-a37ad9fec3fb" providerId="ADAL" clId="{1E76A972-478F-5263-9F7B-46BF61F39BB0}" dt="2026-06-11T11:58:51.058" v="1358" actId="478"/>
          <ac:grpSpMkLst>
            <pc:docMk/>
            <pc:sldMk cId="962621261" sldId="281"/>
            <ac:grpSpMk id="6" creationId="{AF676556-F4E9-8B6B-F513-34F20C3326FE}"/>
          </ac:grpSpMkLst>
        </pc:grpChg>
        <pc:grpChg chg="add del">
          <ac:chgData name="Victor Sucasas" userId="5e9b3a00-e16d-44aa-9a74-a37ad9fec3fb" providerId="ADAL" clId="{1E76A972-478F-5263-9F7B-46BF61F39BB0}" dt="2026-06-11T11:58:50.719" v="1357" actId="478"/>
          <ac:grpSpMkLst>
            <pc:docMk/>
            <pc:sldMk cId="962621261" sldId="281"/>
            <ac:grpSpMk id="7" creationId="{C47DCF0C-5567-9795-91A2-B3F1DBC04D53}"/>
          </ac:grpSpMkLst>
        </pc:grpChg>
        <pc:grpChg chg="add del">
          <ac:chgData name="Victor Sucasas" userId="5e9b3a00-e16d-44aa-9a74-a37ad9fec3fb" providerId="ADAL" clId="{1E76A972-478F-5263-9F7B-46BF61F39BB0}" dt="2026-06-11T11:58:50.323" v="1356" actId="478"/>
          <ac:grpSpMkLst>
            <pc:docMk/>
            <pc:sldMk cId="962621261" sldId="281"/>
            <ac:grpSpMk id="16" creationId="{E8EA9D83-5E66-5356-7C6E-F0E35D3B5D5A}"/>
          </ac:grpSpMkLst>
        </pc:grpChg>
        <pc:grpChg chg="add del">
          <ac:chgData name="Victor Sucasas" userId="5e9b3a00-e16d-44aa-9a74-a37ad9fec3fb" providerId="ADAL" clId="{1E76A972-478F-5263-9F7B-46BF61F39BB0}" dt="2026-06-11T11:58:49.783" v="1355" actId="478"/>
          <ac:grpSpMkLst>
            <pc:docMk/>
            <pc:sldMk cId="962621261" sldId="281"/>
            <ac:grpSpMk id="18" creationId="{454EE918-AE87-B38B-BF1A-6803D70F15B0}"/>
          </ac:grpSpMkLst>
        </pc:grpChg>
        <pc:grpChg chg="add del">
          <ac:chgData name="Victor Sucasas" userId="5e9b3a00-e16d-44aa-9a74-a37ad9fec3fb" providerId="ADAL" clId="{1E76A972-478F-5263-9F7B-46BF61F39BB0}" dt="2026-06-11T11:58:48.471" v="1353" actId="478"/>
          <ac:grpSpMkLst>
            <pc:docMk/>
            <pc:sldMk cId="962621261" sldId="281"/>
            <ac:grpSpMk id="25" creationId="{30097A51-9F4D-47EB-6885-E6013574C4DA}"/>
          </ac:grpSpMkLst>
        </pc:grpChg>
        <pc:grpChg chg="add del">
          <ac:chgData name="Victor Sucasas" userId="5e9b3a00-e16d-44aa-9a74-a37ad9fec3fb" providerId="ADAL" clId="{1E76A972-478F-5263-9F7B-46BF61F39BB0}" dt="2026-06-11T11:58:49.272" v="1354" actId="478"/>
          <ac:grpSpMkLst>
            <pc:docMk/>
            <pc:sldMk cId="962621261" sldId="281"/>
            <ac:grpSpMk id="26" creationId="{2DFA114C-38CA-F2F0-C6E2-AC78E632B002}"/>
          </ac:grpSpMkLst>
        </pc:grpChg>
        <pc:picChg chg="mod">
          <ac:chgData name="Victor Sucasas" userId="5e9b3a00-e16d-44aa-9a74-a37ad9fec3fb" providerId="ADAL" clId="{1E76A972-478F-5263-9F7B-46BF61F39BB0}" dt="2026-06-11T12:02:59.487" v="1436" actId="1076"/>
          <ac:picMkLst>
            <pc:docMk/>
            <pc:sldMk cId="962621261" sldId="281"/>
            <ac:picMk id="10" creationId="{720C4478-DF03-C725-F322-17D02F1C0667}"/>
          </ac:picMkLst>
        </pc:picChg>
        <pc:picChg chg="add mod">
          <ac:chgData name="Victor Sucasas" userId="5e9b3a00-e16d-44aa-9a74-a37ad9fec3fb" providerId="ADAL" clId="{1E76A972-478F-5263-9F7B-46BF61F39BB0}" dt="2026-06-11T12:02:55.887" v="1434" actId="1076"/>
          <ac:picMkLst>
            <pc:docMk/>
            <pc:sldMk cId="962621261" sldId="281"/>
            <ac:picMk id="19" creationId="{A2C2CD6A-D6D2-C23F-EAA1-BD0AAFEE8637}"/>
          </ac:picMkLst>
        </pc:picChg>
        <pc:picChg chg="add mod">
          <ac:chgData name="Victor Sucasas" userId="5e9b3a00-e16d-44aa-9a74-a37ad9fec3fb" providerId="ADAL" clId="{1E76A972-478F-5263-9F7B-46BF61F39BB0}" dt="2026-06-11T12:03:04.401" v="1438" actId="1076"/>
          <ac:picMkLst>
            <pc:docMk/>
            <pc:sldMk cId="962621261" sldId="281"/>
            <ac:picMk id="20" creationId="{6761E330-F4A7-B145-EBE6-DD944A99F73C}"/>
          </ac:picMkLst>
        </pc:picChg>
        <pc:picChg chg="add mod">
          <ac:chgData name="Victor Sucasas" userId="5e9b3a00-e16d-44aa-9a74-a37ad9fec3fb" providerId="ADAL" clId="{1E76A972-478F-5263-9F7B-46BF61F39BB0}" dt="2026-06-11T12:03:10.570" v="1442" actId="1076"/>
          <ac:picMkLst>
            <pc:docMk/>
            <pc:sldMk cId="962621261" sldId="281"/>
            <ac:picMk id="27" creationId="{0E4B08C2-286A-BC21-A73F-FDCC54F21FA5}"/>
          </ac:picMkLst>
        </pc:picChg>
        <pc:picChg chg="add mod">
          <ac:chgData name="Victor Sucasas" userId="5e9b3a00-e16d-44aa-9a74-a37ad9fec3fb" providerId="ADAL" clId="{1E76A972-478F-5263-9F7B-46BF61F39BB0}" dt="2026-06-11T12:03:14.784" v="1444" actId="1076"/>
          <ac:picMkLst>
            <pc:docMk/>
            <pc:sldMk cId="962621261" sldId="281"/>
            <ac:picMk id="28" creationId="{E9AFF3F2-F3D8-A5FA-A771-DCF530F1BC90}"/>
          </ac:picMkLst>
        </pc:picChg>
        <pc:picChg chg="add mod">
          <ac:chgData name="Victor Sucasas" userId="5e9b3a00-e16d-44aa-9a74-a37ad9fec3fb" providerId="ADAL" clId="{1E76A972-478F-5263-9F7B-46BF61F39BB0}" dt="2026-06-11T12:03:18.319" v="1446" actId="1076"/>
          <ac:picMkLst>
            <pc:docMk/>
            <pc:sldMk cId="962621261" sldId="281"/>
            <ac:picMk id="29" creationId="{B27D2E34-5734-209B-5B81-17300444DE7E}"/>
          </ac:picMkLst>
        </pc:picChg>
      </pc:sldChg>
      <pc:sldChg chg="addSp delSp modSp add mod modAnim">
        <pc:chgData name="Victor Sucasas" userId="5e9b3a00-e16d-44aa-9a74-a37ad9fec3fb" providerId="ADAL" clId="{1E76A972-478F-5263-9F7B-46BF61F39BB0}" dt="2026-06-12T12:18:51.049" v="2345"/>
        <pc:sldMkLst>
          <pc:docMk/>
          <pc:sldMk cId="783165058" sldId="282"/>
        </pc:sldMkLst>
        <pc:spChg chg="mod">
          <ac:chgData name="Victor Sucasas" userId="5e9b3a00-e16d-44aa-9a74-a37ad9fec3fb" providerId="ADAL" clId="{1E76A972-478F-5263-9F7B-46BF61F39BB0}" dt="2026-06-12T12:10:31.928" v="2190"/>
          <ac:spMkLst>
            <pc:docMk/>
            <pc:sldMk cId="783165058" sldId="282"/>
            <ac:spMk id="6" creationId="{066E2199-3B74-F28D-C9DE-361423BDD04A}"/>
          </ac:spMkLst>
        </pc:spChg>
        <pc:spChg chg="mod">
          <ac:chgData name="Victor Sucasas" userId="5e9b3a00-e16d-44aa-9a74-a37ad9fec3fb" providerId="ADAL" clId="{1E76A972-478F-5263-9F7B-46BF61F39BB0}" dt="2026-06-12T12:10:49.321" v="2194"/>
          <ac:spMkLst>
            <pc:docMk/>
            <pc:sldMk cId="783165058" sldId="282"/>
            <ac:spMk id="9" creationId="{E9531541-511B-6D05-D563-371326D51CCF}"/>
          </ac:spMkLst>
        </pc:spChg>
        <pc:spChg chg="mod">
          <ac:chgData name="Victor Sucasas" userId="5e9b3a00-e16d-44aa-9a74-a37ad9fec3fb" providerId="ADAL" clId="{1E76A972-478F-5263-9F7B-46BF61F39BB0}" dt="2026-06-12T12:11:10.387" v="2197"/>
          <ac:spMkLst>
            <pc:docMk/>
            <pc:sldMk cId="783165058" sldId="282"/>
            <ac:spMk id="14" creationId="{9B8E4734-84B2-6985-5537-97ADD35FFC27}"/>
          </ac:spMkLst>
        </pc:spChg>
        <pc:spChg chg="mod">
          <ac:chgData name="Victor Sucasas" userId="5e9b3a00-e16d-44aa-9a74-a37ad9fec3fb" providerId="ADAL" clId="{1E76A972-478F-5263-9F7B-46BF61F39BB0}" dt="2026-06-12T12:13:05.640" v="2227"/>
          <ac:spMkLst>
            <pc:docMk/>
            <pc:sldMk cId="783165058" sldId="282"/>
            <ac:spMk id="17" creationId="{A1AB056B-E0A1-979A-E7BE-736846304CD2}"/>
          </ac:spMkLst>
        </pc:spChg>
        <pc:spChg chg="mod">
          <ac:chgData name="Victor Sucasas" userId="5e9b3a00-e16d-44aa-9a74-a37ad9fec3fb" providerId="ADAL" clId="{1E76A972-478F-5263-9F7B-46BF61F39BB0}" dt="2026-06-12T12:13:48.214" v="2233"/>
          <ac:spMkLst>
            <pc:docMk/>
            <pc:sldMk cId="783165058" sldId="282"/>
            <ac:spMk id="22" creationId="{830DCD7F-0A6B-0EC3-85FA-87FA9CD8A7FF}"/>
          </ac:spMkLst>
        </pc:spChg>
        <pc:spChg chg="mod">
          <ac:chgData name="Victor Sucasas" userId="5e9b3a00-e16d-44aa-9a74-a37ad9fec3fb" providerId="ADAL" clId="{1E76A972-478F-5263-9F7B-46BF61F39BB0}" dt="2026-06-12T12:14:08.155" v="2237"/>
          <ac:spMkLst>
            <pc:docMk/>
            <pc:sldMk cId="783165058" sldId="282"/>
            <ac:spMk id="25" creationId="{E8FDF090-197F-1039-0A31-14A011372B2E}"/>
          </ac:spMkLst>
        </pc:spChg>
        <pc:spChg chg="mod">
          <ac:chgData name="Victor Sucasas" userId="5e9b3a00-e16d-44aa-9a74-a37ad9fec3fb" providerId="ADAL" clId="{1E76A972-478F-5263-9F7B-46BF61F39BB0}" dt="2026-06-12T12:16:18.230" v="2339" actId="5793"/>
          <ac:spMkLst>
            <pc:docMk/>
            <pc:sldMk cId="783165058" sldId="282"/>
            <ac:spMk id="113" creationId="{CE9B3914-2F5B-577D-5ED0-4017A8A25671}"/>
          </ac:spMkLst>
        </pc:spChg>
        <pc:grpChg chg="add mod">
          <ac:chgData name="Victor Sucasas" userId="5e9b3a00-e16d-44aa-9a74-a37ad9fec3fb" providerId="ADAL" clId="{1E76A972-478F-5263-9F7B-46BF61F39BB0}" dt="2026-06-12T12:11:41.421" v="2207" actId="1076"/>
          <ac:grpSpMkLst>
            <pc:docMk/>
            <pc:sldMk cId="783165058" sldId="282"/>
            <ac:grpSpMk id="3" creationId="{EF4F80CA-5350-5A49-210A-4C668EDCC392}"/>
          </ac:grpSpMkLst>
        </pc:grpChg>
        <pc:grpChg chg="add mod">
          <ac:chgData name="Victor Sucasas" userId="5e9b3a00-e16d-44aa-9a74-a37ad9fec3fb" providerId="ADAL" clId="{1E76A972-478F-5263-9F7B-46BF61F39BB0}" dt="2026-06-12T12:11:45.272" v="2208" actId="1076"/>
          <ac:grpSpMkLst>
            <pc:docMk/>
            <pc:sldMk cId="783165058" sldId="282"/>
            <ac:grpSpMk id="7" creationId="{A105DCB7-F080-6619-EE2A-245EAF94C21D}"/>
          </ac:grpSpMkLst>
        </pc:grpChg>
        <pc:grpChg chg="add mod">
          <ac:chgData name="Victor Sucasas" userId="5e9b3a00-e16d-44aa-9a74-a37ad9fec3fb" providerId="ADAL" clId="{1E76A972-478F-5263-9F7B-46BF61F39BB0}" dt="2026-06-12T12:13:03.234" v="2226" actId="1076"/>
          <ac:grpSpMkLst>
            <pc:docMk/>
            <pc:sldMk cId="783165058" sldId="282"/>
            <ac:grpSpMk id="12" creationId="{F3215F56-C01A-0E9A-6977-A4BF1F7D9CAF}"/>
          </ac:grpSpMkLst>
        </pc:grpChg>
        <pc:grpChg chg="add mod">
          <ac:chgData name="Victor Sucasas" userId="5e9b3a00-e16d-44aa-9a74-a37ad9fec3fb" providerId="ADAL" clId="{1E76A972-478F-5263-9F7B-46BF61F39BB0}" dt="2026-06-12T12:13:29.652" v="2232" actId="1076"/>
          <ac:grpSpMkLst>
            <pc:docMk/>
            <pc:sldMk cId="783165058" sldId="282"/>
            <ac:grpSpMk id="15" creationId="{39DEA466-C75F-DB0E-6546-D0921F3C5CAE}"/>
          </ac:grpSpMkLst>
        </pc:grpChg>
        <pc:grpChg chg="add mod">
          <ac:chgData name="Victor Sucasas" userId="5e9b3a00-e16d-44aa-9a74-a37ad9fec3fb" providerId="ADAL" clId="{1E76A972-478F-5263-9F7B-46BF61F39BB0}" dt="2026-06-12T12:14:05.934" v="2236" actId="1076"/>
          <ac:grpSpMkLst>
            <pc:docMk/>
            <pc:sldMk cId="783165058" sldId="282"/>
            <ac:grpSpMk id="18" creationId="{63057706-762B-2779-B9A8-6C39334BDFA8}"/>
          </ac:grpSpMkLst>
        </pc:grpChg>
        <pc:grpChg chg="add mod">
          <ac:chgData name="Victor Sucasas" userId="5e9b3a00-e16d-44aa-9a74-a37ad9fec3fb" providerId="ADAL" clId="{1E76A972-478F-5263-9F7B-46BF61F39BB0}" dt="2026-06-12T12:14:21.734" v="2240" actId="1076"/>
          <ac:grpSpMkLst>
            <pc:docMk/>
            <pc:sldMk cId="783165058" sldId="282"/>
            <ac:grpSpMk id="23" creationId="{AFB99018-B606-E368-091F-86BD3C48E4BA}"/>
          </ac:grpSpMkLst>
        </pc:grpChg>
        <pc:picChg chg="mod">
          <ac:chgData name="Victor Sucasas" userId="5e9b3a00-e16d-44aa-9a74-a37ad9fec3fb" providerId="ADAL" clId="{1E76A972-478F-5263-9F7B-46BF61F39BB0}" dt="2026-06-12T12:09:56.873" v="2189" actId="1076"/>
          <ac:picMkLst>
            <pc:docMk/>
            <pc:sldMk cId="783165058" sldId="282"/>
            <ac:picMk id="4" creationId="{CD6AD155-A794-AB70-5FF7-76964A058825}"/>
          </ac:picMkLst>
        </pc:picChg>
        <pc:picChg chg="mod">
          <ac:chgData name="Victor Sucasas" userId="5e9b3a00-e16d-44aa-9a74-a37ad9fec3fb" providerId="ADAL" clId="{1E76A972-478F-5263-9F7B-46BF61F39BB0}" dt="2026-06-12T12:10:31.928" v="2190"/>
          <ac:picMkLst>
            <pc:docMk/>
            <pc:sldMk cId="783165058" sldId="282"/>
            <ac:picMk id="5" creationId="{A91F38AB-1AA4-D17C-39AB-0808D6351A42}"/>
          </ac:picMkLst>
        </pc:picChg>
        <pc:picChg chg="mod">
          <ac:chgData name="Victor Sucasas" userId="5e9b3a00-e16d-44aa-9a74-a37ad9fec3fb" providerId="ADAL" clId="{1E76A972-478F-5263-9F7B-46BF61F39BB0}" dt="2026-06-12T12:10:49.321" v="2194"/>
          <ac:picMkLst>
            <pc:docMk/>
            <pc:sldMk cId="783165058" sldId="282"/>
            <ac:picMk id="8" creationId="{289E5D38-E67D-C619-7EBC-641BECBF113B}"/>
          </ac:picMkLst>
        </pc:picChg>
        <pc:picChg chg="mod">
          <ac:chgData name="Victor Sucasas" userId="5e9b3a00-e16d-44aa-9a74-a37ad9fec3fb" providerId="ADAL" clId="{1E76A972-478F-5263-9F7B-46BF61F39BB0}" dt="2026-06-12T12:11:10.387" v="2197"/>
          <ac:picMkLst>
            <pc:docMk/>
            <pc:sldMk cId="783165058" sldId="282"/>
            <ac:picMk id="13" creationId="{22A0B93C-422B-C9B4-1DB5-E8A77BA5E132}"/>
          </ac:picMkLst>
        </pc:picChg>
        <pc:picChg chg="mod">
          <ac:chgData name="Victor Sucasas" userId="5e9b3a00-e16d-44aa-9a74-a37ad9fec3fb" providerId="ADAL" clId="{1E76A972-478F-5263-9F7B-46BF61F39BB0}" dt="2026-06-12T12:13:05.640" v="2227"/>
          <ac:picMkLst>
            <pc:docMk/>
            <pc:sldMk cId="783165058" sldId="282"/>
            <ac:picMk id="16" creationId="{48E53373-258D-F2F3-5F4D-FAAA1A87C85C}"/>
          </ac:picMkLst>
        </pc:picChg>
        <pc:picChg chg="mod">
          <ac:chgData name="Victor Sucasas" userId="5e9b3a00-e16d-44aa-9a74-a37ad9fec3fb" providerId="ADAL" clId="{1E76A972-478F-5263-9F7B-46BF61F39BB0}" dt="2026-06-12T12:13:48.214" v="2233"/>
          <ac:picMkLst>
            <pc:docMk/>
            <pc:sldMk cId="783165058" sldId="282"/>
            <ac:picMk id="21" creationId="{F1CACB4C-C4B5-1BB1-9106-DC40C0A517EB}"/>
          </ac:picMkLst>
        </pc:picChg>
        <pc:picChg chg="mod">
          <ac:chgData name="Victor Sucasas" userId="5e9b3a00-e16d-44aa-9a74-a37ad9fec3fb" providerId="ADAL" clId="{1E76A972-478F-5263-9F7B-46BF61F39BB0}" dt="2026-06-12T12:14:08.155" v="2237"/>
          <ac:picMkLst>
            <pc:docMk/>
            <pc:sldMk cId="783165058" sldId="282"/>
            <ac:picMk id="24" creationId="{D85ADE9D-46A2-AEEA-B6CF-F1CC4A91A7F2}"/>
          </ac:picMkLst>
        </pc:picChg>
        <pc:picChg chg="mod">
          <ac:chgData name="Victor Sucasas" userId="5e9b3a00-e16d-44aa-9a74-a37ad9fec3fb" providerId="ADAL" clId="{1E76A972-478F-5263-9F7B-46BF61F39BB0}" dt="2026-06-12T12:09:56.873" v="2189" actId="1076"/>
          <ac:picMkLst>
            <pc:docMk/>
            <pc:sldMk cId="783165058" sldId="282"/>
            <ac:picMk id="65" creationId="{A7739A18-6F5E-6B17-D177-522F4416A60E}"/>
          </ac:picMkLst>
        </pc:picChg>
        <pc:picChg chg="mod">
          <ac:chgData name="Victor Sucasas" userId="5e9b3a00-e16d-44aa-9a74-a37ad9fec3fb" providerId="ADAL" clId="{1E76A972-478F-5263-9F7B-46BF61F39BB0}" dt="2026-06-12T12:09:56.873" v="2189" actId="1076"/>
          <ac:picMkLst>
            <pc:docMk/>
            <pc:sldMk cId="783165058" sldId="282"/>
            <ac:picMk id="66" creationId="{B6A25A76-0F4E-75EE-2200-A53AADC59F56}"/>
          </ac:picMkLst>
        </pc:picChg>
      </pc:sldChg>
      <pc:sldChg chg="addSp modSp mod modAnim">
        <pc:chgData name="Victor Sucasas" userId="5e9b3a00-e16d-44aa-9a74-a37ad9fec3fb" providerId="ADAL" clId="{1E76A972-478F-5263-9F7B-46BF61F39BB0}" dt="2026-06-22T19:39:00.091" v="2422"/>
        <pc:sldMkLst>
          <pc:docMk/>
          <pc:sldMk cId="567249401" sldId="284"/>
        </pc:sldMkLst>
        <pc:spChg chg="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3" creationId="{01E02B7B-6CF4-8E41-5BF1-B3ED7F66CDBF}"/>
          </ac:spMkLst>
        </pc:spChg>
        <pc:spChg chg="add 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6" creationId="{D173BD0B-0C40-28E5-D1E4-0179FF8B3EEC}"/>
          </ac:spMkLst>
        </pc:spChg>
        <pc:spChg chg="add 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10" creationId="{BDF8CE18-7FFE-0EED-0DF9-5DF4AF0E62C2}"/>
          </ac:spMkLst>
        </pc:spChg>
        <pc:spChg chg="mod">
          <ac:chgData name="Victor Sucasas" userId="5e9b3a00-e16d-44aa-9a74-a37ad9fec3fb" providerId="ADAL" clId="{1E76A972-478F-5263-9F7B-46BF61F39BB0}" dt="2026-06-22T19:37:47.367" v="2408" actId="1076"/>
          <ac:spMkLst>
            <pc:docMk/>
            <pc:sldMk cId="567249401" sldId="284"/>
            <ac:spMk id="15" creationId="{65DC9854-1739-5490-119F-ABCC534AFC0B}"/>
          </ac:spMkLst>
        </pc:spChg>
        <pc:spChg chg="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16" creationId="{66DC8F61-32E5-F35E-927C-CE99ED4ADB8F}"/>
          </ac:spMkLst>
        </pc:spChg>
        <pc:spChg chg="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17" creationId="{F98CDD0A-B5C6-4E00-9710-9A6A5F70CCE6}"/>
          </ac:spMkLst>
        </pc:spChg>
        <pc:spChg chg="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18" creationId="{1396D571-6CFB-919C-0351-B510E0018796}"/>
          </ac:spMkLst>
        </pc:spChg>
        <pc:spChg chg="mod">
          <ac:chgData name="Victor Sucasas" userId="5e9b3a00-e16d-44aa-9a74-a37ad9fec3fb" providerId="ADAL" clId="{1E76A972-478F-5263-9F7B-46BF61F39BB0}" dt="2026-06-22T19:37:50.327" v="2410" actId="1035"/>
          <ac:spMkLst>
            <pc:docMk/>
            <pc:sldMk cId="567249401" sldId="284"/>
            <ac:spMk id="23" creationId="{4C739157-2A65-70C2-C74D-04B056FB0F95}"/>
          </ac:spMkLst>
        </pc:spChg>
        <pc:picChg chg="mod">
          <ac:chgData name="Victor Sucasas" userId="5e9b3a00-e16d-44aa-9a74-a37ad9fec3fb" providerId="ADAL" clId="{1E76A972-478F-5263-9F7B-46BF61F39BB0}" dt="2026-06-22T19:37:44.948" v="2407" actId="1076"/>
          <ac:picMkLst>
            <pc:docMk/>
            <pc:sldMk cId="567249401" sldId="284"/>
            <ac:picMk id="14" creationId="{8E4C72A5-590D-55AC-5A4C-B392C30591C3}"/>
          </ac:picMkLst>
        </pc:picChg>
        <pc:picChg chg="mod">
          <ac:chgData name="Victor Sucasas" userId="5e9b3a00-e16d-44aa-9a74-a37ad9fec3fb" providerId="ADAL" clId="{1E76A972-478F-5263-9F7B-46BF61F39BB0}" dt="2026-06-22T19:37:50.327" v="2410" actId="1035"/>
          <ac:picMkLst>
            <pc:docMk/>
            <pc:sldMk cId="567249401" sldId="284"/>
            <ac:picMk id="19" creationId="{4EA30E9B-E6D5-948F-F69A-F46017AE4F00}"/>
          </ac:picMkLst>
        </pc:picChg>
        <pc:picChg chg="mod">
          <ac:chgData name="Victor Sucasas" userId="5e9b3a00-e16d-44aa-9a74-a37ad9fec3fb" providerId="ADAL" clId="{1E76A972-478F-5263-9F7B-46BF61F39BB0}" dt="2026-06-22T19:37:50.327" v="2410" actId="1035"/>
          <ac:picMkLst>
            <pc:docMk/>
            <pc:sldMk cId="567249401" sldId="284"/>
            <ac:picMk id="20" creationId="{D83D0993-B9FC-B6CE-07DE-48B1869C5550}"/>
          </ac:picMkLst>
        </pc:picChg>
        <pc:picChg chg="mod">
          <ac:chgData name="Victor Sucasas" userId="5e9b3a00-e16d-44aa-9a74-a37ad9fec3fb" providerId="ADAL" clId="{1E76A972-478F-5263-9F7B-46BF61F39BB0}" dt="2026-06-22T19:37:50.327" v="2410" actId="1035"/>
          <ac:picMkLst>
            <pc:docMk/>
            <pc:sldMk cId="567249401" sldId="284"/>
            <ac:picMk id="21" creationId="{891671AC-A3D3-58A9-3194-D36E5F1ECFA7}"/>
          </ac:picMkLst>
        </pc:picChg>
        <pc:picChg chg="mod">
          <ac:chgData name="Victor Sucasas" userId="5e9b3a00-e16d-44aa-9a74-a37ad9fec3fb" providerId="ADAL" clId="{1E76A972-478F-5263-9F7B-46BF61F39BB0}" dt="2026-06-22T19:36:16.869" v="2365" actId="1076"/>
          <ac:picMkLst>
            <pc:docMk/>
            <pc:sldMk cId="567249401" sldId="284"/>
            <ac:picMk id="26" creationId="{FBDAFD43-8E30-C769-15AA-DD0FF736FB5E}"/>
          </ac:picMkLst>
        </pc:picChg>
      </pc:sldChg>
      <pc:sldChg chg="addSp modSp mod modAnim">
        <pc:chgData name="Victor Sucasas" userId="5e9b3a00-e16d-44aa-9a74-a37ad9fec3fb" providerId="ADAL" clId="{1E76A972-478F-5263-9F7B-46BF61F39BB0}" dt="2026-06-09T06:03:50.455" v="38"/>
        <pc:sldMkLst>
          <pc:docMk/>
          <pc:sldMk cId="3742457775" sldId="2147483641"/>
        </pc:sldMkLst>
        <pc:spChg chg="add mod">
          <ac:chgData name="Victor Sucasas" userId="5e9b3a00-e16d-44aa-9a74-a37ad9fec3fb" providerId="ADAL" clId="{1E76A972-478F-5263-9F7B-46BF61F39BB0}" dt="2026-06-09T06:02:18.942" v="25" actId="1076"/>
          <ac:spMkLst>
            <pc:docMk/>
            <pc:sldMk cId="3742457775" sldId="2147483641"/>
            <ac:spMk id="8" creationId="{1993AA51-E3F0-9FDF-A6F9-9DD9BF27D675}"/>
          </ac:spMkLst>
        </pc:spChg>
        <pc:spChg chg="add mod">
          <ac:chgData name="Victor Sucasas" userId="5e9b3a00-e16d-44aa-9a74-a37ad9fec3fb" providerId="ADAL" clId="{1E76A972-478F-5263-9F7B-46BF61F39BB0}" dt="2026-06-09T06:02:18.942" v="25" actId="1076"/>
          <ac:spMkLst>
            <pc:docMk/>
            <pc:sldMk cId="3742457775" sldId="2147483641"/>
            <ac:spMk id="9" creationId="{03CC5580-D488-E0EA-D7E3-09F5DB280CA3}"/>
          </ac:spMkLst>
        </pc:spChg>
        <pc:spChg chg="add mod">
          <ac:chgData name="Victor Sucasas" userId="5e9b3a00-e16d-44aa-9a74-a37ad9fec3fb" providerId="ADAL" clId="{1E76A972-478F-5263-9F7B-46BF61F39BB0}" dt="2026-06-09T06:02:50.404" v="28" actId="14100"/>
          <ac:spMkLst>
            <pc:docMk/>
            <pc:sldMk cId="3742457775" sldId="2147483641"/>
            <ac:spMk id="10" creationId="{D9175118-BE3C-E642-9C5B-DE1FDA7581EF}"/>
          </ac:spMkLst>
        </pc:spChg>
        <pc:spChg chg="add mod">
          <ac:chgData name="Victor Sucasas" userId="5e9b3a00-e16d-44aa-9a74-a37ad9fec3fb" providerId="ADAL" clId="{1E76A972-478F-5263-9F7B-46BF61F39BB0}" dt="2026-06-09T06:03:01.119" v="32" actId="20577"/>
          <ac:spMkLst>
            <pc:docMk/>
            <pc:sldMk cId="3742457775" sldId="2147483641"/>
            <ac:spMk id="12" creationId="{3D4DB017-C420-87F4-CBC8-DB72183FA31B}"/>
          </ac:spMkLst>
        </pc:spChg>
        <pc:spChg chg="mod">
          <ac:chgData name="Victor Sucasas" userId="5e9b3a00-e16d-44aa-9a74-a37ad9fec3fb" providerId="ADAL" clId="{1E76A972-478F-5263-9F7B-46BF61F39BB0}" dt="2026-06-09T06:03:37.671" v="37" actId="1076"/>
          <ac:spMkLst>
            <pc:docMk/>
            <pc:sldMk cId="3742457775" sldId="2147483641"/>
            <ac:spMk id="112" creationId="{0A5A4ABD-7B0A-553C-3ACC-86C9A57432B0}"/>
          </ac:spMkLst>
        </pc:spChg>
        <pc:picChg chg="add mod">
          <ac:chgData name="Victor Sucasas" userId="5e9b3a00-e16d-44aa-9a74-a37ad9fec3fb" providerId="ADAL" clId="{1E76A972-478F-5263-9F7B-46BF61F39BB0}" dt="2026-06-09T06:02:18.942" v="25" actId="1076"/>
          <ac:picMkLst>
            <pc:docMk/>
            <pc:sldMk cId="3742457775" sldId="2147483641"/>
            <ac:picMk id="4" creationId="{B8EC7178-FC22-ABFC-7881-C9EE6A0B5FD7}"/>
          </ac:picMkLst>
        </pc:picChg>
        <pc:picChg chg="add mod">
          <ac:chgData name="Victor Sucasas" userId="5e9b3a00-e16d-44aa-9a74-a37ad9fec3fb" providerId="ADAL" clId="{1E76A972-478F-5263-9F7B-46BF61F39BB0}" dt="2026-06-09T06:02:18.942" v="25" actId="1076"/>
          <ac:picMkLst>
            <pc:docMk/>
            <pc:sldMk cId="3742457775" sldId="2147483641"/>
            <ac:picMk id="6" creationId="{91C00BFE-071B-4923-F9B1-D90C192A41FD}"/>
          </ac:picMkLst>
        </pc:picChg>
        <pc:picChg chg="add mod">
          <ac:chgData name="Victor Sucasas" userId="5e9b3a00-e16d-44aa-9a74-a37ad9fec3fb" providerId="ADAL" clId="{1E76A972-478F-5263-9F7B-46BF61F39BB0}" dt="2026-06-08T16:55:26.439" v="10" actId="1076"/>
          <ac:picMkLst>
            <pc:docMk/>
            <pc:sldMk cId="3742457775" sldId="2147483641"/>
            <ac:picMk id="7" creationId="{9C8D557E-BA1B-A7CB-2140-D566D822A473}"/>
          </ac:picMkLst>
        </pc:picChg>
        <pc:picChg chg="add mod">
          <ac:chgData name="Victor Sucasas" userId="5e9b3a00-e16d-44aa-9a74-a37ad9fec3fb" providerId="ADAL" clId="{1E76A972-478F-5263-9F7B-46BF61F39BB0}" dt="2026-06-09T06:02:59.087" v="30" actId="1076"/>
          <ac:picMkLst>
            <pc:docMk/>
            <pc:sldMk cId="3742457775" sldId="2147483641"/>
            <ac:picMk id="11" creationId="{F0ECB9D9-0BA0-D5AD-EB17-BFAF11D3201D}"/>
          </ac:picMkLst>
        </pc:picChg>
        <pc:cxnChg chg="add mod">
          <ac:chgData name="Victor Sucasas" userId="5e9b3a00-e16d-44aa-9a74-a37ad9fec3fb" providerId="ADAL" clId="{1E76A972-478F-5263-9F7B-46BF61F39BB0}" dt="2026-06-08T16:55:19.439" v="8" actId="14100"/>
          <ac:cxnSpMkLst>
            <pc:docMk/>
            <pc:sldMk cId="3742457775" sldId="2147483641"/>
            <ac:cxnSpMk id="3" creationId="{67E12FDF-F8FA-8715-EA6A-87E323657F93}"/>
          </ac:cxnSpMkLst>
        </pc:cxnChg>
      </pc:sldChg>
      <pc:sldChg chg="add ord">
        <pc:chgData name="Victor Sucasas" userId="5e9b3a00-e16d-44aa-9a74-a37ad9fec3fb" providerId="ADAL" clId="{1E76A972-478F-5263-9F7B-46BF61F39BB0}" dt="2026-06-11T12:07:37.943" v="1490" actId="20578"/>
        <pc:sldMkLst>
          <pc:docMk/>
          <pc:sldMk cId="2034097274" sldId="2147483644"/>
        </pc:sldMkLst>
      </pc:sldChg>
      <pc:sldChg chg="addSp delSp modSp mod">
        <pc:chgData name="Victor Sucasas" userId="5e9b3a00-e16d-44aa-9a74-a37ad9fec3fb" providerId="ADAL" clId="{1E76A972-478F-5263-9F7B-46BF61F39BB0}" dt="2026-06-11T11:04:51.895" v="177" actId="207"/>
        <pc:sldMkLst>
          <pc:docMk/>
          <pc:sldMk cId="2379140346" sldId="2147483647"/>
        </pc:sldMkLst>
        <pc:spChg chg="mod">
          <ac:chgData name="Victor Sucasas" userId="5e9b3a00-e16d-44aa-9a74-a37ad9fec3fb" providerId="ADAL" clId="{1E76A972-478F-5263-9F7B-46BF61F39BB0}" dt="2026-06-11T11:04:51.895" v="177" actId="207"/>
          <ac:spMkLst>
            <pc:docMk/>
            <pc:sldMk cId="2379140346" sldId="2147483647"/>
            <ac:spMk id="14" creationId="{4C22D2DC-B49C-BEC6-E946-1FF857824E03}"/>
          </ac:spMkLst>
        </pc:spChg>
        <pc:spChg chg="mod">
          <ac:chgData name="Victor Sucasas" userId="5e9b3a00-e16d-44aa-9a74-a37ad9fec3fb" providerId="ADAL" clId="{1E76A972-478F-5263-9F7B-46BF61F39BB0}" dt="2026-06-11T11:04:51.895" v="177" actId="207"/>
          <ac:spMkLst>
            <pc:docMk/>
            <pc:sldMk cId="2379140346" sldId="2147483647"/>
            <ac:spMk id="16" creationId="{33D3E173-4985-5895-E397-E4CE28792127}"/>
          </ac:spMkLst>
        </pc:spChg>
        <pc:spChg chg="mod">
          <ac:chgData name="Victor Sucasas" userId="5e9b3a00-e16d-44aa-9a74-a37ad9fec3fb" providerId="ADAL" clId="{1E76A972-478F-5263-9F7B-46BF61F39BB0}" dt="2026-06-11T11:04:51.895" v="177" actId="207"/>
          <ac:spMkLst>
            <pc:docMk/>
            <pc:sldMk cId="2379140346" sldId="2147483647"/>
            <ac:spMk id="18" creationId="{9F80D334-BE21-5A02-DC73-F1289468CBDA}"/>
          </ac:spMkLst>
        </pc:spChg>
        <pc:spChg chg="mod">
          <ac:chgData name="Victor Sucasas" userId="5e9b3a00-e16d-44aa-9a74-a37ad9fec3fb" providerId="ADAL" clId="{1E76A972-478F-5263-9F7B-46BF61F39BB0}" dt="2026-06-11T11:04:51.895" v="177" actId="207"/>
          <ac:spMkLst>
            <pc:docMk/>
            <pc:sldMk cId="2379140346" sldId="2147483647"/>
            <ac:spMk id="25" creationId="{E66B9437-67CC-FBA2-05EF-BAF973763698}"/>
          </ac:spMkLst>
        </pc:spChg>
        <pc:spChg chg="mod">
          <ac:chgData name="Victor Sucasas" userId="5e9b3a00-e16d-44aa-9a74-a37ad9fec3fb" providerId="ADAL" clId="{1E76A972-478F-5263-9F7B-46BF61F39BB0}" dt="2026-06-11T11:04:51.895" v="177" actId="207"/>
          <ac:spMkLst>
            <pc:docMk/>
            <pc:sldMk cId="2379140346" sldId="2147483647"/>
            <ac:spMk id="50" creationId="{27AB32D2-4A67-E76A-D47F-0FEE22175BCC}"/>
          </ac:spMkLst>
        </pc:spChg>
        <pc:picChg chg="add mod">
          <ac:chgData name="Victor Sucasas" userId="5e9b3a00-e16d-44aa-9a74-a37ad9fec3fb" providerId="ADAL" clId="{1E76A972-478F-5263-9F7B-46BF61F39BB0}" dt="2026-06-11T11:04:33.534" v="171" actId="208"/>
          <ac:picMkLst>
            <pc:docMk/>
            <pc:sldMk cId="2379140346" sldId="2147483647"/>
            <ac:picMk id="2" creationId="{D1A67CF6-BD21-03B0-F1D9-7524C6C5E087}"/>
          </ac:picMkLst>
        </pc:picChg>
        <pc:picChg chg="add mod">
          <ac:chgData name="Victor Sucasas" userId="5e9b3a00-e16d-44aa-9a74-a37ad9fec3fb" providerId="ADAL" clId="{1E76A972-478F-5263-9F7B-46BF61F39BB0}" dt="2026-06-11T11:04:40.001" v="175" actId="1076"/>
          <ac:picMkLst>
            <pc:docMk/>
            <pc:sldMk cId="2379140346" sldId="2147483647"/>
            <ac:picMk id="3" creationId="{BD1860CF-EF05-4049-3CB7-969AE08D23F4}"/>
          </ac:picMkLst>
        </pc:picChg>
        <pc:picChg chg="add mod">
          <ac:chgData name="Victor Sucasas" userId="5e9b3a00-e16d-44aa-9a74-a37ad9fec3fb" providerId="ADAL" clId="{1E76A972-478F-5263-9F7B-46BF61F39BB0}" dt="2026-06-11T11:04:43.133" v="176" actId="1076"/>
          <ac:picMkLst>
            <pc:docMk/>
            <pc:sldMk cId="2379140346" sldId="2147483647"/>
            <ac:picMk id="4" creationId="{BA14EE61-2387-07C9-5E4A-B95CEB63B44A}"/>
          </ac:picMkLst>
        </pc:picChg>
      </pc:sldChg>
    </pc:docChg>
  </pc:docChgLst>
  <pc:docChgLst>
    <pc:chgData name="Victor Sucasas" userId="5e9b3a00-e16d-44aa-9a74-a37ad9fec3fb" providerId="ADAL" clId="{D22957E8-4011-5845-8860-D2C9AB41C321}"/>
    <pc:docChg chg="undo custSel addSld delSld modSld sldOrd delMainMaster modSection">
      <pc:chgData name="Victor Sucasas" userId="5e9b3a00-e16d-44aa-9a74-a37ad9fec3fb" providerId="ADAL" clId="{D22957E8-4011-5845-8860-D2C9AB41C321}" dt="2026-06-20T08:07:10.560" v="7828"/>
      <pc:docMkLst>
        <pc:docMk/>
      </pc:docMkLst>
      <pc:sldChg chg="addSp delSp modSp add mod modAnim">
        <pc:chgData name="Victor Sucasas" userId="5e9b3a00-e16d-44aa-9a74-a37ad9fec3fb" providerId="ADAL" clId="{D22957E8-4011-5845-8860-D2C9AB41C321}" dt="2026-06-01T13:14:17.418" v="3058"/>
        <pc:sldMkLst>
          <pc:docMk/>
          <pc:sldMk cId="2358994834" sldId="256"/>
        </pc:sldMkLst>
        <pc:spChg chg="mod">
          <ac:chgData name="Victor Sucasas" userId="5e9b3a00-e16d-44aa-9a74-a37ad9fec3fb" providerId="ADAL" clId="{D22957E8-4011-5845-8860-D2C9AB41C321}" dt="2026-06-01T13:08:11.876" v="3032" actId="20577"/>
          <ac:spMkLst>
            <pc:docMk/>
            <pc:sldMk cId="2358994834" sldId="256"/>
            <ac:spMk id="2" creationId="{B60689CA-BB77-3FEE-0479-A6A1E953B94E}"/>
          </ac:spMkLst>
        </pc:spChg>
        <pc:picChg chg="add mod">
          <ac:chgData name="Victor Sucasas" userId="5e9b3a00-e16d-44aa-9a74-a37ad9fec3fb" providerId="ADAL" clId="{D22957E8-4011-5845-8860-D2C9AB41C321}" dt="2026-06-01T13:08:22.527" v="3035" actId="14100"/>
          <ac:picMkLst>
            <pc:docMk/>
            <pc:sldMk cId="2358994834" sldId="256"/>
            <ac:picMk id="3" creationId="{2F739DAA-6890-124A-F5CA-E8A1BF5223A6}"/>
          </ac:picMkLst>
        </pc:picChg>
        <pc:picChg chg="add mod">
          <ac:chgData name="Victor Sucasas" userId="5e9b3a00-e16d-44aa-9a74-a37ad9fec3fb" providerId="ADAL" clId="{D22957E8-4011-5845-8860-D2C9AB41C321}" dt="2026-06-01T13:14:07.263" v="3049" actId="166"/>
          <ac:picMkLst>
            <pc:docMk/>
            <pc:sldMk cId="2358994834" sldId="256"/>
            <ac:picMk id="4" creationId="{E56FEDC4-C852-4989-BB65-85B483B0823D}"/>
          </ac:picMkLst>
        </pc:picChg>
        <pc:picChg chg="add mod">
          <ac:chgData name="Victor Sucasas" userId="5e9b3a00-e16d-44aa-9a74-a37ad9fec3fb" providerId="ADAL" clId="{D22957E8-4011-5845-8860-D2C9AB41C321}" dt="2026-06-01T13:14:14.025" v="3057" actId="1036"/>
          <ac:picMkLst>
            <pc:docMk/>
            <pc:sldMk cId="2358994834" sldId="256"/>
            <ac:picMk id="5" creationId="{F49D1E6F-01E2-4832-FBE6-9318F48033B6}"/>
          </ac:picMkLst>
        </pc:picChg>
      </pc:sldChg>
      <pc:sldChg chg="addSp delSp modSp add mod ord delAnim modAnim">
        <pc:chgData name="Victor Sucasas" userId="5e9b3a00-e16d-44aa-9a74-a37ad9fec3fb" providerId="ADAL" clId="{D22957E8-4011-5845-8860-D2C9AB41C321}" dt="2026-06-08T10:41:46.660" v="7402"/>
        <pc:sldMkLst>
          <pc:docMk/>
          <pc:sldMk cId="1659765471" sldId="260"/>
        </pc:sldMkLst>
        <pc:spChg chg="mod">
          <ac:chgData name="Victor Sucasas" userId="5e9b3a00-e16d-44aa-9a74-a37ad9fec3fb" providerId="ADAL" clId="{D22957E8-4011-5845-8860-D2C9AB41C321}" dt="2026-06-08T08:15:57.675" v="5431" actId="14100"/>
          <ac:spMkLst>
            <pc:docMk/>
            <pc:sldMk cId="1659765471" sldId="260"/>
            <ac:spMk id="2" creationId="{44C3CF8A-D394-7B6B-7B98-B9C2421AD235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28" creationId="{134E7650-7BA7-72ED-42FD-5A4DE7159AA4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33" creationId="{584938EB-F69E-6EDD-A4A3-25CEFFE0B637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35" creationId="{C0D61408-96AE-DA0C-361F-EFCDC92DEEF6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38" creationId="{75BF0922-5E0F-6881-3C04-AE04D89E3AED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42" creationId="{B3AACD45-3884-7B8E-0F29-99CF021EF6B7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46" creationId="{BD82F44B-4A19-A410-9A6E-39444316CF9D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50" creationId="{22F54F73-616F-87AF-B0FF-3F678180A7D0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60" creationId="{97BCAB99-9873-BFCE-2A76-C5203821D81F}"/>
          </ac:spMkLst>
        </pc:spChg>
        <pc:spChg chg="add mod">
          <ac:chgData name="Victor Sucasas" userId="5e9b3a00-e16d-44aa-9a74-a37ad9fec3fb" providerId="ADAL" clId="{D22957E8-4011-5845-8860-D2C9AB41C321}" dt="2026-06-08T08:59:38.019" v="5447" actId="1076"/>
          <ac:spMkLst>
            <pc:docMk/>
            <pc:sldMk cId="1659765471" sldId="260"/>
            <ac:spMk id="161" creationId="{FBB3CE87-30E8-162D-39B1-BB9BD1F923DA}"/>
          </ac:spMkLst>
        </pc:spChg>
        <pc:spChg chg="mod">
          <ac:chgData name="Victor Sucasas" userId="5e9b3a00-e16d-44aa-9a74-a37ad9fec3fb" providerId="ADAL" clId="{D22957E8-4011-5845-8860-D2C9AB41C321}" dt="2026-06-08T10:24:41.254" v="7184" actId="1076"/>
          <ac:spMkLst>
            <pc:docMk/>
            <pc:sldMk cId="1659765471" sldId="260"/>
            <ac:spMk id="164" creationId="{456EF3D9-0F40-9AFF-EE43-899A7346533F}"/>
          </ac:spMkLst>
        </pc:spChg>
        <pc:spChg chg="mod">
          <ac:chgData name="Victor Sucasas" userId="5e9b3a00-e16d-44aa-9a74-a37ad9fec3fb" providerId="ADAL" clId="{D22957E8-4011-5845-8860-D2C9AB41C321}" dt="2026-06-08T10:24:41.254" v="7184" actId="1076"/>
          <ac:spMkLst>
            <pc:docMk/>
            <pc:sldMk cId="1659765471" sldId="260"/>
            <ac:spMk id="165" creationId="{1812BACE-8807-DB7A-6384-D874142FD009}"/>
          </ac:spMkLst>
        </pc:spChg>
        <pc:spChg chg="add mod">
          <ac:chgData name="Victor Sucasas" userId="5e9b3a00-e16d-44aa-9a74-a37ad9fec3fb" providerId="ADAL" clId="{D22957E8-4011-5845-8860-D2C9AB41C321}" dt="2026-06-08T10:07:18.613" v="6900" actId="1076"/>
          <ac:spMkLst>
            <pc:docMk/>
            <pc:sldMk cId="1659765471" sldId="260"/>
            <ac:spMk id="168" creationId="{F8D404B2-7F82-BF15-E834-2D89C2237498}"/>
          </ac:spMkLst>
        </pc:spChg>
        <pc:spChg chg="add mod">
          <ac:chgData name="Victor Sucasas" userId="5e9b3a00-e16d-44aa-9a74-a37ad9fec3fb" providerId="ADAL" clId="{D22957E8-4011-5845-8860-D2C9AB41C321}" dt="2026-06-08T10:22:32.556" v="7069" actId="14100"/>
          <ac:spMkLst>
            <pc:docMk/>
            <pc:sldMk cId="1659765471" sldId="260"/>
            <ac:spMk id="190" creationId="{29CAE18F-7695-0C69-F7CC-6CA8C0166BDF}"/>
          </ac:spMkLst>
        </pc:spChg>
        <pc:spChg chg="add mod">
          <ac:chgData name="Victor Sucasas" userId="5e9b3a00-e16d-44aa-9a74-a37ad9fec3fb" providerId="ADAL" clId="{D22957E8-4011-5845-8860-D2C9AB41C321}" dt="2026-06-08T10:24:14.456" v="7182" actId="20577"/>
          <ac:spMkLst>
            <pc:docMk/>
            <pc:sldMk cId="1659765471" sldId="260"/>
            <ac:spMk id="191" creationId="{FA7AB9BA-1AA2-D3E8-2F2D-6F9A7AD3614F}"/>
          </ac:spMkLst>
        </pc:spChg>
        <pc:picChg chg="add mod">
          <ac:chgData name="Victor Sucasas" userId="5e9b3a00-e16d-44aa-9a74-a37ad9fec3fb" providerId="ADAL" clId="{D22957E8-4011-5845-8860-D2C9AB41C321}" dt="2026-06-08T10:18:10.405" v="7028" actId="1076"/>
          <ac:picMkLst>
            <pc:docMk/>
            <pc:sldMk cId="1659765471" sldId="260"/>
            <ac:picMk id="170" creationId="{53F21208-82D7-67FE-8CF8-E05099F13397}"/>
          </ac:picMkLst>
        </pc:picChg>
        <pc:picChg chg="add mod">
          <ac:chgData name="Victor Sucasas" userId="5e9b3a00-e16d-44aa-9a74-a37ad9fec3fb" providerId="ADAL" clId="{D22957E8-4011-5845-8860-D2C9AB41C321}" dt="2026-06-08T10:18:05.559" v="7027" actId="1076"/>
          <ac:picMkLst>
            <pc:docMk/>
            <pc:sldMk cId="1659765471" sldId="260"/>
            <ac:picMk id="173" creationId="{B5EA4E59-2D95-191A-3B7A-E368279E5049}"/>
          </ac:picMkLst>
        </pc:picChg>
        <pc:picChg chg="add mod">
          <ac:chgData name="Victor Sucasas" userId="5e9b3a00-e16d-44aa-9a74-a37ad9fec3fb" providerId="ADAL" clId="{D22957E8-4011-5845-8860-D2C9AB41C321}" dt="2026-06-08T10:18:14.712" v="7029" actId="1076"/>
          <ac:picMkLst>
            <pc:docMk/>
            <pc:sldMk cId="1659765471" sldId="260"/>
            <ac:picMk id="175" creationId="{C00D0A74-4D40-1B36-FC95-D0795A0819DA}"/>
          </ac:picMkLst>
        </pc:picChg>
        <pc:picChg chg="add mod">
          <ac:chgData name="Victor Sucasas" userId="5e9b3a00-e16d-44aa-9a74-a37ad9fec3fb" providerId="ADAL" clId="{D22957E8-4011-5845-8860-D2C9AB41C321}" dt="2026-06-08T10:19:32.768" v="7049" actId="1076"/>
          <ac:picMkLst>
            <pc:docMk/>
            <pc:sldMk cId="1659765471" sldId="260"/>
            <ac:picMk id="177" creationId="{B8D08439-FA6C-0B29-6301-81C3F4235A4B}"/>
          </ac:picMkLst>
        </pc:picChg>
        <pc:picChg chg="add mod">
          <ac:chgData name="Victor Sucasas" userId="5e9b3a00-e16d-44aa-9a74-a37ad9fec3fb" providerId="ADAL" clId="{D22957E8-4011-5845-8860-D2C9AB41C321}" dt="2026-06-08T10:19:30.327" v="7048" actId="1076"/>
          <ac:picMkLst>
            <pc:docMk/>
            <pc:sldMk cId="1659765471" sldId="260"/>
            <ac:picMk id="185" creationId="{78291540-63AE-CB82-6DE2-431E409409FC}"/>
          </ac:picMkLst>
        </pc:picChg>
        <pc:picChg chg="add mod">
          <ac:chgData name="Victor Sucasas" userId="5e9b3a00-e16d-44aa-9a74-a37ad9fec3fb" providerId="ADAL" clId="{D22957E8-4011-5845-8860-D2C9AB41C321}" dt="2026-06-08T10:19:27.919" v="7047" actId="1076"/>
          <ac:picMkLst>
            <pc:docMk/>
            <pc:sldMk cId="1659765471" sldId="260"/>
            <ac:picMk id="186" creationId="{51D4DB89-179C-F884-A224-070830C65B6A}"/>
          </ac:picMkLst>
        </pc:picChg>
        <pc:picChg chg="add mod">
          <ac:chgData name="Victor Sucasas" userId="5e9b3a00-e16d-44aa-9a74-a37ad9fec3fb" providerId="ADAL" clId="{D22957E8-4011-5845-8860-D2C9AB41C321}" dt="2026-06-08T10:38:16.877" v="7313" actId="1076"/>
          <ac:picMkLst>
            <pc:docMk/>
            <pc:sldMk cId="1659765471" sldId="260"/>
            <ac:picMk id="193" creationId="{81ACE0E2-9865-2D7C-7E5B-D40C2A51F338}"/>
          </ac:picMkLst>
        </pc:picChg>
        <pc:picChg chg="add mod">
          <ac:chgData name="Victor Sucasas" userId="5e9b3a00-e16d-44aa-9a74-a37ad9fec3fb" providerId="ADAL" clId="{D22957E8-4011-5845-8860-D2C9AB41C321}" dt="2026-06-08T10:38:24.795" v="7317" actId="1076"/>
          <ac:picMkLst>
            <pc:docMk/>
            <pc:sldMk cId="1659765471" sldId="260"/>
            <ac:picMk id="194" creationId="{0115C345-ABE9-975A-E908-BF3602F00CB5}"/>
          </ac:picMkLst>
        </pc:picChg>
        <pc:picChg chg="add mod">
          <ac:chgData name="Victor Sucasas" userId="5e9b3a00-e16d-44aa-9a74-a37ad9fec3fb" providerId="ADAL" clId="{D22957E8-4011-5845-8860-D2C9AB41C321}" dt="2026-06-08T10:38:27.251" v="7318" actId="1076"/>
          <ac:picMkLst>
            <pc:docMk/>
            <pc:sldMk cId="1659765471" sldId="260"/>
            <ac:picMk id="195" creationId="{FAD5FBBB-E6AE-1704-3550-722BB22D131A}"/>
          </ac:picMkLst>
        </pc:picChg>
        <pc:picChg chg="add mod">
          <ac:chgData name="Victor Sucasas" userId="5e9b3a00-e16d-44aa-9a74-a37ad9fec3fb" providerId="ADAL" clId="{D22957E8-4011-5845-8860-D2C9AB41C321}" dt="2026-06-08T10:40:06.787" v="7353" actId="1076"/>
          <ac:picMkLst>
            <pc:docMk/>
            <pc:sldMk cId="1659765471" sldId="260"/>
            <ac:picMk id="197" creationId="{5EE54575-7E94-1C30-5164-60795F69C463}"/>
          </ac:picMkLst>
        </pc:picChg>
        <pc:picChg chg="add mod">
          <ac:chgData name="Victor Sucasas" userId="5e9b3a00-e16d-44aa-9a74-a37ad9fec3fb" providerId="ADAL" clId="{D22957E8-4011-5845-8860-D2C9AB41C321}" dt="2026-06-08T10:40:09.532" v="7355" actId="1076"/>
          <ac:picMkLst>
            <pc:docMk/>
            <pc:sldMk cId="1659765471" sldId="260"/>
            <ac:picMk id="198" creationId="{AEC7C27E-EF83-D4A9-1E51-2A382BF15CE0}"/>
          </ac:picMkLst>
        </pc:picChg>
        <pc:picChg chg="add mod">
          <ac:chgData name="Victor Sucasas" userId="5e9b3a00-e16d-44aa-9a74-a37ad9fec3fb" providerId="ADAL" clId="{D22957E8-4011-5845-8860-D2C9AB41C321}" dt="2026-06-08T10:40:57.198" v="7383" actId="1076"/>
          <ac:picMkLst>
            <pc:docMk/>
            <pc:sldMk cId="1659765471" sldId="260"/>
            <ac:picMk id="199" creationId="{84150AFD-D4A0-A243-E839-B75729663E3D}"/>
          </ac:picMkLst>
        </pc:picChg>
        <pc:picChg chg="add mod">
          <ac:chgData name="Victor Sucasas" userId="5e9b3a00-e16d-44aa-9a74-a37ad9fec3fb" providerId="ADAL" clId="{D22957E8-4011-5845-8860-D2C9AB41C321}" dt="2026-06-08T10:41:00.928" v="7385" actId="1076"/>
          <ac:picMkLst>
            <pc:docMk/>
            <pc:sldMk cId="1659765471" sldId="260"/>
            <ac:picMk id="200" creationId="{C482EA07-D48A-AB55-2196-C13A538DFD57}"/>
          </ac:picMkLst>
        </pc:picChg>
        <pc:picChg chg="add mod">
          <ac:chgData name="Victor Sucasas" userId="5e9b3a00-e16d-44aa-9a74-a37ad9fec3fb" providerId="ADAL" clId="{D22957E8-4011-5845-8860-D2C9AB41C321}" dt="2026-06-08T10:41:03.710" v="7387" actId="1076"/>
          <ac:picMkLst>
            <pc:docMk/>
            <pc:sldMk cId="1659765471" sldId="260"/>
            <ac:picMk id="201" creationId="{C0DCDF18-DE03-CC7E-F150-16A3B5532736}"/>
          </ac:picMkLst>
        </pc:picChg>
        <pc:cxnChg chg="add mod">
          <ac:chgData name="Victor Sucasas" userId="5e9b3a00-e16d-44aa-9a74-a37ad9fec3fb" providerId="ADAL" clId="{D22957E8-4011-5845-8860-D2C9AB41C321}" dt="2026-06-08T10:18:36.980" v="7035" actId="14100"/>
          <ac:cxnSpMkLst>
            <pc:docMk/>
            <pc:sldMk cId="1659765471" sldId="260"/>
            <ac:cxnSpMk id="176" creationId="{B9B42276-0104-8AE3-07B9-77F52EDB4004}"/>
          </ac:cxnSpMkLst>
        </pc:cxnChg>
        <pc:cxnChg chg="add mod">
          <ac:chgData name="Victor Sucasas" userId="5e9b3a00-e16d-44aa-9a74-a37ad9fec3fb" providerId="ADAL" clId="{D22957E8-4011-5845-8860-D2C9AB41C321}" dt="2026-06-08T10:18:05.559" v="7027" actId="1076"/>
          <ac:cxnSpMkLst>
            <pc:docMk/>
            <pc:sldMk cId="1659765471" sldId="260"/>
            <ac:cxnSpMk id="178" creationId="{2C7BF56D-1877-57B8-54D9-A0B01DA4353B}"/>
          </ac:cxnSpMkLst>
        </pc:cxnChg>
        <pc:cxnChg chg="add mod">
          <ac:chgData name="Victor Sucasas" userId="5e9b3a00-e16d-44aa-9a74-a37ad9fec3fb" providerId="ADAL" clId="{D22957E8-4011-5845-8860-D2C9AB41C321}" dt="2026-06-08T10:18:05.559" v="7027" actId="1076"/>
          <ac:cxnSpMkLst>
            <pc:docMk/>
            <pc:sldMk cId="1659765471" sldId="260"/>
            <ac:cxnSpMk id="179" creationId="{7053F1E0-6066-D917-C951-5FBC2B78CFAF}"/>
          </ac:cxnSpMkLst>
        </pc:cxnChg>
        <pc:cxnChg chg="add mod">
          <ac:chgData name="Victor Sucasas" userId="5e9b3a00-e16d-44aa-9a74-a37ad9fec3fb" providerId="ADAL" clId="{D22957E8-4011-5845-8860-D2C9AB41C321}" dt="2026-06-08T10:18:05.559" v="7027" actId="1076"/>
          <ac:cxnSpMkLst>
            <pc:docMk/>
            <pc:sldMk cId="1659765471" sldId="260"/>
            <ac:cxnSpMk id="180" creationId="{252597B4-35D5-6F79-21B9-756582919E27}"/>
          </ac:cxnSpMkLst>
        </pc:cxnChg>
        <pc:cxnChg chg="add mod">
          <ac:chgData name="Victor Sucasas" userId="5e9b3a00-e16d-44aa-9a74-a37ad9fec3fb" providerId="ADAL" clId="{D22957E8-4011-5845-8860-D2C9AB41C321}" dt="2026-06-08T10:18:05.559" v="7027" actId="1076"/>
          <ac:cxnSpMkLst>
            <pc:docMk/>
            <pc:sldMk cId="1659765471" sldId="260"/>
            <ac:cxnSpMk id="181" creationId="{9CF300D7-6455-CAC6-0D0A-D8121F2094F0}"/>
          </ac:cxnSpMkLst>
        </pc:cxnChg>
        <pc:cxnChg chg="add mod">
          <ac:chgData name="Victor Sucasas" userId="5e9b3a00-e16d-44aa-9a74-a37ad9fec3fb" providerId="ADAL" clId="{D22957E8-4011-5845-8860-D2C9AB41C321}" dt="2026-06-08T10:18:05.559" v="7027" actId="1076"/>
          <ac:cxnSpMkLst>
            <pc:docMk/>
            <pc:sldMk cId="1659765471" sldId="260"/>
            <ac:cxnSpMk id="182" creationId="{EE3DD925-EDD5-FE3D-AE04-D07F5279275F}"/>
          </ac:cxnSpMkLst>
        </pc:cxnChg>
        <pc:cxnChg chg="add mod">
          <ac:chgData name="Victor Sucasas" userId="5e9b3a00-e16d-44aa-9a74-a37ad9fec3fb" providerId="ADAL" clId="{D22957E8-4011-5845-8860-D2C9AB41C321}" dt="2026-06-08T10:18:05.559" v="7027" actId="1076"/>
          <ac:cxnSpMkLst>
            <pc:docMk/>
            <pc:sldMk cId="1659765471" sldId="260"/>
            <ac:cxnSpMk id="184" creationId="{6A66F6C3-286C-FD18-9729-6CD58B499F57}"/>
          </ac:cxnSpMkLst>
        </pc:cxnChg>
        <pc:cxnChg chg="add mod">
          <ac:chgData name="Victor Sucasas" userId="5e9b3a00-e16d-44aa-9a74-a37ad9fec3fb" providerId="ADAL" clId="{D22957E8-4011-5845-8860-D2C9AB41C321}" dt="2026-06-08T10:18:43.898" v="7038" actId="1076"/>
          <ac:cxnSpMkLst>
            <pc:docMk/>
            <pc:sldMk cId="1659765471" sldId="260"/>
            <ac:cxnSpMk id="188" creationId="{009762CC-6F1F-5854-420B-05DB27F745F2}"/>
          </ac:cxnSpMkLst>
        </pc:cxnChg>
        <pc:cxnChg chg="add mod">
          <ac:chgData name="Victor Sucasas" userId="5e9b3a00-e16d-44aa-9a74-a37ad9fec3fb" providerId="ADAL" clId="{D22957E8-4011-5845-8860-D2C9AB41C321}" dt="2026-06-08T10:18:44.225" v="7039"/>
          <ac:cxnSpMkLst>
            <pc:docMk/>
            <pc:sldMk cId="1659765471" sldId="260"/>
            <ac:cxnSpMk id="189" creationId="{402C4003-AC7D-123E-55E7-77A20187AE8B}"/>
          </ac:cxnSpMkLst>
        </pc:cxnChg>
      </pc:sldChg>
      <pc:sldChg chg="addSp delSp modSp add mod modAnim">
        <pc:chgData name="Victor Sucasas" userId="5e9b3a00-e16d-44aa-9a74-a37ad9fec3fb" providerId="ADAL" clId="{D22957E8-4011-5845-8860-D2C9AB41C321}" dt="2026-06-09T07:41:06.051" v="7710" actId="14100"/>
        <pc:sldMkLst>
          <pc:docMk/>
          <pc:sldMk cId="118269092" sldId="261"/>
        </pc:sldMkLst>
        <pc:spChg chg="add mod">
          <ac:chgData name="Victor Sucasas" userId="5e9b3a00-e16d-44aa-9a74-a37ad9fec3fb" providerId="ADAL" clId="{D22957E8-4011-5845-8860-D2C9AB41C321}" dt="2026-06-08T06:49:03.433" v="4332" actId="1076"/>
          <ac:spMkLst>
            <pc:docMk/>
            <pc:sldMk cId="118269092" sldId="261"/>
            <ac:spMk id="12" creationId="{9543F683-5455-A3BA-0E4B-B887CB3D7F87}"/>
          </ac:spMkLst>
        </pc:spChg>
        <pc:spChg chg="add mod">
          <ac:chgData name="Victor Sucasas" userId="5e9b3a00-e16d-44aa-9a74-a37ad9fec3fb" providerId="ADAL" clId="{D22957E8-4011-5845-8860-D2C9AB41C321}" dt="2026-06-08T06:49:21.084" v="4340" actId="20577"/>
          <ac:spMkLst>
            <pc:docMk/>
            <pc:sldMk cId="118269092" sldId="261"/>
            <ac:spMk id="13" creationId="{ED8DA4B5-3523-2B5B-0D98-83839101263F}"/>
          </ac:spMkLst>
        </pc:spChg>
        <pc:spChg chg="add mod">
          <ac:chgData name="Victor Sucasas" userId="5e9b3a00-e16d-44aa-9a74-a37ad9fec3fb" providerId="ADAL" clId="{D22957E8-4011-5845-8860-D2C9AB41C321}" dt="2026-06-08T06:50:48.874" v="4373" actId="20577"/>
          <ac:spMkLst>
            <pc:docMk/>
            <pc:sldMk cId="118269092" sldId="261"/>
            <ac:spMk id="15" creationId="{6CC9DD94-B146-1B57-667C-75030D585C46}"/>
          </ac:spMkLst>
        </pc:spChg>
        <pc:spChg chg="add mod">
          <ac:chgData name="Victor Sucasas" userId="5e9b3a00-e16d-44aa-9a74-a37ad9fec3fb" providerId="ADAL" clId="{D22957E8-4011-5845-8860-D2C9AB41C321}" dt="2026-06-08T06:51:11.093" v="4384" actId="1036"/>
          <ac:spMkLst>
            <pc:docMk/>
            <pc:sldMk cId="118269092" sldId="261"/>
            <ac:spMk id="17" creationId="{6201ECD2-C9AE-5A19-AE7A-0C14A7259078}"/>
          </ac:spMkLst>
        </pc:spChg>
        <pc:spChg chg="add mod">
          <ac:chgData name="Victor Sucasas" userId="5e9b3a00-e16d-44aa-9a74-a37ad9fec3fb" providerId="ADAL" clId="{D22957E8-4011-5845-8860-D2C9AB41C321}" dt="2026-06-08T06:51:11.093" v="4384" actId="1036"/>
          <ac:spMkLst>
            <pc:docMk/>
            <pc:sldMk cId="118269092" sldId="261"/>
            <ac:spMk id="30" creationId="{C45F212A-C420-0447-EF5F-979212543B2D}"/>
          </ac:spMkLst>
        </pc:spChg>
        <pc:spChg chg="mod">
          <ac:chgData name="Victor Sucasas" userId="5e9b3a00-e16d-44aa-9a74-a37ad9fec3fb" providerId="ADAL" clId="{D22957E8-4011-5845-8860-D2C9AB41C321}" dt="2026-06-08T06:59:40.699" v="4485" actId="20577"/>
          <ac:spMkLst>
            <pc:docMk/>
            <pc:sldMk cId="118269092" sldId="261"/>
            <ac:spMk id="37" creationId="{B938B32F-E9B3-B3B2-FCCE-7EEEF065851E}"/>
          </ac:spMkLst>
        </pc:spChg>
        <pc:spChg chg="add mod">
          <ac:chgData name="Victor Sucasas" userId="5e9b3a00-e16d-44aa-9a74-a37ad9fec3fb" providerId="ADAL" clId="{D22957E8-4011-5845-8860-D2C9AB41C321}" dt="2026-06-08T06:51:11.093" v="4384" actId="1036"/>
          <ac:spMkLst>
            <pc:docMk/>
            <pc:sldMk cId="118269092" sldId="261"/>
            <ac:spMk id="42" creationId="{90371014-1536-C21A-763E-F1BD53D35E0E}"/>
          </ac:spMkLst>
        </pc:spChg>
        <pc:spChg chg="mod">
          <ac:chgData name="Victor Sucasas" userId="5e9b3a00-e16d-44aa-9a74-a37ad9fec3fb" providerId="ADAL" clId="{D22957E8-4011-5845-8860-D2C9AB41C321}" dt="2026-06-08T10:12:13.855" v="6990" actId="20577"/>
          <ac:spMkLst>
            <pc:docMk/>
            <pc:sldMk cId="118269092" sldId="261"/>
            <ac:spMk id="62" creationId="{FE89997A-82C3-FFCD-FC45-84C29E460B0E}"/>
          </ac:spMkLst>
        </pc:spChg>
        <pc:spChg chg="mod">
          <ac:chgData name="Victor Sucasas" userId="5e9b3a00-e16d-44aa-9a74-a37ad9fec3fb" providerId="ADAL" clId="{D22957E8-4011-5845-8860-D2C9AB41C321}" dt="2026-06-08T06:51:44.661" v="4391"/>
          <ac:spMkLst>
            <pc:docMk/>
            <pc:sldMk cId="118269092" sldId="261"/>
            <ac:spMk id="69" creationId="{A8931F7B-5233-077E-41CA-E7706FC62856}"/>
          </ac:spMkLst>
        </pc:spChg>
        <pc:spChg chg="mod">
          <ac:chgData name="Victor Sucasas" userId="5e9b3a00-e16d-44aa-9a74-a37ad9fec3fb" providerId="ADAL" clId="{D22957E8-4011-5845-8860-D2C9AB41C321}" dt="2026-06-08T12:12:47.169" v="7564" actId="20577"/>
          <ac:spMkLst>
            <pc:docMk/>
            <pc:sldMk cId="118269092" sldId="261"/>
            <ac:spMk id="73" creationId="{79CF1514-E0CA-942D-29CF-14CB6EA51839}"/>
          </ac:spMkLst>
        </pc:spChg>
        <pc:spChg chg="mod">
          <ac:chgData name="Victor Sucasas" userId="5e9b3a00-e16d-44aa-9a74-a37ad9fec3fb" providerId="ADAL" clId="{D22957E8-4011-5845-8860-D2C9AB41C321}" dt="2026-06-08T06:43:43.114" v="4274" actId="688"/>
          <ac:spMkLst>
            <pc:docMk/>
            <pc:sldMk cId="118269092" sldId="261"/>
            <ac:spMk id="81" creationId="{E2E8CB2B-7063-35DE-8CD3-FC0256C3ED2E}"/>
          </ac:spMkLst>
        </pc:spChg>
        <pc:spChg chg="mod">
          <ac:chgData name="Victor Sucasas" userId="5e9b3a00-e16d-44aa-9a74-a37ad9fec3fb" providerId="ADAL" clId="{D22957E8-4011-5845-8860-D2C9AB41C321}" dt="2026-06-08T06:51:47.076" v="4393"/>
          <ac:spMkLst>
            <pc:docMk/>
            <pc:sldMk cId="118269092" sldId="261"/>
            <ac:spMk id="82" creationId="{19E75F18-C7B6-0FB1-4F0C-35A883FE54F2}"/>
          </ac:spMkLst>
        </pc:spChg>
        <pc:spChg chg="mod">
          <ac:chgData name="Victor Sucasas" userId="5e9b3a00-e16d-44aa-9a74-a37ad9fec3fb" providerId="ADAL" clId="{D22957E8-4011-5845-8860-D2C9AB41C321}" dt="2026-06-08T06:51:48.689" v="4394"/>
          <ac:spMkLst>
            <pc:docMk/>
            <pc:sldMk cId="118269092" sldId="261"/>
            <ac:spMk id="85" creationId="{1D5B5AEC-4A25-1EAA-EC7E-C116F8D6DFF2}"/>
          </ac:spMkLst>
        </pc:spChg>
        <pc:spChg chg="mod">
          <ac:chgData name="Victor Sucasas" userId="5e9b3a00-e16d-44aa-9a74-a37ad9fec3fb" providerId="ADAL" clId="{D22957E8-4011-5845-8860-D2C9AB41C321}" dt="2026-06-08T06:51:51.485" v="4396"/>
          <ac:spMkLst>
            <pc:docMk/>
            <pc:sldMk cId="118269092" sldId="261"/>
            <ac:spMk id="89" creationId="{EA417AB9-1F0C-C56F-B7EC-5D04229BF009}"/>
          </ac:spMkLst>
        </pc:spChg>
        <pc:spChg chg="mod">
          <ac:chgData name="Victor Sucasas" userId="5e9b3a00-e16d-44aa-9a74-a37ad9fec3fb" providerId="ADAL" clId="{D22957E8-4011-5845-8860-D2C9AB41C321}" dt="2026-06-08T06:51:53.119" v="4397"/>
          <ac:spMkLst>
            <pc:docMk/>
            <pc:sldMk cId="118269092" sldId="261"/>
            <ac:spMk id="96" creationId="{46FB266A-3D0D-00CE-2003-00953AD334BB}"/>
          </ac:spMkLst>
        </pc:spChg>
        <pc:spChg chg="mod">
          <ac:chgData name="Victor Sucasas" userId="5e9b3a00-e16d-44aa-9a74-a37ad9fec3fb" providerId="ADAL" clId="{D22957E8-4011-5845-8860-D2C9AB41C321}" dt="2026-06-08T06:51:56.018" v="4399"/>
          <ac:spMkLst>
            <pc:docMk/>
            <pc:sldMk cId="118269092" sldId="261"/>
            <ac:spMk id="100" creationId="{D07CEE8F-2466-D9C1-89C6-3EC9AA8D1A87}"/>
          </ac:spMkLst>
        </pc:spChg>
        <pc:spChg chg="add mod">
          <ac:chgData name="Victor Sucasas" userId="5e9b3a00-e16d-44aa-9a74-a37ad9fec3fb" providerId="ADAL" clId="{D22957E8-4011-5845-8860-D2C9AB41C321}" dt="2026-06-08T06:57:36.951" v="4454" actId="1076"/>
          <ac:spMkLst>
            <pc:docMk/>
            <pc:sldMk cId="118269092" sldId="261"/>
            <ac:spMk id="104" creationId="{C10219DE-5047-F5BD-EB1D-C5BA4B2A6D12}"/>
          </ac:spMkLst>
        </pc:spChg>
        <pc:spChg chg="mod">
          <ac:chgData name="Victor Sucasas" userId="5e9b3a00-e16d-44aa-9a74-a37ad9fec3fb" providerId="ADAL" clId="{D22957E8-4011-5845-8860-D2C9AB41C321}" dt="2026-06-08T06:43:38.071" v="4273" actId="688"/>
          <ac:spMkLst>
            <pc:docMk/>
            <pc:sldMk cId="118269092" sldId="261"/>
            <ac:spMk id="108" creationId="{00996DC0-408F-574C-AB39-5AD3B28411DF}"/>
          </ac:spMkLst>
        </pc:spChg>
        <pc:spChg chg="mod">
          <ac:chgData name="Victor Sucasas" userId="5e9b3a00-e16d-44aa-9a74-a37ad9fec3fb" providerId="ADAL" clId="{D22957E8-4011-5845-8860-D2C9AB41C321}" dt="2026-06-08T06:43:34.690" v="4272" actId="688"/>
          <ac:spMkLst>
            <pc:docMk/>
            <pc:sldMk cId="118269092" sldId="261"/>
            <ac:spMk id="112" creationId="{23E1B628-B642-4136-7C5D-99BC933E22D6}"/>
          </ac:spMkLst>
        </pc:spChg>
        <pc:spChg chg="add mod">
          <ac:chgData name="Victor Sucasas" userId="5e9b3a00-e16d-44aa-9a74-a37ad9fec3fb" providerId="ADAL" clId="{D22957E8-4011-5845-8860-D2C9AB41C321}" dt="2026-06-08T07:02:37.583" v="4531" actId="207"/>
          <ac:spMkLst>
            <pc:docMk/>
            <pc:sldMk cId="118269092" sldId="261"/>
            <ac:spMk id="142" creationId="{3A35F88E-ABDF-C2FB-5153-1737AB7F351F}"/>
          </ac:spMkLst>
        </pc:spChg>
        <pc:grpChg chg="add">
          <ac:chgData name="Victor Sucasas" userId="5e9b3a00-e16d-44aa-9a74-a37ad9fec3fb" providerId="ADAL" clId="{D22957E8-4011-5845-8860-D2C9AB41C321}" dt="2026-06-08T06:51:18.109" v="4385" actId="164"/>
          <ac:grpSpMkLst>
            <pc:docMk/>
            <pc:sldMk cId="118269092" sldId="261"/>
            <ac:grpSpMk id="52" creationId="{0753121E-21C6-6D35-2330-BDC7B102B24F}"/>
          </ac:grpSpMkLst>
        </pc:grpChg>
        <pc:grpChg chg="add">
          <ac:chgData name="Victor Sucasas" userId="5e9b3a00-e16d-44aa-9a74-a37ad9fec3fb" providerId="ADAL" clId="{D22957E8-4011-5845-8860-D2C9AB41C321}" dt="2026-06-08T06:51:37.409" v="4389" actId="164"/>
          <ac:grpSpMkLst>
            <pc:docMk/>
            <pc:sldMk cId="118269092" sldId="261"/>
            <ac:grpSpMk id="53" creationId="{C558307C-B33D-D6B4-9DEA-E5BD525AECF6}"/>
          </ac:grpSpMkLst>
        </pc:grpChg>
        <pc:grpChg chg="add">
          <ac:chgData name="Victor Sucasas" userId="5e9b3a00-e16d-44aa-9a74-a37ad9fec3fb" providerId="ADAL" clId="{D22957E8-4011-5845-8860-D2C9AB41C321}" dt="2026-06-08T06:51:42.592" v="4390" actId="164"/>
          <ac:grpSpMkLst>
            <pc:docMk/>
            <pc:sldMk cId="118269092" sldId="261"/>
            <ac:grpSpMk id="54" creationId="{A035703B-B9E6-06DE-9BCF-A90C0742BFE0}"/>
          </ac:grpSpMkLst>
        </pc:grpChg>
        <pc:grpChg chg="add mod">
          <ac:chgData name="Victor Sucasas" userId="5e9b3a00-e16d-44aa-9a74-a37ad9fec3fb" providerId="ADAL" clId="{D22957E8-4011-5845-8860-D2C9AB41C321}" dt="2026-06-08T06:51:46.608" v="4392" actId="1076"/>
          <ac:grpSpMkLst>
            <pc:docMk/>
            <pc:sldMk cId="118269092" sldId="261"/>
            <ac:grpSpMk id="55" creationId="{3785D770-3910-3814-4245-7DC96055B7B4}"/>
          </ac:grpSpMkLst>
        </pc:grpChg>
        <pc:grpChg chg="add mod">
          <ac:chgData name="Victor Sucasas" userId="5e9b3a00-e16d-44aa-9a74-a37ad9fec3fb" providerId="ADAL" clId="{D22957E8-4011-5845-8860-D2C9AB41C321}" dt="2026-06-08T06:51:47.076" v="4393"/>
          <ac:grpSpMkLst>
            <pc:docMk/>
            <pc:sldMk cId="118269092" sldId="261"/>
            <ac:grpSpMk id="72" creationId="{57D1539B-A167-759E-F4E8-838A41880451}"/>
          </ac:grpSpMkLst>
        </pc:grpChg>
        <pc:grpChg chg="add mod">
          <ac:chgData name="Victor Sucasas" userId="5e9b3a00-e16d-44aa-9a74-a37ad9fec3fb" providerId="ADAL" clId="{D22957E8-4011-5845-8860-D2C9AB41C321}" dt="2026-06-08T06:51:51.200" v="4395" actId="1076"/>
          <ac:grpSpMkLst>
            <pc:docMk/>
            <pc:sldMk cId="118269092" sldId="261"/>
            <ac:grpSpMk id="83" creationId="{0321546D-2A4A-0E15-77D4-6D404D8D96B8}"/>
          </ac:grpSpMkLst>
        </pc:grpChg>
        <pc:grpChg chg="add mod">
          <ac:chgData name="Victor Sucasas" userId="5e9b3a00-e16d-44aa-9a74-a37ad9fec3fb" providerId="ADAL" clId="{D22957E8-4011-5845-8860-D2C9AB41C321}" dt="2026-06-08T06:51:51.485" v="4396"/>
          <ac:grpSpMkLst>
            <pc:docMk/>
            <pc:sldMk cId="118269092" sldId="261"/>
            <ac:grpSpMk id="87" creationId="{846AF465-0271-7870-19F1-491A1610F5F8}"/>
          </ac:grpSpMkLst>
        </pc:grpChg>
        <pc:grpChg chg="add mod">
          <ac:chgData name="Victor Sucasas" userId="5e9b3a00-e16d-44aa-9a74-a37ad9fec3fb" providerId="ADAL" clId="{D22957E8-4011-5845-8860-D2C9AB41C321}" dt="2026-06-08T06:51:55.718" v="4398" actId="1076"/>
          <ac:grpSpMkLst>
            <pc:docMk/>
            <pc:sldMk cId="118269092" sldId="261"/>
            <ac:grpSpMk id="90" creationId="{AAE65C5D-4E2F-43F7-A0F9-56D030DB4293}"/>
          </ac:grpSpMkLst>
        </pc:grpChg>
        <pc:grpChg chg="add mod">
          <ac:chgData name="Victor Sucasas" userId="5e9b3a00-e16d-44aa-9a74-a37ad9fec3fb" providerId="ADAL" clId="{D22957E8-4011-5845-8860-D2C9AB41C321}" dt="2026-06-08T06:51:56.018" v="4399"/>
          <ac:grpSpMkLst>
            <pc:docMk/>
            <pc:sldMk cId="118269092" sldId="261"/>
            <ac:grpSpMk id="98" creationId="{29A197FE-0ABE-E240-D3D2-5352CAA0B276}"/>
          </ac:grpSpMkLst>
        </pc:grpChg>
        <pc:picChg chg="add mod">
          <ac:chgData name="Victor Sucasas" userId="5e9b3a00-e16d-44aa-9a74-a37ad9fec3fb" providerId="ADAL" clId="{D22957E8-4011-5845-8860-D2C9AB41C321}" dt="2026-06-08T06:49:43.635" v="4343" actId="1076"/>
          <ac:picMkLst>
            <pc:docMk/>
            <pc:sldMk cId="118269092" sldId="261"/>
            <ac:picMk id="16" creationId="{E6D941BF-66FF-0C61-4FF9-F9E339E98E13}"/>
          </ac:picMkLst>
        </pc:picChg>
        <pc:picChg chg="add mod">
          <ac:chgData name="Victor Sucasas" userId="5e9b3a00-e16d-44aa-9a74-a37ad9fec3fb" providerId="ADAL" clId="{D22957E8-4011-5845-8860-D2C9AB41C321}" dt="2026-06-08T06:50:41.937" v="4368" actId="1076"/>
          <ac:picMkLst>
            <pc:docMk/>
            <pc:sldMk cId="118269092" sldId="261"/>
            <ac:picMk id="29" creationId="{3CF7AD9D-E196-9141-B60C-9914DD4F8AE3}"/>
          </ac:picMkLst>
        </pc:picChg>
        <pc:picChg chg="add mod">
          <ac:chgData name="Victor Sucasas" userId="5e9b3a00-e16d-44aa-9a74-a37ad9fec3fb" providerId="ADAL" clId="{D22957E8-4011-5845-8860-D2C9AB41C321}" dt="2026-06-08T06:50:53.415" v="4375" actId="1076"/>
          <ac:picMkLst>
            <pc:docMk/>
            <pc:sldMk cId="118269092" sldId="261"/>
            <ac:picMk id="39" creationId="{CD011DE1-76B3-EDA5-9C49-9A2367FAC2C2}"/>
          </ac:picMkLst>
        </pc:picChg>
        <pc:picChg chg="mod">
          <ac:chgData name="Victor Sucasas" userId="5e9b3a00-e16d-44aa-9a74-a37ad9fec3fb" providerId="ADAL" clId="{D22957E8-4011-5845-8860-D2C9AB41C321}" dt="2026-06-08T06:51:44.661" v="4391"/>
          <ac:picMkLst>
            <pc:docMk/>
            <pc:sldMk cId="118269092" sldId="261"/>
            <ac:picMk id="67" creationId="{2233B6B8-CCDC-F738-9C14-71C18AFC06F6}"/>
          </ac:picMkLst>
        </pc:picChg>
        <pc:picChg chg="mod">
          <ac:chgData name="Victor Sucasas" userId="5e9b3a00-e16d-44aa-9a74-a37ad9fec3fb" providerId="ADAL" clId="{D22957E8-4011-5845-8860-D2C9AB41C321}" dt="2026-06-08T06:51:47.076" v="4393"/>
          <ac:picMkLst>
            <pc:docMk/>
            <pc:sldMk cId="118269092" sldId="261"/>
            <ac:picMk id="75" creationId="{86359041-DF8B-4502-41F8-5B0CA33B4E7D}"/>
          </ac:picMkLst>
        </pc:picChg>
        <pc:picChg chg="mod">
          <ac:chgData name="Victor Sucasas" userId="5e9b3a00-e16d-44aa-9a74-a37ad9fec3fb" providerId="ADAL" clId="{D22957E8-4011-5845-8860-D2C9AB41C321}" dt="2026-06-08T06:51:48.689" v="4394"/>
          <ac:picMkLst>
            <pc:docMk/>
            <pc:sldMk cId="118269092" sldId="261"/>
            <ac:picMk id="84" creationId="{AB29AB13-DED7-DD19-CF35-C700B1E4DF35}"/>
          </ac:picMkLst>
        </pc:picChg>
        <pc:picChg chg="mod">
          <ac:chgData name="Victor Sucasas" userId="5e9b3a00-e16d-44aa-9a74-a37ad9fec3fb" providerId="ADAL" clId="{D22957E8-4011-5845-8860-D2C9AB41C321}" dt="2026-06-08T06:51:51.485" v="4396"/>
          <ac:picMkLst>
            <pc:docMk/>
            <pc:sldMk cId="118269092" sldId="261"/>
            <ac:picMk id="88" creationId="{905F24E6-461F-8F13-1EAA-739ACD8FD822}"/>
          </ac:picMkLst>
        </pc:picChg>
        <pc:picChg chg="mod">
          <ac:chgData name="Victor Sucasas" userId="5e9b3a00-e16d-44aa-9a74-a37ad9fec3fb" providerId="ADAL" clId="{D22957E8-4011-5845-8860-D2C9AB41C321}" dt="2026-06-08T06:51:53.119" v="4397"/>
          <ac:picMkLst>
            <pc:docMk/>
            <pc:sldMk cId="118269092" sldId="261"/>
            <ac:picMk id="91" creationId="{92E37E9A-1457-CE8E-44C3-AE8F6F5EB444}"/>
          </ac:picMkLst>
        </pc:picChg>
        <pc:picChg chg="mod">
          <ac:chgData name="Victor Sucasas" userId="5e9b3a00-e16d-44aa-9a74-a37ad9fec3fb" providerId="ADAL" clId="{D22957E8-4011-5845-8860-D2C9AB41C321}" dt="2026-06-08T06:51:56.018" v="4399"/>
          <ac:picMkLst>
            <pc:docMk/>
            <pc:sldMk cId="118269092" sldId="261"/>
            <ac:picMk id="99" creationId="{E1EE04D7-7866-7832-C654-FDC0EF24B409}"/>
          </ac:picMkLst>
        </pc:picChg>
        <pc:picChg chg="add mod">
          <ac:chgData name="Victor Sucasas" userId="5e9b3a00-e16d-44aa-9a74-a37ad9fec3fb" providerId="ADAL" clId="{D22957E8-4011-5845-8860-D2C9AB41C321}" dt="2026-06-08T06:58:38.624" v="4466" actId="1076"/>
          <ac:picMkLst>
            <pc:docMk/>
            <pc:sldMk cId="118269092" sldId="261"/>
            <ac:picMk id="115" creationId="{088A94CD-39FE-CBD4-4E3C-662F9095B365}"/>
          </ac:picMkLst>
        </pc:picChg>
        <pc:picChg chg="add mod">
          <ac:chgData name="Victor Sucasas" userId="5e9b3a00-e16d-44aa-9a74-a37ad9fec3fb" providerId="ADAL" clId="{D22957E8-4011-5845-8860-D2C9AB41C321}" dt="2026-06-08T06:58:41.601" v="4468" actId="1076"/>
          <ac:picMkLst>
            <pc:docMk/>
            <pc:sldMk cId="118269092" sldId="261"/>
            <ac:picMk id="116" creationId="{60CA33A5-D592-1063-DCEB-661D4207D7B6}"/>
          </ac:picMkLst>
        </pc:picChg>
        <pc:picChg chg="add mod">
          <ac:chgData name="Victor Sucasas" userId="5e9b3a00-e16d-44aa-9a74-a37ad9fec3fb" providerId="ADAL" clId="{D22957E8-4011-5845-8860-D2C9AB41C321}" dt="2026-06-08T06:58:44.533" v="4470" actId="1076"/>
          <ac:picMkLst>
            <pc:docMk/>
            <pc:sldMk cId="118269092" sldId="261"/>
            <ac:picMk id="118" creationId="{90BD4CF8-D11F-8E97-8178-6AE837889FD3}"/>
          </ac:picMkLst>
        </pc:picChg>
        <pc:picChg chg="add mod">
          <ac:chgData name="Victor Sucasas" userId="5e9b3a00-e16d-44aa-9a74-a37ad9fec3fb" providerId="ADAL" clId="{D22957E8-4011-5845-8860-D2C9AB41C321}" dt="2026-06-08T07:00:19.229" v="4492" actId="1036"/>
          <ac:picMkLst>
            <pc:docMk/>
            <pc:sldMk cId="118269092" sldId="261"/>
            <ac:picMk id="119" creationId="{F3915AD0-E201-F53D-9A59-E3E72A2CD8CA}"/>
          </ac:picMkLst>
        </pc:picChg>
        <pc:picChg chg="add mod">
          <ac:chgData name="Victor Sucasas" userId="5e9b3a00-e16d-44aa-9a74-a37ad9fec3fb" providerId="ADAL" clId="{D22957E8-4011-5845-8860-D2C9AB41C321}" dt="2026-06-08T09:41:02.239" v="6207" actId="1038"/>
          <ac:picMkLst>
            <pc:docMk/>
            <pc:sldMk cId="118269092" sldId="261"/>
            <ac:picMk id="120" creationId="{25AF1770-7E4F-DB83-C874-95D4718C4A85}"/>
          </ac:picMkLst>
        </pc:picChg>
        <pc:picChg chg="add mod">
          <ac:chgData name="Victor Sucasas" userId="5e9b3a00-e16d-44aa-9a74-a37ad9fec3fb" providerId="ADAL" clId="{D22957E8-4011-5845-8860-D2C9AB41C321}" dt="2026-06-08T07:00:19.229" v="4492" actId="1036"/>
          <ac:picMkLst>
            <pc:docMk/>
            <pc:sldMk cId="118269092" sldId="261"/>
            <ac:picMk id="121" creationId="{8B3A8A80-377C-5D99-B97D-A4EBE7BFC95E}"/>
          </ac:picMkLst>
        </pc:picChg>
        <pc:picChg chg="add mod">
          <ac:chgData name="Victor Sucasas" userId="5e9b3a00-e16d-44aa-9a74-a37ad9fec3fb" providerId="ADAL" clId="{D22957E8-4011-5845-8860-D2C9AB41C321}" dt="2026-06-08T07:52:01.081" v="5003" actId="1076"/>
          <ac:picMkLst>
            <pc:docMk/>
            <pc:sldMk cId="118269092" sldId="261"/>
            <ac:picMk id="144" creationId="{8DB1EA38-7AC6-415A-0C67-BD094468C004}"/>
          </ac:picMkLst>
        </pc:picChg>
        <pc:cxnChg chg="mod">
          <ac:chgData name="Victor Sucasas" userId="5e9b3a00-e16d-44aa-9a74-a37ad9fec3fb" providerId="ADAL" clId="{D22957E8-4011-5845-8860-D2C9AB41C321}" dt="2026-06-08T07:01:02.758" v="4504" actId="14100"/>
          <ac:cxnSpMkLst>
            <pc:docMk/>
            <pc:sldMk cId="118269092" sldId="261"/>
            <ac:cxnSpMk id="14" creationId="{C42DCF4F-A849-73D4-522A-093B77F0DD03}"/>
          </ac:cxnSpMkLst>
        </pc:cxnChg>
        <pc:cxnChg chg="mod">
          <ac:chgData name="Victor Sucasas" userId="5e9b3a00-e16d-44aa-9a74-a37ad9fec3fb" providerId="ADAL" clId="{D22957E8-4011-5845-8860-D2C9AB41C321}" dt="2026-06-08T06:41:33.281" v="4239" actId="692"/>
          <ac:cxnSpMkLst>
            <pc:docMk/>
            <pc:sldMk cId="118269092" sldId="261"/>
            <ac:cxnSpMk id="38" creationId="{A7DBB788-446C-4032-FC81-093F9DDC556B}"/>
          </ac:cxnSpMkLst>
        </pc:cxnChg>
        <pc:cxnChg chg="mod">
          <ac:chgData name="Victor Sucasas" userId="5e9b3a00-e16d-44aa-9a74-a37ad9fec3fb" providerId="ADAL" clId="{D22957E8-4011-5845-8860-D2C9AB41C321}" dt="2026-06-08T06:41:33.281" v="4239" actId="692"/>
          <ac:cxnSpMkLst>
            <pc:docMk/>
            <pc:sldMk cId="118269092" sldId="261"/>
            <ac:cxnSpMk id="50" creationId="{DDD96388-2FF0-AE22-9E7E-263347A18668}"/>
          </ac:cxnSpMkLst>
        </pc:cxnChg>
        <pc:cxnChg chg="mod">
          <ac:chgData name="Victor Sucasas" userId="5e9b3a00-e16d-44aa-9a74-a37ad9fec3fb" providerId="ADAL" clId="{D22957E8-4011-5845-8860-D2C9AB41C321}" dt="2026-06-08T06:41:33.281" v="4239" actId="692"/>
          <ac:cxnSpMkLst>
            <pc:docMk/>
            <pc:sldMk cId="118269092" sldId="261"/>
            <ac:cxnSpMk id="71" creationId="{E51F6013-4CFB-2F04-75B8-9111729EB7E3}"/>
          </ac:cxnSpMkLst>
        </pc:cxnChg>
        <pc:cxnChg chg="mod">
          <ac:chgData name="Victor Sucasas" userId="5e9b3a00-e16d-44aa-9a74-a37ad9fec3fb" providerId="ADAL" clId="{D22957E8-4011-5845-8860-D2C9AB41C321}" dt="2026-06-08T06:54:18.652" v="4415" actId="14100"/>
          <ac:cxnSpMkLst>
            <pc:docMk/>
            <pc:sldMk cId="118269092" sldId="261"/>
            <ac:cxnSpMk id="86" creationId="{72CEACB7-3FCE-74FF-987E-F7D7C76547D8}"/>
          </ac:cxnSpMkLst>
        </pc:cxnChg>
        <pc:cxnChg chg="mod">
          <ac:chgData name="Victor Sucasas" userId="5e9b3a00-e16d-44aa-9a74-a37ad9fec3fb" providerId="ADAL" clId="{D22957E8-4011-5845-8860-D2C9AB41C321}" dt="2026-06-08T06:41:33.281" v="4239" actId="692"/>
          <ac:cxnSpMkLst>
            <pc:docMk/>
            <pc:sldMk cId="118269092" sldId="261"/>
            <ac:cxnSpMk id="95" creationId="{D987FF77-50D7-C06C-630D-43262C22A0F0}"/>
          </ac:cxnSpMkLst>
        </pc:cxnChg>
        <pc:cxnChg chg="mod">
          <ac:chgData name="Victor Sucasas" userId="5e9b3a00-e16d-44aa-9a74-a37ad9fec3fb" providerId="ADAL" clId="{D22957E8-4011-5845-8860-D2C9AB41C321}" dt="2026-06-08T06:41:33.281" v="4239" actId="692"/>
          <ac:cxnSpMkLst>
            <pc:docMk/>
            <pc:sldMk cId="118269092" sldId="261"/>
            <ac:cxnSpMk id="97" creationId="{0B2E0234-B30A-B73E-1067-CB5E67D057D9}"/>
          </ac:cxnSpMkLst>
        </pc:cxnChg>
        <pc:cxnChg chg="mod">
          <ac:chgData name="Victor Sucasas" userId="5e9b3a00-e16d-44aa-9a74-a37ad9fec3fb" providerId="ADAL" clId="{D22957E8-4011-5845-8860-D2C9AB41C321}" dt="2026-06-08T06:41:33.281" v="4239" actId="692"/>
          <ac:cxnSpMkLst>
            <pc:docMk/>
            <pc:sldMk cId="118269092" sldId="261"/>
            <ac:cxnSpMk id="102" creationId="{C0A94DE2-B7C4-6FFD-B1D8-831714BFD57F}"/>
          </ac:cxnSpMkLst>
        </pc:cxnChg>
        <pc:cxnChg chg="mod">
          <ac:chgData name="Victor Sucasas" userId="5e9b3a00-e16d-44aa-9a74-a37ad9fec3fb" providerId="ADAL" clId="{D22957E8-4011-5845-8860-D2C9AB41C321}" dt="2026-06-08T07:00:47.567" v="4498" actId="14100"/>
          <ac:cxnSpMkLst>
            <pc:docMk/>
            <pc:sldMk cId="118269092" sldId="261"/>
            <ac:cxnSpMk id="114" creationId="{BC66992E-A2C5-DF14-1467-08BF4BF25D9A}"/>
          </ac:cxnSpMkLst>
        </pc:cxnChg>
      </pc:sldChg>
      <pc:sldChg chg="addSp delSp modSp add mod delAnim modAnim">
        <pc:chgData name="Victor Sucasas" userId="5e9b3a00-e16d-44aa-9a74-a37ad9fec3fb" providerId="ADAL" clId="{D22957E8-4011-5845-8860-D2C9AB41C321}" dt="2026-06-08T12:13:53.041" v="7566" actId="20577"/>
        <pc:sldMkLst>
          <pc:docMk/>
          <pc:sldMk cId="2163501029" sldId="262"/>
        </pc:sldMkLst>
        <pc:spChg chg="add mod">
          <ac:chgData name="Victor Sucasas" userId="5e9b3a00-e16d-44aa-9a74-a37ad9fec3fb" providerId="ADAL" clId="{D22957E8-4011-5845-8860-D2C9AB41C321}" dt="2026-06-08T07:40:27.808" v="4866" actId="1076"/>
          <ac:spMkLst>
            <pc:docMk/>
            <pc:sldMk cId="2163501029" sldId="262"/>
            <ac:spMk id="3" creationId="{8CC4AE05-2C01-27EC-4EF8-CA8C105AA4B1}"/>
          </ac:spMkLst>
        </pc:spChg>
        <pc:spChg chg="add mod">
          <ac:chgData name="Victor Sucasas" userId="5e9b3a00-e16d-44aa-9a74-a37ad9fec3fb" providerId="ADAL" clId="{D22957E8-4011-5845-8860-D2C9AB41C321}" dt="2026-06-08T07:40:31.035" v="4869" actId="20577"/>
          <ac:spMkLst>
            <pc:docMk/>
            <pc:sldMk cId="2163501029" sldId="262"/>
            <ac:spMk id="5" creationId="{B316EF91-DF8C-BEE1-3188-D6A49B58D47A}"/>
          </ac:spMkLst>
        </pc:spChg>
        <pc:spChg chg="mod topLvl">
          <ac:chgData name="Victor Sucasas" userId="5e9b3a00-e16d-44aa-9a74-a37ad9fec3fb" providerId="ADAL" clId="{D22957E8-4011-5845-8860-D2C9AB41C321}" dt="2026-06-08T07:41:23.810" v="4883" actId="1076"/>
          <ac:spMkLst>
            <pc:docMk/>
            <pc:sldMk cId="2163501029" sldId="262"/>
            <ac:spMk id="12" creationId="{C303942D-0F84-F3BF-3B5F-65A8D56D330B}"/>
          </ac:spMkLst>
        </pc:spChg>
        <pc:spChg chg="add mod">
          <ac:chgData name="Victor Sucasas" userId="5e9b3a00-e16d-44aa-9a74-a37ad9fec3fb" providerId="ADAL" clId="{D22957E8-4011-5845-8860-D2C9AB41C321}" dt="2026-06-08T07:41:19.280" v="4880" actId="1076"/>
          <ac:spMkLst>
            <pc:docMk/>
            <pc:sldMk cId="2163501029" sldId="262"/>
            <ac:spMk id="13" creationId="{9DF8051B-C9B9-4A9B-6FEF-2C38E79AE326}"/>
          </ac:spMkLst>
        </pc:spChg>
        <pc:spChg chg="add mod">
          <ac:chgData name="Victor Sucasas" userId="5e9b3a00-e16d-44aa-9a74-a37ad9fec3fb" providerId="ADAL" clId="{D22957E8-4011-5845-8860-D2C9AB41C321}" dt="2026-06-08T07:41:29.289" v="4887" actId="1076"/>
          <ac:spMkLst>
            <pc:docMk/>
            <pc:sldMk cId="2163501029" sldId="262"/>
            <ac:spMk id="15" creationId="{BF4EE4C9-9E6D-92D2-F863-A2E4E3CB4451}"/>
          </ac:spMkLst>
        </pc:spChg>
        <pc:spChg chg="mod topLvl">
          <ac:chgData name="Victor Sucasas" userId="5e9b3a00-e16d-44aa-9a74-a37ad9fec3fb" providerId="ADAL" clId="{D22957E8-4011-5845-8860-D2C9AB41C321}" dt="2026-06-08T07:42:50.918" v="4908" actId="20577"/>
          <ac:spMkLst>
            <pc:docMk/>
            <pc:sldMk cId="2163501029" sldId="262"/>
            <ac:spMk id="21" creationId="{615D86D6-28C5-A91F-F65E-D4C85E3CFAE8}"/>
          </ac:spMkLst>
        </pc:spChg>
        <pc:spChg chg="add mod">
          <ac:chgData name="Victor Sucasas" userId="5e9b3a00-e16d-44aa-9a74-a37ad9fec3fb" providerId="ADAL" clId="{D22957E8-4011-5845-8860-D2C9AB41C321}" dt="2026-06-08T07:42:35.944" v="4901" actId="1076"/>
          <ac:spMkLst>
            <pc:docMk/>
            <pc:sldMk cId="2163501029" sldId="262"/>
            <ac:spMk id="22" creationId="{01C570FC-77E4-FD80-BEBA-096986DDEC64}"/>
          </ac:spMkLst>
        </pc:spChg>
        <pc:spChg chg="add mod">
          <ac:chgData name="Victor Sucasas" userId="5e9b3a00-e16d-44aa-9a74-a37ad9fec3fb" providerId="ADAL" clId="{D22957E8-4011-5845-8860-D2C9AB41C321}" dt="2026-06-08T07:42:43.663" v="4906" actId="20577"/>
          <ac:spMkLst>
            <pc:docMk/>
            <pc:sldMk cId="2163501029" sldId="262"/>
            <ac:spMk id="23" creationId="{929E198F-8230-79FB-F29D-2E6A482856E6}"/>
          </ac:spMkLst>
        </pc:spChg>
        <pc:spChg chg="mod">
          <ac:chgData name="Victor Sucasas" userId="5e9b3a00-e16d-44aa-9a74-a37ad9fec3fb" providerId="ADAL" clId="{D22957E8-4011-5845-8860-D2C9AB41C321}" dt="2026-06-08T12:13:53.041" v="7566" actId="20577"/>
          <ac:spMkLst>
            <pc:docMk/>
            <pc:sldMk cId="2163501029" sldId="262"/>
            <ac:spMk id="141" creationId="{11F70ABE-12D3-C22B-EA43-89039E833B6E}"/>
          </ac:spMkLst>
        </pc:spChg>
        <pc:spChg chg="mod">
          <ac:chgData name="Victor Sucasas" userId="5e9b3a00-e16d-44aa-9a74-a37ad9fec3fb" providerId="ADAL" clId="{D22957E8-4011-5845-8860-D2C9AB41C321}" dt="2026-06-08T07:40:18.607" v="4861" actId="1076"/>
          <ac:spMkLst>
            <pc:docMk/>
            <pc:sldMk cId="2163501029" sldId="262"/>
            <ac:spMk id="149" creationId="{2FF4C791-B923-4A43-EC86-5A4AC92D6712}"/>
          </ac:spMkLst>
        </pc:spChg>
        <pc:grpChg chg="add">
          <ac:chgData name="Victor Sucasas" userId="5e9b3a00-e16d-44aa-9a74-a37ad9fec3fb" providerId="ADAL" clId="{D22957E8-4011-5845-8860-D2C9AB41C321}" dt="2026-06-08T07:40:39.568" v="4870" actId="164"/>
          <ac:grpSpMkLst>
            <pc:docMk/>
            <pc:sldMk cId="2163501029" sldId="262"/>
            <ac:grpSpMk id="6" creationId="{3A6D4557-45C6-64B8-AEA5-6A81402DF84B}"/>
          </ac:grpSpMkLst>
        </pc:grpChg>
        <pc:grpChg chg="add">
          <ac:chgData name="Victor Sucasas" userId="5e9b3a00-e16d-44aa-9a74-a37ad9fec3fb" providerId="ADAL" clId="{D22957E8-4011-5845-8860-D2C9AB41C321}" dt="2026-06-08T07:40:49.340" v="4871" actId="164"/>
          <ac:grpSpMkLst>
            <pc:docMk/>
            <pc:sldMk cId="2163501029" sldId="262"/>
            <ac:grpSpMk id="7" creationId="{28629C94-0C90-5C94-C686-D45350BEA8C1}"/>
          </ac:grpSpMkLst>
        </pc:grpChg>
        <pc:grpChg chg="add">
          <ac:chgData name="Victor Sucasas" userId="5e9b3a00-e16d-44aa-9a74-a37ad9fec3fb" providerId="ADAL" clId="{D22957E8-4011-5845-8860-D2C9AB41C321}" dt="2026-06-08T07:40:55.285" v="4872" actId="164"/>
          <ac:grpSpMkLst>
            <pc:docMk/>
            <pc:sldMk cId="2163501029" sldId="262"/>
            <ac:grpSpMk id="8" creationId="{FF5B3DE0-4765-12ED-7D1A-6D5F63B1950E}"/>
          </ac:grpSpMkLst>
        </pc:grpChg>
        <pc:grpChg chg="add">
          <ac:chgData name="Victor Sucasas" userId="5e9b3a00-e16d-44aa-9a74-a37ad9fec3fb" providerId="ADAL" clId="{D22957E8-4011-5845-8860-D2C9AB41C321}" dt="2026-06-08T07:41:34.545" v="4888" actId="164"/>
          <ac:grpSpMkLst>
            <pc:docMk/>
            <pc:sldMk cId="2163501029" sldId="262"/>
            <ac:grpSpMk id="16" creationId="{0F53C261-88C9-CDC9-493C-A811824A849D}"/>
          </ac:grpSpMkLst>
        </pc:grpChg>
        <pc:grpChg chg="add">
          <ac:chgData name="Victor Sucasas" userId="5e9b3a00-e16d-44aa-9a74-a37ad9fec3fb" providerId="ADAL" clId="{D22957E8-4011-5845-8860-D2C9AB41C321}" dt="2026-06-08T07:41:40.164" v="4889" actId="164"/>
          <ac:grpSpMkLst>
            <pc:docMk/>
            <pc:sldMk cId="2163501029" sldId="262"/>
            <ac:grpSpMk id="17" creationId="{968043E2-2D2A-FB68-24C9-DB2ED33AA4CE}"/>
          </ac:grpSpMkLst>
        </pc:grpChg>
        <pc:grpChg chg="add">
          <ac:chgData name="Victor Sucasas" userId="5e9b3a00-e16d-44aa-9a74-a37ad9fec3fb" providerId="ADAL" clId="{D22957E8-4011-5845-8860-D2C9AB41C321}" dt="2026-06-08T07:41:44.918" v="4890" actId="164"/>
          <ac:grpSpMkLst>
            <pc:docMk/>
            <pc:sldMk cId="2163501029" sldId="262"/>
            <ac:grpSpMk id="18" creationId="{4333C587-76AD-63FF-CF09-6C4A01E9002B}"/>
          </ac:grpSpMkLst>
        </pc:grpChg>
        <pc:grpChg chg="add">
          <ac:chgData name="Victor Sucasas" userId="5e9b3a00-e16d-44aa-9a74-a37ad9fec3fb" providerId="ADAL" clId="{D22957E8-4011-5845-8860-D2C9AB41C321}" dt="2026-06-08T07:42:56.693" v="4909" actId="164"/>
          <ac:grpSpMkLst>
            <pc:docMk/>
            <pc:sldMk cId="2163501029" sldId="262"/>
            <ac:grpSpMk id="24" creationId="{15444D1D-2D75-959B-DCDE-1426FD3C048E}"/>
          </ac:grpSpMkLst>
        </pc:grpChg>
        <pc:grpChg chg="add">
          <ac:chgData name="Victor Sucasas" userId="5e9b3a00-e16d-44aa-9a74-a37ad9fec3fb" providerId="ADAL" clId="{D22957E8-4011-5845-8860-D2C9AB41C321}" dt="2026-06-08T07:43:02.724" v="4910" actId="164"/>
          <ac:grpSpMkLst>
            <pc:docMk/>
            <pc:sldMk cId="2163501029" sldId="262"/>
            <ac:grpSpMk id="25" creationId="{11B6B6DD-387E-E4B9-F892-57B11F8A3B37}"/>
          </ac:grpSpMkLst>
        </pc:grpChg>
        <pc:grpChg chg="add mod">
          <ac:chgData name="Victor Sucasas" userId="5e9b3a00-e16d-44aa-9a74-a37ad9fec3fb" providerId="ADAL" clId="{D22957E8-4011-5845-8860-D2C9AB41C321}" dt="2026-06-08T07:43:10.565" v="4919" actId="1038"/>
          <ac:grpSpMkLst>
            <pc:docMk/>
            <pc:sldMk cId="2163501029" sldId="262"/>
            <ac:grpSpMk id="26" creationId="{F208D2A7-DB3F-8E32-F311-C90FC6D7F4A4}"/>
          </ac:grpSpMkLst>
        </pc:grpChg>
        <pc:picChg chg="mod">
          <ac:chgData name="Victor Sucasas" userId="5e9b3a00-e16d-44aa-9a74-a37ad9fec3fb" providerId="ADAL" clId="{D22957E8-4011-5845-8860-D2C9AB41C321}" dt="2026-06-08T07:42:25.066" v="4896" actId="1076"/>
          <ac:picMkLst>
            <pc:docMk/>
            <pc:sldMk cId="2163501029" sldId="262"/>
            <ac:picMk id="74" creationId="{4A799001-3DF4-B4C6-438D-BB32D95D47EE}"/>
          </ac:picMkLst>
        </pc:picChg>
        <pc:picChg chg="mod">
          <ac:chgData name="Victor Sucasas" userId="5e9b3a00-e16d-44aa-9a74-a37ad9fec3fb" providerId="ADAL" clId="{D22957E8-4011-5845-8860-D2C9AB41C321}" dt="2026-06-08T07:42:23.055" v="4895" actId="1076"/>
          <ac:picMkLst>
            <pc:docMk/>
            <pc:sldMk cId="2163501029" sldId="262"/>
            <ac:picMk id="80" creationId="{A9CB1A00-0640-8367-FD8B-FAA308C441D8}"/>
          </ac:picMkLst>
        </pc:picChg>
        <pc:picChg chg="mod">
          <ac:chgData name="Victor Sucasas" userId="5e9b3a00-e16d-44aa-9a74-a37ad9fec3fb" providerId="ADAL" clId="{D22957E8-4011-5845-8860-D2C9AB41C321}" dt="2026-06-08T07:41:01.313" v="4874" actId="1076"/>
          <ac:picMkLst>
            <pc:docMk/>
            <pc:sldMk cId="2163501029" sldId="262"/>
            <ac:picMk id="105" creationId="{C7717DD3-65B3-5CAF-FA13-EF337BCA8BA9}"/>
          </ac:picMkLst>
        </pc:picChg>
        <pc:picChg chg="mod">
          <ac:chgData name="Victor Sucasas" userId="5e9b3a00-e16d-44aa-9a74-a37ad9fec3fb" providerId="ADAL" clId="{D22957E8-4011-5845-8860-D2C9AB41C321}" dt="2026-06-08T07:40:58.622" v="4873" actId="1076"/>
          <ac:picMkLst>
            <pc:docMk/>
            <pc:sldMk cId="2163501029" sldId="262"/>
            <ac:picMk id="107" creationId="{3D6B6B28-198F-3FC1-C297-F4A81C0737D7}"/>
          </ac:picMkLst>
        </pc:picChg>
        <pc:picChg chg="mod">
          <ac:chgData name="Victor Sucasas" userId="5e9b3a00-e16d-44aa-9a74-a37ad9fec3fb" providerId="ADAL" clId="{D22957E8-4011-5845-8860-D2C9AB41C321}" dt="2026-06-08T07:40:22.100" v="4862" actId="1076"/>
          <ac:picMkLst>
            <pc:docMk/>
            <pc:sldMk cId="2163501029" sldId="262"/>
            <ac:picMk id="109" creationId="{046144CF-DD90-2816-FED5-21AE3F82EA4E}"/>
          </ac:picMkLst>
        </pc:picChg>
        <pc:picChg chg="mod">
          <ac:chgData name="Victor Sucasas" userId="5e9b3a00-e16d-44aa-9a74-a37ad9fec3fb" providerId="ADAL" clId="{D22957E8-4011-5845-8860-D2C9AB41C321}" dt="2026-06-08T07:40:18.607" v="4861" actId="1076"/>
          <ac:picMkLst>
            <pc:docMk/>
            <pc:sldMk cId="2163501029" sldId="262"/>
            <ac:picMk id="111" creationId="{65B89D26-CE22-5F40-EAC6-18A0C2AD8CA0}"/>
          </ac:picMkLst>
        </pc:picChg>
      </pc:sldChg>
      <pc:sldChg chg="addSp delSp modSp add mod ord delAnim modAnim">
        <pc:chgData name="Victor Sucasas" userId="5e9b3a00-e16d-44aa-9a74-a37ad9fec3fb" providerId="ADAL" clId="{D22957E8-4011-5845-8860-D2C9AB41C321}" dt="2026-06-08T13:54:17.053" v="7703" actId="20577"/>
        <pc:sldMkLst>
          <pc:docMk/>
          <pc:sldMk cId="1569202835" sldId="264"/>
        </pc:sldMkLst>
        <pc:spChg chg="mod">
          <ac:chgData name="Victor Sucasas" userId="5e9b3a00-e16d-44aa-9a74-a37ad9fec3fb" providerId="ADAL" clId="{D22957E8-4011-5845-8860-D2C9AB41C321}" dt="2026-06-08T10:08:31.636" v="6935" actId="20577"/>
          <ac:spMkLst>
            <pc:docMk/>
            <pc:sldMk cId="1569202835" sldId="264"/>
            <ac:spMk id="2" creationId="{B5DBC072-C488-CD89-DDF1-9B2A4F26F350}"/>
          </ac:spMkLst>
        </pc:spChg>
        <pc:spChg chg="add mod">
          <ac:chgData name="Victor Sucasas" userId="5e9b3a00-e16d-44aa-9a74-a37ad9fec3fb" providerId="ADAL" clId="{D22957E8-4011-5845-8860-D2C9AB41C321}" dt="2026-06-08T09:36:49.864" v="6012" actId="1076"/>
          <ac:spMkLst>
            <pc:docMk/>
            <pc:sldMk cId="1569202835" sldId="264"/>
            <ac:spMk id="8" creationId="{5D8FC921-A848-95FB-843C-60CBE32C5B87}"/>
          </ac:spMkLst>
        </pc:spChg>
        <pc:spChg chg="add mod">
          <ac:chgData name="Victor Sucasas" userId="5e9b3a00-e16d-44aa-9a74-a37ad9fec3fb" providerId="ADAL" clId="{D22957E8-4011-5845-8860-D2C9AB41C321}" dt="2026-06-08T10:42:15.400" v="7404" actId="20577"/>
          <ac:spMkLst>
            <pc:docMk/>
            <pc:sldMk cId="1569202835" sldId="264"/>
            <ac:spMk id="11" creationId="{561054E5-DA7F-149B-CA0B-E4400FCBE1AA}"/>
          </ac:spMkLst>
        </pc:spChg>
        <pc:spChg chg="add mod">
          <ac:chgData name="Victor Sucasas" userId="5e9b3a00-e16d-44aa-9a74-a37ad9fec3fb" providerId="ADAL" clId="{D22957E8-4011-5845-8860-D2C9AB41C321}" dt="2026-06-08T09:36:49.864" v="6012" actId="1076"/>
          <ac:spMkLst>
            <pc:docMk/>
            <pc:sldMk cId="1569202835" sldId="264"/>
            <ac:spMk id="14" creationId="{B88A64C3-1D92-2937-AC35-810FA36201AC}"/>
          </ac:spMkLst>
        </pc:spChg>
        <pc:spChg chg="add mod">
          <ac:chgData name="Victor Sucasas" userId="5e9b3a00-e16d-44aa-9a74-a37ad9fec3fb" providerId="ADAL" clId="{D22957E8-4011-5845-8860-D2C9AB41C321}" dt="2026-06-08T09:36:49.864" v="6012" actId="1076"/>
          <ac:spMkLst>
            <pc:docMk/>
            <pc:sldMk cId="1569202835" sldId="264"/>
            <ac:spMk id="15" creationId="{04573594-26C8-F77E-3BA3-2FC4D43D0416}"/>
          </ac:spMkLst>
        </pc:spChg>
        <pc:spChg chg="add mod">
          <ac:chgData name="Victor Sucasas" userId="5e9b3a00-e16d-44aa-9a74-a37ad9fec3fb" providerId="ADAL" clId="{D22957E8-4011-5845-8860-D2C9AB41C321}" dt="2026-06-08T09:36:49.864" v="6012" actId="1076"/>
          <ac:spMkLst>
            <pc:docMk/>
            <pc:sldMk cId="1569202835" sldId="264"/>
            <ac:spMk id="16" creationId="{F147C900-6A81-9190-6F8F-FCEA453CD5C0}"/>
          </ac:spMkLst>
        </pc:spChg>
        <pc:spChg chg="add mod">
          <ac:chgData name="Victor Sucasas" userId="5e9b3a00-e16d-44aa-9a74-a37ad9fec3fb" providerId="ADAL" clId="{D22957E8-4011-5845-8860-D2C9AB41C321}" dt="2026-06-08T13:54:17.053" v="7703" actId="20577"/>
          <ac:spMkLst>
            <pc:docMk/>
            <pc:sldMk cId="1569202835" sldId="264"/>
            <ac:spMk id="17" creationId="{2290399E-1BA5-BA1E-60C9-ABC91AAC3DC6}"/>
          </ac:spMkLst>
        </pc:spChg>
        <pc:picChg chg="add mod">
          <ac:chgData name="Victor Sucasas" userId="5e9b3a00-e16d-44aa-9a74-a37ad9fec3fb" providerId="ADAL" clId="{D22957E8-4011-5845-8860-D2C9AB41C321}" dt="2026-06-08T09:36:49.864" v="6012" actId="1076"/>
          <ac:picMkLst>
            <pc:docMk/>
            <pc:sldMk cId="1569202835" sldId="264"/>
            <ac:picMk id="5" creationId="{67611C04-F820-6341-08C1-25BFBBBB855C}"/>
          </ac:picMkLst>
        </pc:picChg>
        <pc:picChg chg="add mod">
          <ac:chgData name="Victor Sucasas" userId="5e9b3a00-e16d-44aa-9a74-a37ad9fec3fb" providerId="ADAL" clId="{D22957E8-4011-5845-8860-D2C9AB41C321}" dt="2026-06-08T09:36:49.864" v="6012" actId="1076"/>
          <ac:picMkLst>
            <pc:docMk/>
            <pc:sldMk cId="1569202835" sldId="264"/>
            <ac:picMk id="10" creationId="{68E70CAE-E5AD-6B86-3BE8-4F2D3EFE369F}"/>
          </ac:picMkLst>
        </pc:picChg>
        <pc:picChg chg="mod">
          <ac:chgData name="Victor Sucasas" userId="5e9b3a00-e16d-44aa-9a74-a37ad9fec3fb" providerId="ADAL" clId="{D22957E8-4011-5845-8860-D2C9AB41C321}" dt="2026-06-08T09:36:49.864" v="6012" actId="1076"/>
          <ac:picMkLst>
            <pc:docMk/>
            <pc:sldMk cId="1569202835" sldId="264"/>
            <ac:picMk id="100" creationId="{593B938C-E4FD-2B18-7E26-E0B18A09EE7B}"/>
          </ac:picMkLst>
        </pc:picChg>
        <pc:picChg chg="mod">
          <ac:chgData name="Victor Sucasas" userId="5e9b3a00-e16d-44aa-9a74-a37ad9fec3fb" providerId="ADAL" clId="{D22957E8-4011-5845-8860-D2C9AB41C321}" dt="2026-06-08T09:36:49.864" v="6012" actId="1076"/>
          <ac:picMkLst>
            <pc:docMk/>
            <pc:sldMk cId="1569202835" sldId="264"/>
            <ac:picMk id="101" creationId="{5BC4A870-8013-7F88-14F4-32F7FE9751FF}"/>
          </ac:picMkLst>
        </pc:picChg>
        <pc:picChg chg="mod">
          <ac:chgData name="Victor Sucasas" userId="5e9b3a00-e16d-44aa-9a74-a37ad9fec3fb" providerId="ADAL" clId="{D22957E8-4011-5845-8860-D2C9AB41C321}" dt="2026-06-08T09:36:49.864" v="6012" actId="1076"/>
          <ac:picMkLst>
            <pc:docMk/>
            <pc:sldMk cId="1569202835" sldId="264"/>
            <ac:picMk id="137" creationId="{4A81A3E8-D93C-F3C1-D1E2-6ACEC3FC99A1}"/>
          </ac:picMkLst>
        </pc:picChg>
        <pc:cxnChg chg="add mod">
          <ac:chgData name="Victor Sucasas" userId="5e9b3a00-e16d-44aa-9a74-a37ad9fec3fb" providerId="ADAL" clId="{D22957E8-4011-5845-8860-D2C9AB41C321}" dt="2026-06-08T09:32:59.084" v="5983" actId="1076"/>
          <ac:cxnSpMkLst>
            <pc:docMk/>
            <pc:sldMk cId="1569202835" sldId="264"/>
            <ac:cxnSpMk id="7" creationId="{F0C1F78C-3110-6F05-4591-FBCF411F21C9}"/>
          </ac:cxnSpMkLst>
        </pc:cxnChg>
        <pc:cxnChg chg="add mod">
          <ac:chgData name="Victor Sucasas" userId="5e9b3a00-e16d-44aa-9a74-a37ad9fec3fb" providerId="ADAL" clId="{D22957E8-4011-5845-8860-D2C9AB41C321}" dt="2026-06-08T09:27:56.578" v="5847" actId="14100"/>
          <ac:cxnSpMkLst>
            <pc:docMk/>
            <pc:sldMk cId="1569202835" sldId="264"/>
            <ac:cxnSpMk id="9" creationId="{E81EC2FB-7B85-FE33-634D-3F5E6968A898}"/>
          </ac:cxnSpMkLst>
        </pc:cxnChg>
      </pc:sldChg>
      <pc:sldChg chg="modSp add mod">
        <pc:chgData name="Victor Sucasas" userId="5e9b3a00-e16d-44aa-9a74-a37ad9fec3fb" providerId="ADAL" clId="{D22957E8-4011-5845-8860-D2C9AB41C321}" dt="2026-06-08T09:22:30.623" v="5539" actId="20577"/>
        <pc:sldMkLst>
          <pc:docMk/>
          <pc:sldMk cId="2905142263" sldId="266"/>
        </pc:sldMkLst>
        <pc:spChg chg="mod">
          <ac:chgData name="Victor Sucasas" userId="5e9b3a00-e16d-44aa-9a74-a37ad9fec3fb" providerId="ADAL" clId="{D22957E8-4011-5845-8860-D2C9AB41C321}" dt="2026-06-08T09:22:30.623" v="5539" actId="20577"/>
          <ac:spMkLst>
            <pc:docMk/>
            <pc:sldMk cId="2905142263" sldId="266"/>
            <ac:spMk id="2" creationId="{E0216227-D2C9-B2E5-B84D-CEE39A0FD5AD}"/>
          </ac:spMkLst>
        </pc:spChg>
      </pc:sldChg>
      <pc:sldChg chg="ord">
        <pc:chgData name="Victor Sucasas" userId="5e9b3a00-e16d-44aa-9a74-a37ad9fec3fb" providerId="ADAL" clId="{D22957E8-4011-5845-8860-D2C9AB41C321}" dt="2026-06-01T13:54:36.287" v="3500" actId="20578"/>
        <pc:sldMkLst>
          <pc:docMk/>
          <pc:sldMk cId="2253087317" sldId="275"/>
        </pc:sldMkLst>
      </pc:sldChg>
      <pc:sldChg chg="modAnim">
        <pc:chgData name="Victor Sucasas" userId="5e9b3a00-e16d-44aa-9a74-a37ad9fec3fb" providerId="ADAL" clId="{D22957E8-4011-5845-8860-D2C9AB41C321}" dt="2026-06-20T08:07:10.560" v="7828"/>
        <pc:sldMkLst>
          <pc:docMk/>
          <pc:sldMk cId="882717503" sldId="280"/>
        </pc:sldMkLst>
      </pc:sldChg>
      <pc:sldChg chg="addSp modSp mod modAnim">
        <pc:chgData name="Victor Sucasas" userId="5e9b3a00-e16d-44aa-9a74-a37ad9fec3fb" providerId="ADAL" clId="{D22957E8-4011-5845-8860-D2C9AB41C321}" dt="2026-06-20T07:32:42.890" v="7784"/>
        <pc:sldMkLst>
          <pc:docMk/>
          <pc:sldMk cId="567249401" sldId="284"/>
        </pc:sldMkLst>
        <pc:spChg chg="add mod">
          <ac:chgData name="Victor Sucasas" userId="5e9b3a00-e16d-44aa-9a74-a37ad9fec3fb" providerId="ADAL" clId="{D22957E8-4011-5845-8860-D2C9AB41C321}" dt="2026-06-20T07:32:38.063" v="7783" actId="14861"/>
          <ac:spMkLst>
            <pc:docMk/>
            <pc:sldMk cId="567249401" sldId="284"/>
            <ac:spMk id="3" creationId="{01E02B7B-6CF4-8E41-5BF1-B3ED7F66CDBF}"/>
          </ac:spMkLst>
        </pc:spChg>
      </pc:sldChg>
      <pc:sldChg chg="addSp delSp modSp mod delAnim modAnim">
        <pc:chgData name="Victor Sucasas" userId="5e9b3a00-e16d-44aa-9a74-a37ad9fec3fb" providerId="ADAL" clId="{D22957E8-4011-5845-8860-D2C9AB41C321}" dt="2026-06-08T10:34:53.143" v="7278" actId="20577"/>
        <pc:sldMkLst>
          <pc:docMk/>
          <pc:sldMk cId="3742457775" sldId="2147483641"/>
        </pc:sldMkLst>
        <pc:spChg chg="mod">
          <ac:chgData name="Victor Sucasas" userId="5e9b3a00-e16d-44aa-9a74-a37ad9fec3fb" providerId="ADAL" clId="{D22957E8-4011-5845-8860-D2C9AB41C321}" dt="2026-06-08T10:34:53.143" v="7278" actId="20577"/>
          <ac:spMkLst>
            <pc:docMk/>
            <pc:sldMk cId="3742457775" sldId="2147483641"/>
            <ac:spMk id="2" creationId="{E490AF99-4BF0-056D-7383-FBE4F1296DE4}"/>
          </ac:spMkLst>
        </pc:spChg>
        <pc:spChg chg="mod">
          <ac:chgData name="Victor Sucasas" userId="5e9b3a00-e16d-44aa-9a74-a37ad9fec3fb" providerId="ADAL" clId="{D22957E8-4011-5845-8860-D2C9AB41C321}" dt="2026-06-01T12:45:07.133" v="2680" actId="1076"/>
          <ac:spMkLst>
            <pc:docMk/>
            <pc:sldMk cId="3742457775" sldId="2147483641"/>
            <ac:spMk id="20" creationId="{5AA5CA6A-AB27-3A72-488C-C8B9981E132F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76" creationId="{274F823B-5CE6-A994-8C51-A506C63929AD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77" creationId="{5A65F9D3-3417-3823-E813-DABD89D6B386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78" creationId="{5231855E-AC87-BAD9-1A54-44B6C10F830F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79" creationId="{3A402444-B827-79E0-BFAE-29834D098776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81" creationId="{0EA10CDF-A0FA-B637-6810-7E34F79A66DA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91" creationId="{D8282DE7-DE2B-BF99-9AF4-C6B99EF32DD4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105" creationId="{8D3CB6D3-4802-BE18-AA6B-494B571CB366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106" creationId="{31A0CDD1-1B1B-D597-C9DA-C72552568982}"/>
          </ac:spMkLst>
        </pc:spChg>
        <pc:spChg chg="add mod">
          <ac:chgData name="Victor Sucasas" userId="5e9b3a00-e16d-44aa-9a74-a37ad9fec3fb" providerId="ADAL" clId="{D22957E8-4011-5845-8860-D2C9AB41C321}" dt="2026-06-08T10:04:39.753" v="6815" actId="1076"/>
          <ac:spMkLst>
            <pc:docMk/>
            <pc:sldMk cId="3742457775" sldId="2147483641"/>
            <ac:spMk id="111" creationId="{9331CBAF-5596-1CF5-32C7-6865996D5B44}"/>
          </ac:spMkLst>
        </pc:spChg>
        <pc:spChg chg="add mod">
          <ac:chgData name="Victor Sucasas" userId="5e9b3a00-e16d-44aa-9a74-a37ad9fec3fb" providerId="ADAL" clId="{D22957E8-4011-5845-8860-D2C9AB41C321}" dt="2026-06-08T09:47:26.283" v="6282" actId="1037"/>
          <ac:spMkLst>
            <pc:docMk/>
            <pc:sldMk cId="3742457775" sldId="2147483641"/>
            <ac:spMk id="112" creationId="{0A5A4ABD-7B0A-553C-3ACC-86C9A57432B0}"/>
          </ac:spMkLst>
        </pc:spChg>
        <pc:spChg chg="add mod">
          <ac:chgData name="Victor Sucasas" userId="5e9b3a00-e16d-44aa-9a74-a37ad9fec3fb" providerId="ADAL" clId="{D22957E8-4011-5845-8860-D2C9AB41C321}" dt="2026-06-08T09:47:13.971" v="6268" actId="1035"/>
          <ac:spMkLst>
            <pc:docMk/>
            <pc:sldMk cId="3742457775" sldId="2147483641"/>
            <ac:spMk id="116" creationId="{7E7B961B-50FD-1E2D-C647-0CDCB50C3253}"/>
          </ac:spMkLst>
        </pc:spChg>
        <pc:spChg chg="add mod">
          <ac:chgData name="Victor Sucasas" userId="5e9b3a00-e16d-44aa-9a74-a37ad9fec3fb" providerId="ADAL" clId="{D22957E8-4011-5845-8860-D2C9AB41C321}" dt="2026-06-08T09:48:01.293" v="6295" actId="1076"/>
          <ac:spMkLst>
            <pc:docMk/>
            <pc:sldMk cId="3742457775" sldId="2147483641"/>
            <ac:spMk id="117" creationId="{F3135BC5-4A0B-5DA4-5956-094DD917181F}"/>
          </ac:spMkLst>
        </pc:spChg>
        <pc:picChg chg="mod">
          <ac:chgData name="Victor Sucasas" userId="5e9b3a00-e16d-44aa-9a74-a37ad9fec3fb" providerId="ADAL" clId="{D22957E8-4011-5845-8860-D2C9AB41C321}" dt="2026-06-01T12:45:08.566" v="2681" actId="1076"/>
          <ac:picMkLst>
            <pc:docMk/>
            <pc:sldMk cId="3742457775" sldId="2147483641"/>
            <ac:picMk id="5" creationId="{3DD07465-40E2-7A91-F8D8-D85AD61F7CFE}"/>
          </ac:picMkLst>
        </pc:picChg>
        <pc:picChg chg="add mod">
          <ac:chgData name="Victor Sucasas" userId="5e9b3a00-e16d-44aa-9a74-a37ad9fec3fb" providerId="ADAL" clId="{D22957E8-4011-5845-8860-D2C9AB41C321}" dt="2026-06-01T12:47:00.001" v="2723" actId="1036"/>
          <ac:picMkLst>
            <pc:docMk/>
            <pc:sldMk cId="3742457775" sldId="2147483641"/>
            <ac:picMk id="51" creationId="{2752980C-B618-55AF-E780-13D6D815B58C}"/>
          </ac:picMkLst>
        </pc:picChg>
        <pc:picChg chg="add mod">
          <ac:chgData name="Victor Sucasas" userId="5e9b3a00-e16d-44aa-9a74-a37ad9fec3fb" providerId="ADAL" clId="{D22957E8-4011-5845-8860-D2C9AB41C321}" dt="2026-06-01T12:47:00.001" v="2723" actId="1036"/>
          <ac:picMkLst>
            <pc:docMk/>
            <pc:sldMk cId="3742457775" sldId="2147483641"/>
            <ac:picMk id="52" creationId="{BCC899AE-23FE-401D-0F83-D57A4C89D821}"/>
          </ac:picMkLst>
        </pc:picChg>
        <pc:picChg chg="add mod">
          <ac:chgData name="Victor Sucasas" userId="5e9b3a00-e16d-44aa-9a74-a37ad9fec3fb" providerId="ADAL" clId="{D22957E8-4011-5845-8860-D2C9AB41C321}" dt="2026-06-01T12:47:00.001" v="2723" actId="1036"/>
          <ac:picMkLst>
            <pc:docMk/>
            <pc:sldMk cId="3742457775" sldId="2147483641"/>
            <ac:picMk id="53" creationId="{90C57B8B-75F6-1E26-1861-D4FE67B059D1}"/>
          </ac:picMkLst>
        </pc:picChg>
        <pc:picChg chg="add mod">
          <ac:chgData name="Victor Sucasas" userId="5e9b3a00-e16d-44aa-9a74-a37ad9fec3fb" providerId="ADAL" clId="{D22957E8-4011-5845-8860-D2C9AB41C321}" dt="2026-06-01T12:47:00.001" v="2723" actId="1036"/>
          <ac:picMkLst>
            <pc:docMk/>
            <pc:sldMk cId="3742457775" sldId="2147483641"/>
            <ac:picMk id="54" creationId="{ACDF677B-172E-F102-9317-5B74E05CB8C0}"/>
          </ac:picMkLst>
        </pc:picChg>
        <pc:picChg chg="add mod">
          <ac:chgData name="Victor Sucasas" userId="5e9b3a00-e16d-44aa-9a74-a37ad9fec3fb" providerId="ADAL" clId="{D22957E8-4011-5845-8860-D2C9AB41C321}" dt="2026-06-01T12:47:00.001" v="2723" actId="1036"/>
          <ac:picMkLst>
            <pc:docMk/>
            <pc:sldMk cId="3742457775" sldId="2147483641"/>
            <ac:picMk id="55" creationId="{8E95F08F-8306-7810-E33F-E4E8CC4C4EC1}"/>
          </ac:picMkLst>
        </pc:picChg>
        <pc:picChg chg="add mod">
          <ac:chgData name="Victor Sucasas" userId="5e9b3a00-e16d-44aa-9a74-a37ad9fec3fb" providerId="ADAL" clId="{D22957E8-4011-5845-8860-D2C9AB41C321}" dt="2026-06-08T07:04:17.419" v="4576"/>
          <ac:picMkLst>
            <pc:docMk/>
            <pc:sldMk cId="3742457775" sldId="2147483641"/>
            <ac:picMk id="73" creationId="{9B00375A-86B6-75E8-C34D-AFF55CAD5D5F}"/>
          </ac:picMkLst>
        </pc:picChg>
        <pc:picChg chg="mod">
          <ac:chgData name="Victor Sucasas" userId="5e9b3a00-e16d-44aa-9a74-a37ad9fec3fb" providerId="ADAL" clId="{D22957E8-4011-5845-8860-D2C9AB41C321}" dt="2026-06-08T10:04:36.115" v="6814" actId="1076"/>
          <ac:picMkLst>
            <pc:docMk/>
            <pc:sldMk cId="3742457775" sldId="2147483641"/>
            <ac:picMk id="86" creationId="{C16F2343-6D92-73B7-C92A-371273B57D9E}"/>
          </ac:picMkLst>
        </pc:picChg>
        <pc:picChg chg="mod">
          <ac:chgData name="Victor Sucasas" userId="5e9b3a00-e16d-44aa-9a74-a37ad9fec3fb" providerId="ADAL" clId="{D22957E8-4011-5845-8860-D2C9AB41C321}" dt="2026-06-08T10:04:36.115" v="6814" actId="1076"/>
          <ac:picMkLst>
            <pc:docMk/>
            <pc:sldMk cId="3742457775" sldId="2147483641"/>
            <ac:picMk id="89" creationId="{B01084C3-0285-888E-5F90-905E787452F8}"/>
          </ac:picMkLst>
        </pc:picChg>
        <pc:picChg chg="mod">
          <ac:chgData name="Victor Sucasas" userId="5e9b3a00-e16d-44aa-9a74-a37ad9fec3fb" providerId="ADAL" clId="{D22957E8-4011-5845-8860-D2C9AB41C321}" dt="2026-06-08T10:04:36.115" v="6814" actId="1076"/>
          <ac:picMkLst>
            <pc:docMk/>
            <pc:sldMk cId="3742457775" sldId="2147483641"/>
            <ac:picMk id="90" creationId="{6269E312-DA0E-7D4C-E73C-5B889FDFBA08}"/>
          </ac:picMkLst>
        </pc:picChg>
        <pc:picChg chg="add mod">
          <ac:chgData name="Victor Sucasas" userId="5e9b3a00-e16d-44aa-9a74-a37ad9fec3fb" providerId="ADAL" clId="{D22957E8-4011-5845-8860-D2C9AB41C321}" dt="2026-06-08T09:46:39.936" v="6245" actId="1076"/>
          <ac:picMkLst>
            <pc:docMk/>
            <pc:sldMk cId="3742457775" sldId="2147483641"/>
            <ac:picMk id="104" creationId="{F9C3D3BD-2BD2-32BC-D64A-00C4EE2A13ED}"/>
          </ac:picMkLst>
        </pc:picChg>
        <pc:picChg chg="add mod">
          <ac:chgData name="Victor Sucasas" userId="5e9b3a00-e16d-44aa-9a74-a37ad9fec3fb" providerId="ADAL" clId="{D22957E8-4011-5845-8860-D2C9AB41C321}" dt="2026-06-08T09:46:42.819" v="6249" actId="1037"/>
          <ac:picMkLst>
            <pc:docMk/>
            <pc:sldMk cId="3742457775" sldId="2147483641"/>
            <ac:picMk id="107" creationId="{3B7EB07F-21D3-3C49-D30C-7A8E561E2367}"/>
          </ac:picMkLst>
        </pc:picChg>
        <pc:picChg chg="add mod">
          <ac:chgData name="Victor Sucasas" userId="5e9b3a00-e16d-44aa-9a74-a37ad9fec3fb" providerId="ADAL" clId="{D22957E8-4011-5845-8860-D2C9AB41C321}" dt="2026-06-08T09:46:42.819" v="6249" actId="1037"/>
          <ac:picMkLst>
            <pc:docMk/>
            <pc:sldMk cId="3742457775" sldId="2147483641"/>
            <ac:picMk id="108" creationId="{C64815C8-6190-CDC6-E0B0-BAE993C005A8}"/>
          </ac:picMkLst>
        </pc:picChg>
        <pc:picChg chg="add mod">
          <ac:chgData name="Victor Sucasas" userId="5e9b3a00-e16d-44aa-9a74-a37ad9fec3fb" providerId="ADAL" clId="{D22957E8-4011-5845-8860-D2C9AB41C321}" dt="2026-06-08T09:46:39.936" v="6245" actId="1076"/>
          <ac:picMkLst>
            <pc:docMk/>
            <pc:sldMk cId="3742457775" sldId="2147483641"/>
            <ac:picMk id="109" creationId="{CF4534DC-3488-B6FE-4C10-81635CB52578}"/>
          </ac:picMkLst>
        </pc:picChg>
        <pc:picChg chg="add mod">
          <ac:chgData name="Victor Sucasas" userId="5e9b3a00-e16d-44aa-9a74-a37ad9fec3fb" providerId="ADAL" clId="{D22957E8-4011-5845-8860-D2C9AB41C321}" dt="2026-06-08T09:46:46.799" v="6251" actId="1076"/>
          <ac:picMkLst>
            <pc:docMk/>
            <pc:sldMk cId="3742457775" sldId="2147483641"/>
            <ac:picMk id="115" creationId="{2DD0791F-29D0-BB29-1543-A54887339DCA}"/>
          </ac:picMkLst>
        </pc:picChg>
        <pc:cxnChg chg="add mod">
          <ac:chgData name="Victor Sucasas" userId="5e9b3a00-e16d-44aa-9a74-a37ad9fec3fb" providerId="ADAL" clId="{D22957E8-4011-5845-8860-D2C9AB41C321}" dt="2026-06-08T10:04:26.127" v="6813" actId="1076"/>
          <ac:cxnSpMkLst>
            <pc:docMk/>
            <pc:sldMk cId="3742457775" sldId="2147483641"/>
            <ac:cxnSpMk id="102" creationId="{4E1E6B5A-84FE-7F29-AEAA-89A327D9A994}"/>
          </ac:cxnSpMkLst>
        </pc:cxnChg>
        <pc:cxnChg chg="add mod">
          <ac:chgData name="Victor Sucasas" userId="5e9b3a00-e16d-44aa-9a74-a37ad9fec3fb" providerId="ADAL" clId="{D22957E8-4011-5845-8860-D2C9AB41C321}" dt="2026-06-08T09:46:05.572" v="6241" actId="14100"/>
          <ac:cxnSpMkLst>
            <pc:docMk/>
            <pc:sldMk cId="3742457775" sldId="2147483641"/>
            <ac:cxnSpMk id="103" creationId="{32F15D8F-4966-30B3-2D65-B47A4BE40149}"/>
          </ac:cxnSpMkLst>
        </pc:cxnChg>
      </pc:sldChg>
      <pc:sldChg chg="addSp delSp modSp mod ord delAnim modAnim">
        <pc:chgData name="Victor Sucasas" userId="5e9b3a00-e16d-44aa-9a74-a37ad9fec3fb" providerId="ADAL" clId="{D22957E8-4011-5845-8860-D2C9AB41C321}" dt="2026-06-20T07:52:39.904" v="7823" actId="1076"/>
        <pc:sldMkLst>
          <pc:docMk/>
          <pc:sldMk cId="3001827663" sldId="2147483643"/>
        </pc:sldMkLst>
        <pc:spChg chg="add mod">
          <ac:chgData name="Victor Sucasas" userId="5e9b3a00-e16d-44aa-9a74-a37ad9fec3fb" providerId="ADAL" clId="{D22957E8-4011-5845-8860-D2C9AB41C321}" dt="2026-06-20T07:52:35.835" v="7821" actId="1076"/>
          <ac:spMkLst>
            <pc:docMk/>
            <pc:sldMk cId="3001827663" sldId="2147483643"/>
            <ac:spMk id="2" creationId="{ECBE883E-B654-2D13-77A5-E57B45D50780}"/>
          </ac:spMkLst>
        </pc:spChg>
        <pc:spChg chg="mod">
          <ac:chgData name="Victor Sucasas" userId="5e9b3a00-e16d-44aa-9a74-a37ad9fec3fb" providerId="ADAL" clId="{D22957E8-4011-5845-8860-D2C9AB41C321}" dt="2026-06-08T09:59:32.041" v="6780" actId="1076"/>
          <ac:spMkLst>
            <pc:docMk/>
            <pc:sldMk cId="3001827663" sldId="2147483643"/>
            <ac:spMk id="5" creationId="{DC74787A-53BD-72E3-DFBA-2B29E3AE1ED3}"/>
          </ac:spMkLst>
        </pc:spChg>
        <pc:spChg chg="mod">
          <ac:chgData name="Victor Sucasas" userId="5e9b3a00-e16d-44aa-9a74-a37ad9fec3fb" providerId="ADAL" clId="{D22957E8-4011-5845-8860-D2C9AB41C321}" dt="2026-06-08T09:59:32.041" v="6780" actId="1076"/>
          <ac:spMkLst>
            <pc:docMk/>
            <pc:sldMk cId="3001827663" sldId="2147483643"/>
            <ac:spMk id="6" creationId="{04301911-96FF-23F0-530F-E470B5DA2768}"/>
          </ac:spMkLst>
        </pc:spChg>
        <pc:spChg chg="add mod">
          <ac:chgData name="Victor Sucasas" userId="5e9b3a00-e16d-44aa-9a74-a37ad9fec3fb" providerId="ADAL" clId="{D22957E8-4011-5845-8860-D2C9AB41C321}" dt="2026-06-08T09:39:17.662" v="6192" actId="1076"/>
          <ac:spMkLst>
            <pc:docMk/>
            <pc:sldMk cId="3001827663" sldId="2147483643"/>
            <ac:spMk id="9" creationId="{18BF24F8-F74C-75F6-5055-D3DFA1B007AE}"/>
          </ac:spMkLst>
        </pc:spChg>
        <pc:spChg chg="add mod">
          <ac:chgData name="Victor Sucasas" userId="5e9b3a00-e16d-44aa-9a74-a37ad9fec3fb" providerId="ADAL" clId="{D22957E8-4011-5845-8860-D2C9AB41C321}" dt="2026-06-20T07:52:39.904" v="7823" actId="1076"/>
          <ac:spMkLst>
            <pc:docMk/>
            <pc:sldMk cId="3001827663" sldId="2147483643"/>
            <ac:spMk id="12" creationId="{94DF5E9E-5177-DE9B-CD76-B137F5D5B7E8}"/>
          </ac:spMkLst>
        </pc:spChg>
        <pc:spChg chg="add mod">
          <ac:chgData name="Victor Sucasas" userId="5e9b3a00-e16d-44aa-9a74-a37ad9fec3fb" providerId="ADAL" clId="{D22957E8-4011-5845-8860-D2C9AB41C321}" dt="2026-06-01T12:34:13.174" v="2548" actId="1076"/>
          <ac:spMkLst>
            <pc:docMk/>
            <pc:sldMk cId="3001827663" sldId="2147483643"/>
            <ac:spMk id="22" creationId="{0945DD2C-2F24-DB4C-34D1-A7764E09D940}"/>
          </ac:spMkLst>
        </pc:spChg>
        <pc:spChg chg="add mod">
          <ac:chgData name="Victor Sucasas" userId="5e9b3a00-e16d-44aa-9a74-a37ad9fec3fb" providerId="ADAL" clId="{D22957E8-4011-5845-8860-D2C9AB41C321}" dt="2026-06-01T10:27:16.828" v="2365" actId="767"/>
          <ac:spMkLst>
            <pc:docMk/>
            <pc:sldMk cId="3001827663" sldId="2147483643"/>
            <ac:spMk id="23" creationId="{6EAB7423-B7B4-C6F7-CED3-F5ED5492C72B}"/>
          </ac:spMkLst>
        </pc:spChg>
        <pc:spChg chg="add mod">
          <ac:chgData name="Victor Sucasas" userId="5e9b3a00-e16d-44aa-9a74-a37ad9fec3fb" providerId="ADAL" clId="{D22957E8-4011-5845-8860-D2C9AB41C321}" dt="2026-06-01T12:35:39.985" v="2563" actId="1076"/>
          <ac:spMkLst>
            <pc:docMk/>
            <pc:sldMk cId="3001827663" sldId="2147483643"/>
            <ac:spMk id="27" creationId="{2AA06107-0804-D29A-CE76-5687C4C5D519}"/>
          </ac:spMkLst>
        </pc:spChg>
        <pc:spChg chg="add mod">
          <ac:chgData name="Victor Sucasas" userId="5e9b3a00-e16d-44aa-9a74-a37ad9fec3fb" providerId="ADAL" clId="{D22957E8-4011-5845-8860-D2C9AB41C321}" dt="2026-06-01T12:34:06.254" v="2541" actId="1076"/>
          <ac:spMkLst>
            <pc:docMk/>
            <pc:sldMk cId="3001827663" sldId="2147483643"/>
            <ac:spMk id="28" creationId="{D8B59C5B-A58E-9C1A-4BD6-0B3765D26935}"/>
          </ac:spMkLst>
        </pc:spChg>
        <pc:spChg chg="mod">
          <ac:chgData name="Victor Sucasas" userId="5e9b3a00-e16d-44aa-9a74-a37ad9fec3fb" providerId="ADAL" clId="{D22957E8-4011-5845-8860-D2C9AB41C321}" dt="2026-06-01T12:34:08.240" v="2542" actId="1076"/>
          <ac:spMkLst>
            <pc:docMk/>
            <pc:sldMk cId="3001827663" sldId="2147483643"/>
            <ac:spMk id="47" creationId="{BA8CAFB8-03EB-EA34-5CAB-8B699A57DA8B}"/>
          </ac:spMkLst>
        </pc:spChg>
        <pc:spChg chg="mod">
          <ac:chgData name="Victor Sucasas" userId="5e9b3a00-e16d-44aa-9a74-a37ad9fec3fb" providerId="ADAL" clId="{D22957E8-4011-5845-8860-D2C9AB41C321}" dt="2026-06-01T13:39:05.046" v="3489" actId="1076"/>
          <ac:spMkLst>
            <pc:docMk/>
            <pc:sldMk cId="3001827663" sldId="2147483643"/>
            <ac:spMk id="54" creationId="{DACF0F51-1D2D-6E33-F488-39DD844D88D5}"/>
          </ac:spMkLst>
        </pc:spChg>
        <pc:spChg chg="mod">
          <ac:chgData name="Victor Sucasas" userId="5e9b3a00-e16d-44aa-9a74-a37ad9fec3fb" providerId="ADAL" clId="{D22957E8-4011-5845-8860-D2C9AB41C321}" dt="2026-06-01T12:11:15.475" v="2380" actId="404"/>
          <ac:spMkLst>
            <pc:docMk/>
            <pc:sldMk cId="3001827663" sldId="2147483643"/>
            <ac:spMk id="56" creationId="{225A2491-BD18-6676-CEE5-EF51D2EBC44D}"/>
          </ac:spMkLst>
        </pc:spChg>
        <pc:spChg chg="mod">
          <ac:chgData name="Victor Sucasas" userId="5e9b3a00-e16d-44aa-9a74-a37ad9fec3fb" providerId="ADAL" clId="{D22957E8-4011-5845-8860-D2C9AB41C321}" dt="2026-06-20T07:51:56.194" v="7792" actId="1076"/>
          <ac:spMkLst>
            <pc:docMk/>
            <pc:sldMk cId="3001827663" sldId="2147483643"/>
            <ac:spMk id="92" creationId="{29EBACC8-EEB5-AD9D-2F15-A7B5B9110522}"/>
          </ac:spMkLst>
        </pc:spChg>
        <pc:spChg chg="mod">
          <ac:chgData name="Victor Sucasas" userId="5e9b3a00-e16d-44aa-9a74-a37ad9fec3fb" providerId="ADAL" clId="{D22957E8-4011-5845-8860-D2C9AB41C321}" dt="2026-06-20T07:51:32.077" v="7788" actId="1076"/>
          <ac:spMkLst>
            <pc:docMk/>
            <pc:sldMk cId="3001827663" sldId="2147483643"/>
            <ac:spMk id="95" creationId="{E60D4BDC-3ED4-6189-B446-7B07F6766FAF}"/>
          </ac:spMkLst>
        </pc:spChg>
        <pc:spChg chg="mod">
          <ac:chgData name="Victor Sucasas" userId="5e9b3a00-e16d-44aa-9a74-a37ad9fec3fb" providerId="ADAL" clId="{D22957E8-4011-5845-8860-D2C9AB41C321}" dt="2026-06-20T07:51:41.852" v="7790" actId="1076"/>
          <ac:spMkLst>
            <pc:docMk/>
            <pc:sldMk cId="3001827663" sldId="2147483643"/>
            <ac:spMk id="99" creationId="{7337C113-86C2-D59F-A871-014C412509F3}"/>
          </ac:spMkLst>
        </pc:spChg>
        <pc:spChg chg="mod">
          <ac:chgData name="Victor Sucasas" userId="5e9b3a00-e16d-44aa-9a74-a37ad9fec3fb" providerId="ADAL" clId="{D22957E8-4011-5845-8860-D2C9AB41C321}" dt="2026-06-20T07:51:56.194" v="7792" actId="1076"/>
          <ac:spMkLst>
            <pc:docMk/>
            <pc:sldMk cId="3001827663" sldId="2147483643"/>
            <ac:spMk id="117" creationId="{86536664-B1AA-3DED-A66D-D1ABC37E35F0}"/>
          </ac:spMkLst>
        </pc:spChg>
        <pc:spChg chg="mod">
          <ac:chgData name="Victor Sucasas" userId="5e9b3a00-e16d-44aa-9a74-a37ad9fec3fb" providerId="ADAL" clId="{D22957E8-4011-5845-8860-D2C9AB41C321}" dt="2026-06-01T13:16:10.120" v="3086" actId="13926"/>
          <ac:spMkLst>
            <pc:docMk/>
            <pc:sldMk cId="3001827663" sldId="2147483643"/>
            <ac:spMk id="123" creationId="{BDB354B9-79CB-95E6-B8CD-AFA67605A28E}"/>
          </ac:spMkLst>
        </pc:spChg>
        <pc:picChg chg="add mod">
          <ac:chgData name="Victor Sucasas" userId="5e9b3a00-e16d-44aa-9a74-a37ad9fec3fb" providerId="ADAL" clId="{D22957E8-4011-5845-8860-D2C9AB41C321}" dt="2026-06-08T07:12:50.739" v="4761" actId="1076"/>
          <ac:picMkLst>
            <pc:docMk/>
            <pc:sldMk cId="3001827663" sldId="2147483643"/>
            <ac:picMk id="3" creationId="{0DA26BE2-E88B-7445-8D97-EA713345C44F}"/>
          </ac:picMkLst>
        </pc:picChg>
        <pc:picChg chg="add mod">
          <ac:chgData name="Victor Sucasas" userId="5e9b3a00-e16d-44aa-9a74-a37ad9fec3fb" providerId="ADAL" clId="{D22957E8-4011-5845-8860-D2C9AB41C321}" dt="2026-06-08T07:13:05.393" v="4764" actId="1076"/>
          <ac:picMkLst>
            <pc:docMk/>
            <pc:sldMk cId="3001827663" sldId="2147483643"/>
            <ac:picMk id="4" creationId="{B0E043A6-319D-CCC3-068D-2DC4671A07F8}"/>
          </ac:picMkLst>
        </pc:picChg>
        <pc:picChg chg="mod">
          <ac:chgData name="Victor Sucasas" userId="5e9b3a00-e16d-44aa-9a74-a37ad9fec3fb" providerId="ADAL" clId="{D22957E8-4011-5845-8860-D2C9AB41C321}" dt="2026-06-08T09:59:32.041" v="6780" actId="1076"/>
          <ac:picMkLst>
            <pc:docMk/>
            <pc:sldMk cId="3001827663" sldId="2147483643"/>
            <ac:picMk id="7" creationId="{50BF8FBA-2B67-120D-413E-A93E15F506C8}"/>
          </ac:picMkLst>
        </pc:picChg>
        <pc:picChg chg="mod">
          <ac:chgData name="Victor Sucasas" userId="5e9b3a00-e16d-44aa-9a74-a37ad9fec3fb" providerId="ADAL" clId="{D22957E8-4011-5845-8860-D2C9AB41C321}" dt="2026-06-08T09:59:32.041" v="6780" actId="1076"/>
          <ac:picMkLst>
            <pc:docMk/>
            <pc:sldMk cId="3001827663" sldId="2147483643"/>
            <ac:picMk id="8" creationId="{6CA6D54D-D468-36F5-FAAE-118344E0B811}"/>
          </ac:picMkLst>
        </pc:picChg>
        <pc:picChg chg="mod">
          <ac:chgData name="Victor Sucasas" userId="5e9b3a00-e16d-44aa-9a74-a37ad9fec3fb" providerId="ADAL" clId="{D22957E8-4011-5845-8860-D2C9AB41C321}" dt="2026-06-08T09:59:32.041" v="6780" actId="1076"/>
          <ac:picMkLst>
            <pc:docMk/>
            <pc:sldMk cId="3001827663" sldId="2147483643"/>
            <ac:picMk id="10" creationId="{9BBD5F75-C7D1-40DD-250D-D95433D2541A}"/>
          </ac:picMkLst>
        </pc:picChg>
        <pc:picChg chg="add mod">
          <ac:chgData name="Victor Sucasas" userId="5e9b3a00-e16d-44aa-9a74-a37ad9fec3fb" providerId="ADAL" clId="{D22957E8-4011-5845-8860-D2C9AB41C321}" dt="2026-06-08T09:39:17.662" v="6192" actId="1076"/>
          <ac:picMkLst>
            <pc:docMk/>
            <pc:sldMk cId="3001827663" sldId="2147483643"/>
            <ac:picMk id="11" creationId="{AD0E59E3-FC3A-29E5-0229-989F34EDB65A}"/>
          </ac:picMkLst>
        </pc:picChg>
        <pc:picChg chg="mod">
          <ac:chgData name="Victor Sucasas" userId="5e9b3a00-e16d-44aa-9a74-a37ad9fec3fb" providerId="ADAL" clId="{D22957E8-4011-5845-8860-D2C9AB41C321}" dt="2026-06-01T12:34:01.027" v="2539" actId="1076"/>
          <ac:picMkLst>
            <pc:docMk/>
            <pc:sldMk cId="3001827663" sldId="2147483643"/>
            <ac:picMk id="68" creationId="{0453E2C8-F302-F773-58F8-109F5F774CA3}"/>
          </ac:picMkLst>
        </pc:picChg>
        <pc:picChg chg="mod">
          <ac:chgData name="Victor Sucasas" userId="5e9b3a00-e16d-44aa-9a74-a37ad9fec3fb" providerId="ADAL" clId="{D22957E8-4011-5845-8860-D2C9AB41C321}" dt="2026-06-20T07:51:56.194" v="7792" actId="1076"/>
          <ac:picMkLst>
            <pc:docMk/>
            <pc:sldMk cId="3001827663" sldId="2147483643"/>
            <ac:picMk id="85" creationId="{EFB9D773-F0F9-B9FD-55D5-96492AE6D21F}"/>
          </ac:picMkLst>
        </pc:picChg>
        <pc:picChg chg="mod">
          <ac:chgData name="Victor Sucasas" userId="5e9b3a00-e16d-44aa-9a74-a37ad9fec3fb" providerId="ADAL" clId="{D22957E8-4011-5845-8860-D2C9AB41C321}" dt="2026-06-20T07:51:56.194" v="7792" actId="1076"/>
          <ac:picMkLst>
            <pc:docMk/>
            <pc:sldMk cId="3001827663" sldId="2147483643"/>
            <ac:picMk id="90" creationId="{1E89A619-9BF6-2166-899C-94AB35C27EAD}"/>
          </ac:picMkLst>
        </pc:picChg>
        <pc:picChg chg="mod">
          <ac:chgData name="Victor Sucasas" userId="5e9b3a00-e16d-44aa-9a74-a37ad9fec3fb" providerId="ADAL" clId="{D22957E8-4011-5845-8860-D2C9AB41C321}" dt="2026-06-20T07:51:32.077" v="7788" actId="1076"/>
          <ac:picMkLst>
            <pc:docMk/>
            <pc:sldMk cId="3001827663" sldId="2147483643"/>
            <ac:picMk id="93" creationId="{689C1EA7-7E7B-F7B2-16C3-1CFFC0654201}"/>
          </ac:picMkLst>
        </pc:picChg>
        <pc:picChg chg="mod">
          <ac:chgData name="Victor Sucasas" userId="5e9b3a00-e16d-44aa-9a74-a37ad9fec3fb" providerId="ADAL" clId="{D22957E8-4011-5845-8860-D2C9AB41C321}" dt="2026-06-20T07:51:35.738" v="7789" actId="1076"/>
          <ac:picMkLst>
            <pc:docMk/>
            <pc:sldMk cId="3001827663" sldId="2147483643"/>
            <ac:picMk id="94" creationId="{35916D93-A32E-400B-7AC8-EE43F89E8342}"/>
          </ac:picMkLst>
        </pc:picChg>
        <pc:picChg chg="mod">
          <ac:chgData name="Victor Sucasas" userId="5e9b3a00-e16d-44aa-9a74-a37ad9fec3fb" providerId="ADAL" clId="{D22957E8-4011-5845-8860-D2C9AB41C321}" dt="2026-06-20T07:51:41.852" v="7790" actId="1076"/>
          <ac:picMkLst>
            <pc:docMk/>
            <pc:sldMk cId="3001827663" sldId="2147483643"/>
            <ac:picMk id="96" creationId="{F13850F1-B4D3-026D-9BDD-077A8C3B8B1C}"/>
          </ac:picMkLst>
        </pc:picChg>
        <pc:picChg chg="mod">
          <ac:chgData name="Victor Sucasas" userId="5e9b3a00-e16d-44aa-9a74-a37ad9fec3fb" providerId="ADAL" clId="{D22957E8-4011-5845-8860-D2C9AB41C321}" dt="2026-06-20T07:51:43.775" v="7791" actId="1076"/>
          <ac:picMkLst>
            <pc:docMk/>
            <pc:sldMk cId="3001827663" sldId="2147483643"/>
            <ac:picMk id="98" creationId="{1A07F322-2CB0-EA57-35ED-0576A4D80891}"/>
          </ac:picMkLst>
        </pc:picChg>
        <pc:picChg chg="mod">
          <ac:chgData name="Victor Sucasas" userId="5e9b3a00-e16d-44aa-9a74-a37ad9fec3fb" providerId="ADAL" clId="{D22957E8-4011-5845-8860-D2C9AB41C321}" dt="2026-06-01T12:33:22.046" v="2512" actId="1076"/>
          <ac:picMkLst>
            <pc:docMk/>
            <pc:sldMk cId="3001827663" sldId="2147483643"/>
            <ac:picMk id="101" creationId="{DC129745-D1B1-31C4-F7E7-5F77546C75F1}"/>
          </ac:picMkLst>
        </pc:picChg>
        <pc:picChg chg="mod">
          <ac:chgData name="Victor Sucasas" userId="5e9b3a00-e16d-44aa-9a74-a37ad9fec3fb" providerId="ADAL" clId="{D22957E8-4011-5845-8860-D2C9AB41C321}" dt="2026-06-08T07:11:45.186" v="4754" actId="1076"/>
          <ac:picMkLst>
            <pc:docMk/>
            <pc:sldMk cId="3001827663" sldId="2147483643"/>
            <ac:picMk id="102" creationId="{09AEC9BB-A01C-6DFB-1D2D-E4E959F4846F}"/>
          </ac:picMkLst>
        </pc:picChg>
        <pc:picChg chg="mod">
          <ac:chgData name="Victor Sucasas" userId="5e9b3a00-e16d-44aa-9a74-a37ad9fec3fb" providerId="ADAL" clId="{D22957E8-4011-5845-8860-D2C9AB41C321}" dt="2026-06-01T13:16:01.563" v="3084" actId="1076"/>
          <ac:picMkLst>
            <pc:docMk/>
            <pc:sldMk cId="3001827663" sldId="2147483643"/>
            <ac:picMk id="108" creationId="{AE88AA4B-BFAC-E69F-0CFE-DAF27DCC6AB8}"/>
          </ac:picMkLst>
        </pc:picChg>
        <pc:picChg chg="mod">
          <ac:chgData name="Victor Sucasas" userId="5e9b3a00-e16d-44aa-9a74-a37ad9fec3fb" providerId="ADAL" clId="{D22957E8-4011-5845-8860-D2C9AB41C321}" dt="2026-06-08T09:59:32.041" v="6780" actId="1076"/>
          <ac:picMkLst>
            <pc:docMk/>
            <pc:sldMk cId="3001827663" sldId="2147483643"/>
            <ac:picMk id="112" creationId="{4EBE527A-40D1-853E-5CCC-A4C97660A4DC}"/>
          </ac:picMkLst>
        </pc:picChg>
        <pc:cxnChg chg="mod">
          <ac:chgData name="Victor Sucasas" userId="5e9b3a00-e16d-44aa-9a74-a37ad9fec3fb" providerId="ADAL" clId="{D22957E8-4011-5845-8860-D2C9AB41C321}" dt="2026-06-01T12:36:08.461" v="2564" actId="14100"/>
          <ac:cxnSpMkLst>
            <pc:docMk/>
            <pc:sldMk cId="3001827663" sldId="2147483643"/>
            <ac:cxnSpMk id="42" creationId="{0D62AAAE-EB65-FBF6-3957-25EA962AB886}"/>
          </ac:cxnSpMkLst>
        </pc:cxnChg>
        <pc:cxnChg chg="mod">
          <ac:chgData name="Victor Sucasas" userId="5e9b3a00-e16d-44aa-9a74-a37ad9fec3fb" providerId="ADAL" clId="{D22957E8-4011-5845-8860-D2C9AB41C321}" dt="2026-06-01T12:36:11.756" v="2565" actId="14100"/>
          <ac:cxnSpMkLst>
            <pc:docMk/>
            <pc:sldMk cId="3001827663" sldId="2147483643"/>
            <ac:cxnSpMk id="49" creationId="{AD8260CC-D76F-0E49-133D-C0E96FD79CE1}"/>
          </ac:cxnSpMkLst>
        </pc:cxnChg>
        <pc:cxnChg chg="mod">
          <ac:chgData name="Victor Sucasas" userId="5e9b3a00-e16d-44aa-9a74-a37ad9fec3fb" providerId="ADAL" clId="{D22957E8-4011-5845-8860-D2C9AB41C321}" dt="2026-06-01T12:35:25.095" v="2560" actId="692"/>
          <ac:cxnSpMkLst>
            <pc:docMk/>
            <pc:sldMk cId="3001827663" sldId="2147483643"/>
            <ac:cxnSpMk id="52" creationId="{5AF134A4-9F50-E8F3-4CD8-2904E8C7EDD3}"/>
          </ac:cxnSpMkLst>
        </pc:cxnChg>
        <pc:cxnChg chg="mod">
          <ac:chgData name="Victor Sucasas" userId="5e9b3a00-e16d-44aa-9a74-a37ad9fec3fb" providerId="ADAL" clId="{D22957E8-4011-5845-8860-D2C9AB41C321}" dt="2026-06-01T13:15:59.856" v="3083" actId="14100"/>
          <ac:cxnSpMkLst>
            <pc:docMk/>
            <pc:sldMk cId="3001827663" sldId="2147483643"/>
            <ac:cxnSpMk id="107" creationId="{0A75C422-F121-3F1D-1AA3-ACE81B3749D7}"/>
          </ac:cxnSpMkLst>
        </pc:cxnChg>
      </pc:sldChg>
      <pc:sldChg chg="addSp delSp modSp add mod modAnim">
        <pc:chgData name="Victor Sucasas" userId="5e9b3a00-e16d-44aa-9a74-a37ad9fec3fb" providerId="ADAL" clId="{D22957E8-4011-5845-8860-D2C9AB41C321}" dt="2026-06-08T13:48:47.971" v="7684" actId="14100"/>
        <pc:sldMkLst>
          <pc:docMk/>
          <pc:sldMk cId="2379140346" sldId="2147483647"/>
        </pc:sldMkLst>
        <pc:spChg chg="mod">
          <ac:chgData name="Victor Sucasas" userId="5e9b3a00-e16d-44aa-9a74-a37ad9fec3fb" providerId="ADAL" clId="{D22957E8-4011-5845-8860-D2C9AB41C321}" dt="2026-06-08T12:06:53.482" v="7492" actId="1076"/>
          <ac:spMkLst>
            <pc:docMk/>
            <pc:sldMk cId="2379140346" sldId="2147483647"/>
            <ac:spMk id="5" creationId="{B9B4D6D3-29A2-00B8-0B36-C95ED3735EF4}"/>
          </ac:spMkLst>
        </pc:spChg>
        <pc:spChg chg="mod">
          <ac:chgData name="Victor Sucasas" userId="5e9b3a00-e16d-44aa-9a74-a37ad9fec3fb" providerId="ADAL" clId="{D22957E8-4011-5845-8860-D2C9AB41C321}" dt="2026-06-08T12:06:53.482" v="7492" actId="1076"/>
          <ac:spMkLst>
            <pc:docMk/>
            <pc:sldMk cId="2379140346" sldId="2147483647"/>
            <ac:spMk id="6" creationId="{13510690-7BF3-C1B0-6852-192F1B2FAB6E}"/>
          </ac:spMkLst>
        </pc:spChg>
        <pc:spChg chg="add mod">
          <ac:chgData name="Victor Sucasas" userId="5e9b3a00-e16d-44aa-9a74-a37ad9fec3fb" providerId="ADAL" clId="{D22957E8-4011-5845-8860-D2C9AB41C321}" dt="2026-06-08T12:06:53.482" v="7492" actId="1076"/>
          <ac:spMkLst>
            <pc:docMk/>
            <pc:sldMk cId="2379140346" sldId="2147483647"/>
            <ac:spMk id="14" creationId="{4C22D2DC-B49C-BEC6-E946-1FF857824E03}"/>
          </ac:spMkLst>
        </pc:spChg>
        <pc:spChg chg="add mod">
          <ac:chgData name="Victor Sucasas" userId="5e9b3a00-e16d-44aa-9a74-a37ad9fec3fb" providerId="ADAL" clId="{D22957E8-4011-5845-8860-D2C9AB41C321}" dt="2026-06-08T12:06:53.482" v="7492" actId="1076"/>
          <ac:spMkLst>
            <pc:docMk/>
            <pc:sldMk cId="2379140346" sldId="2147483647"/>
            <ac:spMk id="16" creationId="{33D3E173-4985-5895-E397-E4CE28792127}"/>
          </ac:spMkLst>
        </pc:spChg>
        <pc:spChg chg="add mod">
          <ac:chgData name="Victor Sucasas" userId="5e9b3a00-e16d-44aa-9a74-a37ad9fec3fb" providerId="ADAL" clId="{D22957E8-4011-5845-8860-D2C9AB41C321}" dt="2026-06-08T12:06:53.482" v="7492" actId="1076"/>
          <ac:spMkLst>
            <pc:docMk/>
            <pc:sldMk cId="2379140346" sldId="2147483647"/>
            <ac:spMk id="18" creationId="{9F80D334-BE21-5A02-DC73-F1289468CBDA}"/>
          </ac:spMkLst>
        </pc:spChg>
        <pc:spChg chg="add mod">
          <ac:chgData name="Victor Sucasas" userId="5e9b3a00-e16d-44aa-9a74-a37ad9fec3fb" providerId="ADAL" clId="{D22957E8-4011-5845-8860-D2C9AB41C321}" dt="2026-06-08T13:34:23.868" v="7608" actId="1076"/>
          <ac:spMkLst>
            <pc:docMk/>
            <pc:sldMk cId="2379140346" sldId="2147483647"/>
            <ac:spMk id="25" creationId="{E66B9437-67CC-FBA2-05EF-BAF973763698}"/>
          </ac:spMkLst>
        </pc:spChg>
        <pc:spChg chg="add mod">
          <ac:chgData name="Victor Sucasas" userId="5e9b3a00-e16d-44aa-9a74-a37ad9fec3fb" providerId="ADAL" clId="{D22957E8-4011-5845-8860-D2C9AB41C321}" dt="2026-06-08T13:34:16.336" v="7605" actId="1076"/>
          <ac:spMkLst>
            <pc:docMk/>
            <pc:sldMk cId="2379140346" sldId="2147483647"/>
            <ac:spMk id="50" creationId="{27AB32D2-4A67-E76A-D47F-0FEE22175BCC}"/>
          </ac:spMkLst>
        </pc:spChg>
        <pc:spChg chg="mod">
          <ac:chgData name="Victor Sucasas" userId="5e9b3a00-e16d-44aa-9a74-a37ad9fec3fb" providerId="ADAL" clId="{D22957E8-4011-5845-8860-D2C9AB41C321}" dt="2026-06-01T12:11:10.772" v="2379" actId="404"/>
          <ac:spMkLst>
            <pc:docMk/>
            <pc:sldMk cId="2379140346" sldId="2147483647"/>
            <ac:spMk id="56" creationId="{5A09F4D5-C239-5CAC-BBC1-BF07611815AA}"/>
          </ac:spMkLst>
        </pc:spChg>
        <pc:spChg chg="add mod">
          <ac:chgData name="Victor Sucasas" userId="5e9b3a00-e16d-44aa-9a74-a37ad9fec3fb" providerId="ADAL" clId="{D22957E8-4011-5845-8860-D2C9AB41C321}" dt="2026-06-08T13:34:11.809" v="7604" actId="207"/>
          <ac:spMkLst>
            <pc:docMk/>
            <pc:sldMk cId="2379140346" sldId="2147483647"/>
            <ac:spMk id="60" creationId="{6CBB3647-D9AC-CDF9-2611-176BD6F08E6A}"/>
          </ac:spMkLst>
        </pc:spChg>
        <pc:picChg chg="add mod">
          <ac:chgData name="Victor Sucasas" userId="5e9b3a00-e16d-44aa-9a74-a37ad9fec3fb" providerId="ADAL" clId="{D22957E8-4011-5845-8860-D2C9AB41C321}" dt="2026-06-08T12:06:53.482" v="7492" actId="1076"/>
          <ac:picMkLst>
            <pc:docMk/>
            <pc:sldMk cId="2379140346" sldId="2147483647"/>
            <ac:picMk id="11" creationId="{2FE73499-7F14-DED2-2364-96565D309359}"/>
          </ac:picMkLst>
        </pc:picChg>
        <pc:picChg chg="add mod">
          <ac:chgData name="Victor Sucasas" userId="5e9b3a00-e16d-44aa-9a74-a37ad9fec3fb" providerId="ADAL" clId="{D22957E8-4011-5845-8860-D2C9AB41C321}" dt="2026-06-01T10:08:53.209" v="1719" actId="1076"/>
          <ac:picMkLst>
            <pc:docMk/>
            <pc:sldMk cId="2379140346" sldId="2147483647"/>
            <ac:picMk id="13" creationId="{95BDD54F-B928-DBDB-76EF-0F3DFE58790F}"/>
          </ac:picMkLst>
        </pc:picChg>
        <pc:picChg chg="add mod">
          <ac:chgData name="Victor Sucasas" userId="5e9b3a00-e16d-44aa-9a74-a37ad9fec3fb" providerId="ADAL" clId="{D22957E8-4011-5845-8860-D2C9AB41C321}" dt="2026-06-01T10:08:53.209" v="1719" actId="1076"/>
          <ac:picMkLst>
            <pc:docMk/>
            <pc:sldMk cId="2379140346" sldId="2147483647"/>
            <ac:picMk id="15" creationId="{FB51CE72-EE90-C307-D4C9-A167FA2EE7B4}"/>
          </ac:picMkLst>
        </pc:picChg>
        <pc:picChg chg="add mod">
          <ac:chgData name="Victor Sucasas" userId="5e9b3a00-e16d-44aa-9a74-a37ad9fec3fb" providerId="ADAL" clId="{D22957E8-4011-5845-8860-D2C9AB41C321}" dt="2026-06-01T10:02:59.655" v="1576" actId="1076"/>
          <ac:picMkLst>
            <pc:docMk/>
            <pc:sldMk cId="2379140346" sldId="2147483647"/>
            <ac:picMk id="17" creationId="{CCD8921C-85EC-E276-4C79-5BD915AB70A5}"/>
          </ac:picMkLst>
        </pc:picChg>
        <pc:picChg chg="add mod">
          <ac:chgData name="Victor Sucasas" userId="5e9b3a00-e16d-44aa-9a74-a37ad9fec3fb" providerId="ADAL" clId="{D22957E8-4011-5845-8860-D2C9AB41C321}" dt="2026-06-08T10:11:08.308" v="6983" actId="1076"/>
          <ac:picMkLst>
            <pc:docMk/>
            <pc:sldMk cId="2379140346" sldId="2147483647"/>
            <ac:picMk id="20" creationId="{6DD842BB-2D5C-13B2-69B8-B90BFFC8CD78}"/>
          </ac:picMkLst>
        </pc:picChg>
        <pc:picChg chg="add mod">
          <ac:chgData name="Victor Sucasas" userId="5e9b3a00-e16d-44aa-9a74-a37ad9fec3fb" providerId="ADAL" clId="{D22957E8-4011-5845-8860-D2C9AB41C321}" dt="2026-06-01T10:15:58.712" v="2204" actId="1076"/>
          <ac:picMkLst>
            <pc:docMk/>
            <pc:sldMk cId="2379140346" sldId="2147483647"/>
            <ac:picMk id="29" creationId="{A228DEDE-5948-87DC-70BB-3F4AB319ECFE}"/>
          </ac:picMkLst>
        </pc:picChg>
        <pc:picChg chg="add mod">
          <ac:chgData name="Victor Sucasas" userId="5e9b3a00-e16d-44aa-9a74-a37ad9fec3fb" providerId="ADAL" clId="{D22957E8-4011-5845-8860-D2C9AB41C321}" dt="2026-06-01T10:15:58.712" v="2204" actId="1076"/>
          <ac:picMkLst>
            <pc:docMk/>
            <pc:sldMk cId="2379140346" sldId="2147483647"/>
            <ac:picMk id="30" creationId="{48335DB7-7E5C-3457-6819-407268DF83A7}"/>
          </ac:picMkLst>
        </pc:picChg>
        <pc:picChg chg="add mod">
          <ac:chgData name="Victor Sucasas" userId="5e9b3a00-e16d-44aa-9a74-a37ad9fec3fb" providerId="ADAL" clId="{D22957E8-4011-5845-8860-D2C9AB41C321}" dt="2026-06-08T12:06:53.482" v="7492" actId="1076"/>
          <ac:picMkLst>
            <pc:docMk/>
            <pc:sldMk cId="2379140346" sldId="2147483647"/>
            <ac:picMk id="35" creationId="{CEC230BF-BAD4-CDF3-5FA2-2347E4216651}"/>
          </ac:picMkLst>
        </pc:picChg>
        <pc:picChg chg="add mod">
          <ac:chgData name="Victor Sucasas" userId="5e9b3a00-e16d-44aa-9a74-a37ad9fec3fb" providerId="ADAL" clId="{D22957E8-4011-5845-8860-D2C9AB41C321}" dt="2026-06-08T10:11:08.308" v="6983" actId="1076"/>
          <ac:picMkLst>
            <pc:docMk/>
            <pc:sldMk cId="2379140346" sldId="2147483647"/>
            <ac:picMk id="51" creationId="{E731D28D-2940-CD19-D2A8-9CED6CF626C8}"/>
          </ac:picMkLst>
        </pc:picChg>
        <pc:picChg chg="add mod">
          <ac:chgData name="Victor Sucasas" userId="5e9b3a00-e16d-44aa-9a74-a37ad9fec3fb" providerId="ADAL" clId="{D22957E8-4011-5845-8860-D2C9AB41C321}" dt="2026-06-01T12:30:10.641" v="2482" actId="1076"/>
          <ac:picMkLst>
            <pc:docMk/>
            <pc:sldMk cId="2379140346" sldId="2147483647"/>
            <ac:picMk id="53" creationId="{A5FE2A60-4419-D462-2817-9A58CE95CAF6}"/>
          </ac:picMkLst>
        </pc:picChg>
        <pc:picChg chg="add mod">
          <ac:chgData name="Victor Sucasas" userId="5e9b3a00-e16d-44aa-9a74-a37ad9fec3fb" providerId="ADAL" clId="{D22957E8-4011-5845-8860-D2C9AB41C321}" dt="2026-06-08T13:33:59.123" v="7592" actId="1076"/>
          <ac:picMkLst>
            <pc:docMk/>
            <pc:sldMk cId="2379140346" sldId="2147483647"/>
            <ac:picMk id="59" creationId="{B70D9EAD-5996-B355-E444-7EB81B773D80}"/>
          </ac:picMkLst>
        </pc:picChg>
        <pc:cxnChg chg="add mod">
          <ac:chgData name="Victor Sucasas" userId="5e9b3a00-e16d-44aa-9a74-a37ad9fec3fb" providerId="ADAL" clId="{D22957E8-4011-5845-8860-D2C9AB41C321}" dt="2026-06-01T10:03:10.434" v="1579" actId="14100"/>
          <ac:cxnSpMkLst>
            <pc:docMk/>
            <pc:sldMk cId="2379140346" sldId="2147483647"/>
            <ac:cxnSpMk id="19" creationId="{C12D964D-6598-A2D6-4B8C-9400E80323CB}"/>
          </ac:cxnSpMkLst>
        </pc:cxnChg>
        <pc:cxnChg chg="add mod">
          <ac:chgData name="Victor Sucasas" userId="5e9b3a00-e16d-44aa-9a74-a37ad9fec3fb" providerId="ADAL" clId="{D22957E8-4011-5845-8860-D2C9AB41C321}" dt="2026-06-01T10:03:15.280" v="1582" actId="14100"/>
          <ac:cxnSpMkLst>
            <pc:docMk/>
            <pc:sldMk cId="2379140346" sldId="2147483647"/>
            <ac:cxnSpMk id="22" creationId="{E554DF71-FB8E-A1B1-3274-67DAB50B6AC7}"/>
          </ac:cxnSpMkLst>
        </pc:cxnChg>
        <pc:cxnChg chg="add mod">
          <ac:chgData name="Victor Sucasas" userId="5e9b3a00-e16d-44aa-9a74-a37ad9fec3fb" providerId="ADAL" clId="{D22957E8-4011-5845-8860-D2C9AB41C321}" dt="2026-06-01T10:03:58.260" v="1635" actId="14100"/>
          <ac:cxnSpMkLst>
            <pc:docMk/>
            <pc:sldMk cId="2379140346" sldId="2147483647"/>
            <ac:cxnSpMk id="26" creationId="{CC0DCEF5-9E18-2130-2F60-D54B4549103F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6/23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0E8E9C-C2F5-FF2B-5455-37D26C66C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58A2A6-0E0C-7385-E3B9-81FA9AF504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DEA773-894F-DCAC-ADB8-1A1E0939E4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D7A674-0B4B-F833-4EAF-E5A1728CD8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E99CC-7753-47F1-B8DE-3BF2CFBA0A59}" type="slidenum">
              <a:rPr lang="en-AE" smtClean="0"/>
              <a:t>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882864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BFFE33-AFCA-19D5-93B5-8ADD52885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F0C86F-AC34-1534-4F1A-B58CD6A681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741105-515D-CEAE-5655-CF8A511F49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D6DBF1-9086-7D52-BCB0-6AE653A6F9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01682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B436D-A2AF-8120-5FC7-4717B0AA1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4655EE-0E1E-81B2-2B5E-DF38B6CD77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2E3B3D-EDC4-129E-19DB-DB876C2481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C16B4A-3180-E4DB-C3C3-1B0F732861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96693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135C42-B265-E1B7-918D-B631F8F0A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296E2E-7F09-C043-070E-E55D272DBE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549E09-F33E-DD88-EF96-1F5658D729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2DE408-EEC0-563F-DF5E-5010CA20A1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4047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D3922B-4C61-255B-4CD3-CE9DA7FC34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E7CB8A-10F0-FEE6-D7A8-580C763D10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E96DAC-7B82-1AE7-0C1D-25E52C0151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52ED5-BC0E-36A9-F2FB-F81B1258FB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36504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73D97C-D9EB-353D-1E9F-E08C9F90CD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153163-E65E-CE16-5A13-861877A0C9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48CC16-F9EC-DF16-8127-EE54524EF8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63A1F-B59F-D580-3704-CA8873F37F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6893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25B9C-3214-28EE-6733-1DBDDCACB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61B51-CB92-9384-3CF2-AC173920A3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2E1B3C-9FE6-B8E6-FB39-A9E9E96107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C8C7A9-8017-9A30-87EA-E3F89A9530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2936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55281D-BE5C-DD02-169D-1ABD52D29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547B0F-0196-83A4-EAAF-1818A1D5EE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6F134C-4913-89D4-628E-FE90AD4494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0B8A5E-7730-0AF0-8B90-C519073A5B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2774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8389D-4251-8FBD-A9F0-29F82BC6F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DCB95D-D8BC-E3CA-A9C7-4FE32042BF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F2317B-0668-BA6D-714E-BB4181760C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9772CE-CEC6-FAD5-7FFF-0AAB8974F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2499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986792-1167-1915-D214-D31D19128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9CBB96-325D-DD6A-5AD1-6CA6E05BAF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B5B15D-BEF0-FC69-ED4E-EB58576BBE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EDAE3-7384-536D-0F7B-FFE7D67B94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49458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3A07E-BDCD-86B1-9E2F-6F6A1BFE0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7E757-8AA8-DF05-675D-361ACB2F12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F672B0-156B-C36C-41C3-28FC490DF7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98722E-F918-040B-A6A9-E27B818C38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6869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3F7C67-B252-805B-6BEA-2C41F03D2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CD45FE-A659-1E23-ED5C-0ACFA5B819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7FE57E-DB49-4431-7914-A9A623B9D9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A93C22-EF78-FB2C-AD20-30F2401272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3572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8D9A8-0430-BE2E-97CE-94BFC4CED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918E01-8AAB-EAF9-0D5F-2F48102AA3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4AC3DD-21EE-3E7F-9140-071436CD76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19D2C2-D103-1CF9-0478-2830D5F4E8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8538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6515B6-9D13-80EC-A4B1-1B118B997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437DC3-8969-E7A7-E760-D53A98C123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31E26A-1420-FFC6-89AB-F1644B8776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74245E-238A-6278-4831-01251D3D9F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42833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2C851-290C-FC69-E35C-18A8C1CD1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994120-426F-4471-8A41-15D398BBA9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BC9700-498C-824A-3F7A-C7DFEA8545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EF453-A93B-F9A5-AF08-3E8CF94DAA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5102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64C54-94D9-C679-C39F-763DEE49F9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42BB2D-86BC-1E08-F78B-E1AAF9C4DA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E1A28A-3E5D-9900-2E8D-F53B45193F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8FA1B-01C4-82EC-A671-C866C4F8F6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94552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C9506-8109-DCC4-3140-499892D93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237FBD-0556-6D9D-E588-E8165EB082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413DA4-BC98-CA47-C142-2165B4BCB7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EF1C7-7EB1-E857-B11D-D45A69E333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6943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76832F-F1A5-F6AC-9BFA-EC61A8EC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572ACE-A005-C549-7B5A-552590BA69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00BB1A-DB50-0C37-2A31-AFFA97BF41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2C792F-105B-7B6A-6FDF-0C0690BCD2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0444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6E015B-1E31-BD2D-18B0-505D39A8C9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398BEB-618A-A3A4-8B9D-660DC77195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5CB4E4-30F1-8AC1-DD00-938214EF89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6CEB82-7980-69D1-972B-84454CE6FE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045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B297B-44D0-F9C2-6A38-B7E71778E6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7B3B5D-60C7-17B4-32A3-C07E47146B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12A4E6-4FF4-D1CE-F6B2-8EFBD810A6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1BD369-E45C-7F8D-8853-006A11220C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0776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56F28F-7AB9-0E55-749E-12B951856D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7D9FB9-EABE-4838-9A1A-69609BA20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1E828B-10B5-0C2C-3FA8-862CC318DF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FFB2D7-7057-7F64-F980-5B0060246E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88836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15BC4-8859-B903-927A-B7E2FEE47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469ED8-5C5D-8BB7-685F-A43D735B2B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CAEE1C-785F-8FE9-26EC-F2A0B06C98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9E07E7-79DB-85EF-A08D-FA53949382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8663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E4577-2E2F-9C16-C1EF-5D79967AF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833817-D566-B6FB-3C0B-2A2161617F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868751-A58A-7F04-A026-C029285D63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0E1F3D-F31C-1F76-9758-C96CBA5D2E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95311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69AEF-3915-7D50-062C-36425CE29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88F6F7-53CE-1C29-2A19-A3C17C7646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2C56C6-5927-E4E2-447A-193910947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67D4A4-02ED-B8BD-BF06-FC52A113D8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B2782-2960-41E3-A120-70E9B22BE6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140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hyperlink" Target="https://youtube.com/KearneyOfficial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www.linkedin.com/company/kearney" TargetMode="External"/><Relationship Id="rId12" Type="http://schemas.openxmlformats.org/officeDocument/2006/relationships/image" Target="../media/image5.svg"/><Relationship Id="rId2" Type="http://schemas.openxmlformats.org/officeDocument/2006/relationships/tags" Target="../tags/tag25.xml"/><Relationship Id="rId16" Type="http://schemas.openxmlformats.org/officeDocument/2006/relationships/image" Target="../media/image7.png"/><Relationship Id="rId1" Type="http://schemas.openxmlformats.org/officeDocument/2006/relationships/tags" Target="../tags/tag24.xml"/><Relationship Id="rId6" Type="http://schemas.openxmlformats.org/officeDocument/2006/relationships/image" Target="../media/image2.emf"/><Relationship Id="rId11" Type="http://schemas.openxmlformats.org/officeDocument/2006/relationships/hyperlink" Target="https://twitter.com/Kearney" TargetMode="External"/><Relationship Id="rId5" Type="http://schemas.openxmlformats.org/officeDocument/2006/relationships/image" Target="../media/image1.emf"/><Relationship Id="rId15" Type="http://schemas.openxmlformats.org/officeDocument/2006/relationships/hyperlink" Target="https://www.facebook.com/Kearney/" TargetMode="External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2.bin"/><Relationship Id="rId9" Type="http://schemas.openxmlformats.org/officeDocument/2006/relationships/hyperlink" Target="https://www.instagram.com/kearneyofficial/" TargetMode="External"/><Relationship Id="rId1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672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616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us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56CE364-DD70-A1D5-0328-D917E25A6C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white dotted line in a black background&#10;&#10;Description automatically generated">
            <a:extLst>
              <a:ext uri="{FF2B5EF4-FFF2-40B4-BE49-F238E27FC236}">
                <a16:creationId xmlns:a16="http://schemas.microsoft.com/office/drawing/2014/main" id="{6FA78C57-9E0C-36DC-67A9-B0CF61E98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91" t="14612" r="25893" b="23024"/>
          <a:stretch/>
        </p:blipFill>
        <p:spPr>
          <a:xfrm>
            <a:off x="1" y="0"/>
            <a:ext cx="12191999" cy="6858001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C55CF9-A99B-903F-9AE0-9751FED299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9263" y="2662238"/>
            <a:ext cx="7480300" cy="352901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8000" b="1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1F07A34-13DF-9C7A-2E46-99FF32B96286}"/>
              </a:ext>
            </a:extLst>
          </p:cNvPr>
          <p:cNvGrpSpPr/>
          <p:nvPr userDrawn="1"/>
        </p:nvGrpSpPr>
        <p:grpSpPr>
          <a:xfrm>
            <a:off x="459579" y="685800"/>
            <a:ext cx="2653292" cy="1125639"/>
            <a:chOff x="27671456" y="-6603999"/>
            <a:chExt cx="11892864" cy="5015951"/>
          </a:xfrm>
        </p:grpSpPr>
        <p:sp>
          <p:nvSpPr>
            <p:cNvPr id="7" name="Free-form: Shape 6">
              <a:extLst>
                <a:ext uri="{FF2B5EF4-FFF2-40B4-BE49-F238E27FC236}">
                  <a16:creationId xmlns:a16="http://schemas.microsoft.com/office/drawing/2014/main" id="{94459AAB-022B-1D38-AEFB-8C8EB830C7E3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9" name="Free-form: Shape 8">
              <a:extLst>
                <a:ext uri="{FF2B5EF4-FFF2-40B4-BE49-F238E27FC236}">
                  <a16:creationId xmlns:a16="http://schemas.microsoft.com/office/drawing/2014/main" id="{CD59705A-8111-2D78-6D01-94195EC891F8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0" name="Free-form: Shape 9">
              <a:extLst>
                <a:ext uri="{FF2B5EF4-FFF2-40B4-BE49-F238E27FC236}">
                  <a16:creationId xmlns:a16="http://schemas.microsoft.com/office/drawing/2014/main" id="{BA779F23-5F86-1EE7-DFBA-744F7BC3BE80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1" name="Free-form: Shape 10">
              <a:extLst>
                <a:ext uri="{FF2B5EF4-FFF2-40B4-BE49-F238E27FC236}">
                  <a16:creationId xmlns:a16="http://schemas.microsoft.com/office/drawing/2014/main" id="{66BECE85-BA02-8012-AD9C-9C6075FE994E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75234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147D9E0-B335-747C-F882-A596B65042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C17C27-D277-D491-3404-E54A9A1D23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604" t="13" b="55172"/>
          <a:stretch/>
        </p:blipFill>
        <p:spPr>
          <a:xfrm flipH="1">
            <a:off x="7192704" y="2892064"/>
            <a:ext cx="4999295" cy="3965936"/>
          </a:xfrm>
          <a:prstGeom prst="rect">
            <a:avLst/>
          </a:prstGeom>
        </p:spPr>
      </p:pic>
      <p:pic>
        <p:nvPicPr>
          <p:cNvPr id="3" name="Picture 2" descr="A white dotted line in a black background&#10;&#10;Description automatically generated">
            <a:extLst>
              <a:ext uri="{FF2B5EF4-FFF2-40B4-BE49-F238E27FC236}">
                <a16:creationId xmlns:a16="http://schemas.microsoft.com/office/drawing/2014/main" id="{6FA78C57-9E0C-36DC-67A9-B0CF61E98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91" t="14612" r="25893" b="23024"/>
          <a:stretch/>
        </p:blipFill>
        <p:spPr>
          <a:xfrm>
            <a:off x="1" y="0"/>
            <a:ext cx="12191999" cy="6858001"/>
          </a:xfrm>
          <a:prstGeom prst="rect">
            <a:avLst/>
          </a:prstGeom>
        </p:spPr>
      </p:pic>
      <p:pic>
        <p:nvPicPr>
          <p:cNvPr id="6" name="Picture 5" descr="A white dotted line in a black background&#10;&#10;Description automatically generated">
            <a:extLst>
              <a:ext uri="{FF2B5EF4-FFF2-40B4-BE49-F238E27FC236}">
                <a16:creationId xmlns:a16="http://schemas.microsoft.com/office/drawing/2014/main" id="{19A4B9CA-DA9C-E0FA-C18E-B3C5648C8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91" t="14612" r="25893" b="23024"/>
          <a:stretch/>
        </p:blipFill>
        <p:spPr>
          <a:xfrm>
            <a:off x="0" y="0"/>
            <a:ext cx="12191999" cy="6858001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893013E-A71E-3E8F-A32F-785E6DA8DB7F}"/>
              </a:ext>
            </a:extLst>
          </p:cNvPr>
          <p:cNvGrpSpPr/>
          <p:nvPr userDrawn="1"/>
        </p:nvGrpSpPr>
        <p:grpSpPr>
          <a:xfrm>
            <a:off x="4769354" y="1432035"/>
            <a:ext cx="2653292" cy="1125639"/>
            <a:chOff x="27671456" y="-6603999"/>
            <a:chExt cx="11892864" cy="5015951"/>
          </a:xfrm>
        </p:grpSpPr>
        <p:sp>
          <p:nvSpPr>
            <p:cNvPr id="15" name="Free-form: Shape 14">
              <a:extLst>
                <a:ext uri="{FF2B5EF4-FFF2-40B4-BE49-F238E27FC236}">
                  <a16:creationId xmlns:a16="http://schemas.microsoft.com/office/drawing/2014/main" id="{68DC257F-9E4B-FDD6-529D-47CDB579A548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6" name="Free-form: Shape 15">
              <a:extLst>
                <a:ext uri="{FF2B5EF4-FFF2-40B4-BE49-F238E27FC236}">
                  <a16:creationId xmlns:a16="http://schemas.microsoft.com/office/drawing/2014/main" id="{02EBF81C-1486-51A8-3562-D1B0003252D1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7" name="Free-form: Shape 16">
              <a:extLst>
                <a:ext uri="{FF2B5EF4-FFF2-40B4-BE49-F238E27FC236}">
                  <a16:creationId xmlns:a16="http://schemas.microsoft.com/office/drawing/2014/main" id="{BA61ED93-55A6-BAD7-A16B-C0BBDBAB7753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8" name="Free-form: Shape 17">
              <a:extLst>
                <a:ext uri="{FF2B5EF4-FFF2-40B4-BE49-F238E27FC236}">
                  <a16:creationId xmlns:a16="http://schemas.microsoft.com/office/drawing/2014/main" id="{E2D8CBC1-2885-D4C0-641E-A598E3774398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0461454-C07E-F36A-C81A-1F901283E4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40973" y="3697811"/>
            <a:ext cx="7480300" cy="112563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6600" b="1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2479870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147D9E0-B335-747C-F882-A596B65042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C17C27-D277-D491-3404-E54A9A1D23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604" t="13" b="55172"/>
          <a:stretch/>
        </p:blipFill>
        <p:spPr>
          <a:xfrm flipH="1">
            <a:off x="4424855" y="696332"/>
            <a:ext cx="7767144" cy="616166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893013E-A71E-3E8F-A32F-785E6DA8DB7F}"/>
              </a:ext>
            </a:extLst>
          </p:cNvPr>
          <p:cNvGrpSpPr/>
          <p:nvPr userDrawn="1"/>
        </p:nvGrpSpPr>
        <p:grpSpPr>
          <a:xfrm>
            <a:off x="457200" y="692150"/>
            <a:ext cx="2653292" cy="1125639"/>
            <a:chOff x="27671456" y="-6603999"/>
            <a:chExt cx="11892864" cy="5015951"/>
          </a:xfrm>
        </p:grpSpPr>
        <p:sp>
          <p:nvSpPr>
            <p:cNvPr id="15" name="Free-form: Shape 14">
              <a:extLst>
                <a:ext uri="{FF2B5EF4-FFF2-40B4-BE49-F238E27FC236}">
                  <a16:creationId xmlns:a16="http://schemas.microsoft.com/office/drawing/2014/main" id="{68DC257F-9E4B-FDD6-529D-47CDB579A548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6" name="Free-form: Shape 15">
              <a:extLst>
                <a:ext uri="{FF2B5EF4-FFF2-40B4-BE49-F238E27FC236}">
                  <a16:creationId xmlns:a16="http://schemas.microsoft.com/office/drawing/2014/main" id="{02EBF81C-1486-51A8-3562-D1B0003252D1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7" name="Free-form: Shape 16">
              <a:extLst>
                <a:ext uri="{FF2B5EF4-FFF2-40B4-BE49-F238E27FC236}">
                  <a16:creationId xmlns:a16="http://schemas.microsoft.com/office/drawing/2014/main" id="{BA61ED93-55A6-BAD7-A16B-C0BBDBAB7753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8" name="Free-form: Shape 17">
              <a:extLst>
                <a:ext uri="{FF2B5EF4-FFF2-40B4-BE49-F238E27FC236}">
                  <a16:creationId xmlns:a16="http://schemas.microsoft.com/office/drawing/2014/main" id="{E2D8CBC1-2885-D4C0-641E-A598E3774398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0461454-C07E-F36A-C81A-1F901283E4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697811"/>
            <a:ext cx="7480300" cy="112563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8000" b="1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353499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9709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319294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2546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412875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524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013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8001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DEC71-4DD6-4DF6-BCAF-2E2E1CED7F8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9781C3-0962-F9C2-D3B4-74566AA301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9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765175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765175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1721833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1721833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805054"/>
            <a:ext cx="5715000" cy="2877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 permitted upon prior written consent of KEARNEY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2678492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2678492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19352E-21F1-4375-A6D4-65010E3C6CC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1000" y="3816948"/>
            <a:ext cx="5715000" cy="5333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1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GB" sz="1100" b="0"/>
              <a:t>Kearney is a leading global management consulting firm. For nearly 100 years, we have been a trusted advisor to C-suites, government bodies, and nonprofit organizations. Our people make us who we are. Driven to be the difference between a big idea and making it happen, we work alongside our clients to regenerate their businesses to create a future that works for everyone.</a:t>
            </a:r>
            <a:r>
              <a:rPr lang="en-US" sz="1100" b="0"/>
              <a:t> </a:t>
            </a:r>
            <a:endParaRPr lang="cs-CZ" sz="1100" b="0"/>
          </a:p>
          <a:p>
            <a:pPr>
              <a:spcBef>
                <a:spcPts val="300"/>
              </a:spcBef>
            </a:pPr>
            <a:r>
              <a:rPr lang="en-US" sz="1100"/>
              <a:t>www.kearney.co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E9F5617-7080-4BB2-94B0-F0A05C5823F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6715" y="4953000"/>
            <a:ext cx="2654300" cy="278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2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Stay connected with Kearney</a:t>
            </a:r>
          </a:p>
        </p:txBody>
      </p:sp>
      <p:pic>
        <p:nvPicPr>
          <p:cNvPr id="16" name="Picture 15" descr="A drawing of a face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C42EED9A-93D2-4111-93FB-44E62B46F22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4048" y="5181600"/>
            <a:ext cx="359237" cy="359237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C2A7E718-FD1D-4AFE-ACE9-92725F57635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69018" y="5181600"/>
            <a:ext cx="359237" cy="359237"/>
          </a:xfrm>
          <a:prstGeom prst="rect">
            <a:avLst/>
          </a:prstGeom>
        </p:spPr>
      </p:pic>
      <p:pic>
        <p:nvPicPr>
          <p:cNvPr id="18" name="Picture 17">
            <a:hlinkClick r:id="rId11"/>
            <a:extLst>
              <a:ext uri="{FF2B5EF4-FFF2-40B4-BE49-F238E27FC236}">
                <a16:creationId xmlns:a16="http://schemas.microsoft.com/office/drawing/2014/main" id="{1541D422-6334-4123-9AF4-77A42EF533E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 bwMode="gray">
          <a:xfrm>
            <a:off x="1345905" y="5181600"/>
            <a:ext cx="359237" cy="359237"/>
          </a:xfrm>
          <a:prstGeom prst="rect">
            <a:avLst/>
          </a:prstGeom>
        </p:spPr>
      </p:pic>
      <p:pic>
        <p:nvPicPr>
          <p:cNvPr id="26" name="Picture 25" descr="A picture containing drawing&#10;&#10;Description automatically generated">
            <a:hlinkClick r:id="rId13"/>
            <a:extLst>
              <a:ext uri="{FF2B5EF4-FFF2-40B4-BE49-F238E27FC236}">
                <a16:creationId xmlns:a16="http://schemas.microsoft.com/office/drawing/2014/main" id="{A7CEEB1C-EE1B-439A-9586-F4EE1C8640A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07763" y="5181600"/>
            <a:ext cx="359237" cy="359237"/>
          </a:xfrm>
          <a:prstGeom prst="rect">
            <a:avLst/>
          </a:prstGeom>
        </p:spPr>
      </p:pic>
      <p:pic>
        <p:nvPicPr>
          <p:cNvPr id="27" name="Picture 26" descr="A drawing of a face&#10;&#10;Description automatically generated">
            <a:hlinkClick r:id="rId15"/>
            <a:extLst>
              <a:ext uri="{FF2B5EF4-FFF2-40B4-BE49-F238E27FC236}">
                <a16:creationId xmlns:a16="http://schemas.microsoft.com/office/drawing/2014/main" id="{1294260F-3AED-47F6-A8CE-9E3083AD421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2793" y="5181600"/>
            <a:ext cx="359237" cy="35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132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ver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1CF383-1977-3518-2AFA-6746A7660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879157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1CF383-1977-3518-2AFA-6746A7660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2BF17DB-5F18-C443-BD0E-13AB4BA421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9" y="6070608"/>
            <a:ext cx="8462436" cy="5913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7668" marR="3068" indent="0" defTabSz="1213866" rtl="0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59" b="0">
                <a:solidFill>
                  <a:srgbClr val="75787B"/>
                </a:solidFill>
              </a:defRPr>
            </a:lvl1pPr>
            <a:lvl2pPr>
              <a:defRPr sz="1859" b="0">
                <a:solidFill>
                  <a:srgbClr val="75787B"/>
                </a:solidFill>
              </a:defRPr>
            </a:lvl2pPr>
            <a:lvl3pPr>
              <a:defRPr sz="1859" b="0">
                <a:solidFill>
                  <a:srgbClr val="75787B"/>
                </a:solidFill>
              </a:defRPr>
            </a:lvl3pPr>
            <a:lvl4pPr>
              <a:defRPr sz="1859" b="0">
                <a:solidFill>
                  <a:srgbClr val="75787B"/>
                </a:solidFill>
              </a:defRPr>
            </a:lvl4pPr>
            <a:lvl5pPr>
              <a:defRPr sz="1859" b="0">
                <a:solidFill>
                  <a:srgbClr val="75787B"/>
                </a:solidFill>
              </a:defRPr>
            </a:lvl5pPr>
          </a:lstStyle>
          <a:p>
            <a:pPr marL="7668" marR="3068" lvl="0" indent="0" defTabSz="1213866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 </a:t>
            </a:r>
            <a:r>
              <a:rPr kumimoji="0" lang="en-US" sz="1593" b="1" i="0" u="none" strike="noStrike" kern="0" cap="none" spc="9" normalizeH="0" baseline="0" noProof="0" err="1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</a:t>
            </a:r>
            <a:b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arch</a:t>
            </a:r>
            <a:r>
              <a:rPr kumimoji="0" lang="en-US" sz="1593" b="1" i="0" u="none" strike="noStrike" kern="0" cap="none" spc="-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nt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0C2C538-1E67-F345-BCCA-121A134E2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3DDDD10-A049-EF03-5888-DD2232B0B6EC}"/>
              </a:ext>
            </a:extLst>
          </p:cNvPr>
          <p:cNvSpPr/>
          <p:nvPr userDrawn="1"/>
        </p:nvSpPr>
        <p:spPr>
          <a:xfrm>
            <a:off x="127000" y="196063"/>
            <a:ext cx="2628900" cy="1810537"/>
          </a:xfrm>
          <a:prstGeom prst="rect">
            <a:avLst/>
          </a:prstGeom>
          <a:solidFill>
            <a:srgbClr val="1F36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C8C62A-9953-BCAA-4423-658E26F36CC6}"/>
              </a:ext>
            </a:extLst>
          </p:cNvPr>
          <p:cNvSpPr/>
          <p:nvPr userDrawn="1"/>
        </p:nvSpPr>
        <p:spPr>
          <a:xfrm>
            <a:off x="10185400" y="6070608"/>
            <a:ext cx="1917700" cy="591329"/>
          </a:xfrm>
          <a:prstGeom prst="rect">
            <a:avLst/>
          </a:prstGeom>
          <a:solidFill>
            <a:srgbClr val="1F36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846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over Image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7C99428-E51B-D80B-E611-857B6544A4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11795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C99428-E51B-D80B-E611-857B6544A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7A53DA9E-52B1-6E42-8586-85D89AC12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B8C1FC8-4787-584B-B931-0B1CA37ABC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9" y="6070608"/>
            <a:ext cx="8462436" cy="5913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7668" marR="3068" indent="0" defTabSz="1213866" rtl="0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59" b="0">
                <a:solidFill>
                  <a:srgbClr val="75787B"/>
                </a:solidFill>
              </a:defRPr>
            </a:lvl1pPr>
            <a:lvl2pPr>
              <a:defRPr sz="1859" b="0">
                <a:solidFill>
                  <a:srgbClr val="75787B"/>
                </a:solidFill>
              </a:defRPr>
            </a:lvl2pPr>
            <a:lvl3pPr>
              <a:defRPr sz="1859" b="0">
                <a:solidFill>
                  <a:srgbClr val="75787B"/>
                </a:solidFill>
              </a:defRPr>
            </a:lvl3pPr>
            <a:lvl4pPr>
              <a:defRPr sz="1859" b="0">
                <a:solidFill>
                  <a:srgbClr val="75787B"/>
                </a:solidFill>
              </a:defRPr>
            </a:lvl4pPr>
            <a:lvl5pPr>
              <a:defRPr sz="1859" b="0">
                <a:solidFill>
                  <a:srgbClr val="75787B"/>
                </a:solidFill>
              </a:defRPr>
            </a:lvl5pPr>
          </a:lstStyle>
          <a:p>
            <a:pPr marL="7668" marR="3068" lvl="0" indent="0" defTabSz="1213866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 </a:t>
            </a:r>
            <a:r>
              <a:rPr kumimoji="0" lang="en-US" sz="1593" b="1" i="0" u="none" strike="noStrike" kern="0" cap="none" spc="9" normalizeH="0" baseline="0" noProof="0" err="1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</a:t>
            </a:r>
            <a:b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arch</a:t>
            </a:r>
            <a:r>
              <a:rPr kumimoji="0" lang="en-US" sz="1593" b="1" i="0" u="none" strike="noStrike" kern="0" cap="none" spc="-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nter</a:t>
            </a:r>
          </a:p>
        </p:txBody>
      </p:sp>
    </p:spTree>
    <p:extLst>
      <p:ext uri="{BB962C8B-B14F-4D97-AF65-F5344CB8AC3E}">
        <p14:creationId xmlns:p14="http://schemas.microsoft.com/office/powerpoint/2010/main" val="3316336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687614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over Image 2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8A687E-0809-DD19-F995-3EF6149250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99781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A687E-0809-DD19-F995-3EF6149250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D920F0-09CD-6A44-8C47-3C46B64F6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1E0A024-1950-6746-BD31-2B247FA75E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9" y="6070608"/>
            <a:ext cx="8462436" cy="5913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7668" marR="3068" indent="0" defTabSz="1213866" rtl="0" eaLnBrk="1" fontAlgn="auto" latinLnBrk="0" hangingPunct="1">
              <a:lnSpc>
                <a:spcPts val="212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59" b="0">
                <a:solidFill>
                  <a:srgbClr val="75787B"/>
                </a:solidFill>
              </a:defRPr>
            </a:lvl1pPr>
            <a:lvl2pPr>
              <a:defRPr sz="1859" b="0">
                <a:solidFill>
                  <a:srgbClr val="75787B"/>
                </a:solidFill>
              </a:defRPr>
            </a:lvl2pPr>
            <a:lvl3pPr>
              <a:defRPr sz="1859" b="0">
                <a:solidFill>
                  <a:srgbClr val="75787B"/>
                </a:solidFill>
              </a:defRPr>
            </a:lvl3pPr>
            <a:lvl4pPr>
              <a:defRPr sz="1859" b="0">
                <a:solidFill>
                  <a:srgbClr val="75787B"/>
                </a:solidFill>
              </a:defRPr>
            </a:lvl4pPr>
            <a:lvl5pPr>
              <a:defRPr sz="1859" b="0">
                <a:solidFill>
                  <a:srgbClr val="75787B"/>
                </a:solidFill>
              </a:defRPr>
            </a:lvl5pPr>
          </a:lstStyle>
          <a:p>
            <a:pPr marL="7668" marR="3068" lvl="0" indent="0" defTabSz="1213866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 </a:t>
            </a:r>
            <a:r>
              <a:rPr kumimoji="0" lang="en-US" sz="1593" b="1" i="0" u="none" strike="noStrike" kern="0" cap="none" spc="9" normalizeH="0" baseline="0" noProof="0" err="1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</a:t>
            </a:r>
            <a:b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arch</a:t>
            </a:r>
            <a:r>
              <a:rPr kumimoji="0" lang="en-US" sz="1593" b="1" i="0" u="none" strike="noStrike" kern="0" cap="none" spc="-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nter</a:t>
            </a:r>
          </a:p>
        </p:txBody>
      </p:sp>
    </p:spTree>
    <p:extLst>
      <p:ext uri="{BB962C8B-B14F-4D97-AF65-F5344CB8AC3E}">
        <p14:creationId xmlns:p14="http://schemas.microsoft.com/office/powerpoint/2010/main" val="30812227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_Divider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78EBD0-E02A-B4A8-D9D5-C7315A0DF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641679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78EBD0-E02A-B4A8-D9D5-C7315A0DF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C67B59-51EA-AA42-B009-CCC5AF403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rgbClr val="25374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59353D9-6255-2941-911E-606B1C7DC1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9" y="6070608"/>
            <a:ext cx="8462436" cy="5913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rtl="0">
              <a:lnSpc>
                <a:spcPts val="2124"/>
              </a:lnSpc>
              <a:buFont typeface="Arial" panose="020B0604020202020204" pitchFamily="34" charset="0"/>
              <a:buNone/>
              <a:defRPr sz="1593" b="1">
                <a:solidFill>
                  <a:srgbClr val="44D6AC"/>
                </a:solidFill>
              </a:defRPr>
            </a:lvl1pPr>
            <a:lvl2pPr>
              <a:defRPr sz="1859" b="0">
                <a:solidFill>
                  <a:srgbClr val="75787B"/>
                </a:solidFill>
              </a:defRPr>
            </a:lvl2pPr>
            <a:lvl3pPr>
              <a:defRPr sz="1859" b="0">
                <a:solidFill>
                  <a:srgbClr val="75787B"/>
                </a:solidFill>
              </a:defRPr>
            </a:lvl3pPr>
            <a:lvl4pPr>
              <a:defRPr sz="1859" b="0">
                <a:solidFill>
                  <a:srgbClr val="75787B"/>
                </a:solidFill>
              </a:defRPr>
            </a:lvl4pPr>
            <a:lvl5pPr>
              <a:defRPr sz="1859" b="0">
                <a:solidFill>
                  <a:srgbClr val="75787B"/>
                </a:solidFill>
              </a:defRPr>
            </a:lvl5pPr>
          </a:lstStyle>
          <a:p>
            <a:pPr lvl="0"/>
            <a:r>
              <a:rPr lang="en-US"/>
              <a:t>XXX </a:t>
            </a:r>
            <a:r>
              <a:rPr lang="en-US" err="1"/>
              <a:t>XXX</a:t>
            </a:r>
            <a:endParaRPr lang="en-US"/>
          </a:p>
          <a:p>
            <a:pPr lvl="0"/>
            <a:r>
              <a:rPr lang="en-US"/>
              <a:t>Research Center</a:t>
            </a:r>
          </a:p>
        </p:txBody>
      </p:sp>
    </p:spTree>
    <p:extLst>
      <p:ext uri="{BB962C8B-B14F-4D97-AF65-F5344CB8AC3E}">
        <p14:creationId xmlns:p14="http://schemas.microsoft.com/office/powerpoint/2010/main" val="36258074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Divider 2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086DC1-80F2-CC6E-229D-40DE21C7B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81588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086DC1-80F2-CC6E-229D-40DE21C7B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5BB416B-1787-074E-950D-0F36D9988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rgbClr val="25374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2785E29-0D1C-874A-B65E-752000D569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9" y="6070608"/>
            <a:ext cx="8462436" cy="5913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rtl="0">
              <a:lnSpc>
                <a:spcPts val="2124"/>
              </a:lnSpc>
              <a:buFont typeface="Arial" panose="020B0604020202020204" pitchFamily="34" charset="0"/>
              <a:buNone/>
              <a:defRPr sz="1593" b="1">
                <a:solidFill>
                  <a:srgbClr val="BCCFD4"/>
                </a:solidFill>
              </a:defRPr>
            </a:lvl1pPr>
            <a:lvl2pPr>
              <a:defRPr sz="1859" b="0">
                <a:solidFill>
                  <a:srgbClr val="75787B"/>
                </a:solidFill>
              </a:defRPr>
            </a:lvl2pPr>
            <a:lvl3pPr>
              <a:defRPr sz="1859" b="0">
                <a:solidFill>
                  <a:srgbClr val="75787B"/>
                </a:solidFill>
              </a:defRPr>
            </a:lvl3pPr>
            <a:lvl4pPr>
              <a:defRPr sz="1859" b="0">
                <a:solidFill>
                  <a:srgbClr val="75787B"/>
                </a:solidFill>
              </a:defRPr>
            </a:lvl4pPr>
            <a:lvl5pPr>
              <a:defRPr sz="1859" b="0">
                <a:solidFill>
                  <a:srgbClr val="75787B"/>
                </a:solidFill>
              </a:defRPr>
            </a:lvl5pPr>
          </a:lstStyle>
          <a:p>
            <a:pPr lvl="0"/>
            <a:r>
              <a:rPr lang="en-US"/>
              <a:t>XXX </a:t>
            </a:r>
            <a:r>
              <a:rPr lang="en-US" err="1"/>
              <a:t>XXX</a:t>
            </a:r>
            <a:endParaRPr lang="en-US"/>
          </a:p>
          <a:p>
            <a:pPr lvl="0"/>
            <a:r>
              <a:rPr lang="en-US"/>
              <a:t>Research Center</a:t>
            </a:r>
          </a:p>
        </p:txBody>
      </p:sp>
    </p:spTree>
    <p:extLst>
      <p:ext uri="{BB962C8B-B14F-4D97-AF65-F5344CB8AC3E}">
        <p14:creationId xmlns:p14="http://schemas.microsoft.com/office/powerpoint/2010/main" val="18297354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Empty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7E5D68-7AEE-369C-867D-3A2A9F09E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641423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7E5D68-7AEE-369C-867D-3A2A9F09E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45F95E0-EF4B-8245-A28D-7E2875EA14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9" y="6070608"/>
            <a:ext cx="8462436" cy="5913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7668" marR="3068" indent="0" defTabSz="1213866" rtl="0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59" b="1">
                <a:solidFill>
                  <a:srgbClr val="75787B"/>
                </a:solidFill>
              </a:defRPr>
            </a:lvl1pPr>
            <a:lvl2pPr>
              <a:defRPr sz="1859" b="0">
                <a:solidFill>
                  <a:srgbClr val="75787B"/>
                </a:solidFill>
              </a:defRPr>
            </a:lvl2pPr>
            <a:lvl3pPr>
              <a:defRPr sz="1859" b="0">
                <a:solidFill>
                  <a:srgbClr val="75787B"/>
                </a:solidFill>
              </a:defRPr>
            </a:lvl3pPr>
            <a:lvl4pPr>
              <a:defRPr sz="1859" b="0">
                <a:solidFill>
                  <a:srgbClr val="75787B"/>
                </a:solidFill>
              </a:defRPr>
            </a:lvl4pPr>
            <a:lvl5pPr>
              <a:defRPr sz="1859" b="0">
                <a:solidFill>
                  <a:srgbClr val="75787B"/>
                </a:solidFill>
              </a:defRPr>
            </a:lvl5pPr>
          </a:lstStyle>
          <a:p>
            <a:pPr marL="7668" marR="3068" lvl="0" indent="0" defTabSz="1213866" eaLnBrk="1" fontAlgn="auto" latinLnBrk="0" hangingPunct="1">
              <a:lnSpc>
                <a:spcPts val="2144"/>
              </a:lnSpc>
              <a:spcBef>
                <a:spcPts val="5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 </a:t>
            </a:r>
            <a:r>
              <a:rPr kumimoji="0" lang="en-US" sz="1593" b="1" i="0" u="none" strike="noStrike" kern="0" cap="none" spc="9" normalizeH="0" baseline="0" noProof="0" err="1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X</a:t>
            </a:r>
            <a:br>
              <a:rPr kumimoji="0" lang="en-US" sz="1593" b="1" i="0" u="none" strike="noStrike" kern="0" cap="none" spc="9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arch</a:t>
            </a:r>
            <a:r>
              <a:rPr kumimoji="0" lang="en-US" sz="1593" b="1" i="0" u="none" strike="noStrike" kern="0" cap="none" spc="-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593" b="1" i="0" u="none" strike="noStrike" kern="0" cap="none" spc="7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nter</a:t>
            </a:r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22CCD303-9C92-634F-ADB8-442781E6D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208200"/>
            <a:ext cx="7492800" cy="44160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0095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865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72146"/>
              </p:ext>
            </p:extLst>
          </p:nvPr>
        </p:nvGraphicFramePr>
        <p:xfrm>
          <a:off x="1593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7" y="3"/>
            <a:ext cx="158751" cy="1587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</a:pPr>
            <a:endParaRPr lang="en-US" sz="1992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7"/>
            <a:ext cx="2286000" cy="22159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077606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1285495" y="1428753"/>
            <a:ext cx="948055" cy="948055"/>
          </a:xfrm>
          <a:custGeom>
            <a:avLst/>
            <a:gdLst/>
            <a:ahLst/>
            <a:cxnLst/>
            <a:rect l="l" t="t" r="r" b="b"/>
            <a:pathLst>
              <a:path w="948055" h="948055">
                <a:moveTo>
                  <a:pt x="0" y="0"/>
                </a:moveTo>
                <a:lnTo>
                  <a:pt x="947928" y="0"/>
                </a:lnTo>
                <a:lnTo>
                  <a:pt x="947928" y="947927"/>
                </a:lnTo>
                <a:lnTo>
                  <a:pt x="0" y="947927"/>
                </a:lnTo>
                <a:lnTo>
                  <a:pt x="0" y="0"/>
                </a:lnTo>
                <a:close/>
              </a:path>
            </a:pathLst>
          </a:custGeom>
          <a:ln w="1079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52"/>
          </a:p>
        </p:txBody>
      </p:sp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311131" y="368811"/>
            <a:ext cx="376427" cy="43891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3/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61316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1731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8B27E2-5CEE-273A-5D20-BE4A88409C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13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A0D3F7-F97F-CA74-9F3C-613EFF56A7AC}"/>
              </a:ext>
            </a:extLst>
          </p:cNvPr>
          <p:cNvSpPr>
            <a:spLocks/>
          </p:cNvSpPr>
          <p:nvPr userDrawn="1"/>
        </p:nvSpPr>
        <p:spPr>
          <a:xfrm>
            <a:off x="9211200" y="4388400"/>
            <a:ext cx="2980800" cy="2469600"/>
          </a:xfrm>
          <a:prstGeom prst="rect">
            <a:avLst/>
          </a:prstGeom>
          <a:gradFill flip="none" rotWithShape="1">
            <a:gsLst>
              <a:gs pos="0">
                <a:srgbClr val="201161"/>
              </a:gs>
              <a:gs pos="65000">
                <a:srgbClr val="141330"/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248" tIns="72248" rIns="72248" bIns="72248" numCol="1" spcCol="38100" rtlCol="0" anchor="ctr">
            <a:spAutoFit/>
          </a:bodyPr>
          <a:lstStyle/>
          <a:p>
            <a:pPr marL="0" marR="0" lvl="0" indent="0" algn="ctr" defTabSz="11740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A62721-C383-3CCC-8F12-4A35CDD3BC96}"/>
              </a:ext>
            </a:extLst>
          </p:cNvPr>
          <p:cNvSpPr>
            <a:spLocks/>
          </p:cNvSpPr>
          <p:nvPr userDrawn="1"/>
        </p:nvSpPr>
        <p:spPr>
          <a:xfrm rot="10800000">
            <a:off x="0" y="0"/>
            <a:ext cx="2979174" cy="2468458"/>
          </a:xfrm>
          <a:prstGeom prst="rect">
            <a:avLst/>
          </a:prstGeom>
          <a:gradFill flip="none" rotWithShape="1">
            <a:gsLst>
              <a:gs pos="0">
                <a:srgbClr val="201161"/>
              </a:gs>
              <a:gs pos="65000">
                <a:srgbClr val="141330"/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248" tIns="72248" rIns="72248" bIns="72248" numCol="1" spcCol="38100" rtlCol="0" anchor="ctr">
            <a:spAutoFit/>
          </a:bodyPr>
          <a:lstStyle/>
          <a:p>
            <a:pPr marL="0" marR="0" lvl="0" indent="0" algn="ctr" defTabSz="11740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0960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A210F6D-7DED-863B-2C5D-326DE69A06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rgbClr val="ECF2FA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5D6FBB-F88B-B650-13FD-E86F13F863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white dotted line in a black background&#10;&#10;Description automatically generated" hidden="1">
            <a:extLst>
              <a:ext uri="{FF2B5EF4-FFF2-40B4-BE49-F238E27FC236}">
                <a16:creationId xmlns:a16="http://schemas.microsoft.com/office/drawing/2014/main" id="{6FA78C57-9E0C-36DC-67A9-B0CF61E98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91" t="14612" r="25893" b="23024"/>
          <a:stretch/>
        </p:blipFill>
        <p:spPr>
          <a:xfrm>
            <a:off x="1" y="0"/>
            <a:ext cx="12191999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90224A-909E-163B-6B2F-B4672CA88562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9579" y="1753383"/>
            <a:ext cx="8530430" cy="22798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800" dirty="0">
                <a:ea typeface="Franklin Gothic Book" panose="020B050302010202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69E4C83-EBDD-8A6B-1326-DF606ABDFCF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9579" y="4285285"/>
            <a:ext cx="8530430" cy="1018648"/>
          </a:xfrm>
        </p:spPr>
        <p:txBody>
          <a:bodyPr vert="horz" lIns="0" tIns="0" rIns="324000" bIns="0" rtlCol="0">
            <a:noAutofit/>
          </a:bodyPr>
          <a:lstStyle>
            <a:lvl1pPr marL="0" indent="0">
              <a:buNone/>
              <a:defRPr lang="en-US" sz="2800" b="0" i="0" u="none" strike="noStrike" cap="none">
                <a:solidFill>
                  <a:schemeClr val="accent1"/>
                </a:solidFill>
                <a:effectLst/>
                <a:latin typeface="Franklin Gothic Book" panose="020B0503020102020204" pitchFamily="34" charset="0"/>
                <a:ea typeface="Franklin Gothic Book" panose="020B0503020102020204" pitchFamily="34" charset="0"/>
                <a:cs typeface="Arial"/>
              </a:defRPr>
            </a:lvl1pPr>
          </a:lstStyle>
          <a:p>
            <a:pPr marL="190492" marR="0" lvl="0" indent="-19049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</a:pPr>
            <a:r>
              <a:rPr lang="en-GB"/>
              <a:t>Click to add subtitle</a:t>
            </a:r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EE294A5-7382-168B-2D7B-697408B0B933}"/>
              </a:ext>
            </a:extLst>
          </p:cNvPr>
          <p:cNvGrpSpPr/>
          <p:nvPr userDrawn="1"/>
        </p:nvGrpSpPr>
        <p:grpSpPr>
          <a:xfrm>
            <a:off x="459579" y="685800"/>
            <a:ext cx="2653292" cy="1125639"/>
            <a:chOff x="27671456" y="-6603999"/>
            <a:chExt cx="11892864" cy="5015951"/>
          </a:xfrm>
        </p:grpSpPr>
        <p:sp>
          <p:nvSpPr>
            <p:cNvPr id="7" name="Free-form: Shape 6">
              <a:extLst>
                <a:ext uri="{FF2B5EF4-FFF2-40B4-BE49-F238E27FC236}">
                  <a16:creationId xmlns:a16="http://schemas.microsoft.com/office/drawing/2014/main" id="{5DFAD87E-84CD-37EE-142E-04CF73813FC8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9" name="Free-form: Shape 8">
              <a:extLst>
                <a:ext uri="{FF2B5EF4-FFF2-40B4-BE49-F238E27FC236}">
                  <a16:creationId xmlns:a16="http://schemas.microsoft.com/office/drawing/2014/main" id="{1E26B235-667A-DDEE-2770-52022FE5F840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0" name="Free-form: Shape 9">
              <a:extLst>
                <a:ext uri="{FF2B5EF4-FFF2-40B4-BE49-F238E27FC236}">
                  <a16:creationId xmlns:a16="http://schemas.microsoft.com/office/drawing/2014/main" id="{766479A4-BE1D-E866-8251-61264BCA535A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1" name="Free-form: Shape 10">
              <a:extLst>
                <a:ext uri="{FF2B5EF4-FFF2-40B4-BE49-F238E27FC236}">
                  <a16:creationId xmlns:a16="http://schemas.microsoft.com/office/drawing/2014/main" id="{F75B4076-7FCE-D93D-3981-6C495DC86BFC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7208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1376363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036663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4CDE41-4C9C-A189-74C2-BACEDC75FE8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90224A-909E-163B-6B2F-B4672CA88562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9579" y="1753383"/>
            <a:ext cx="5350671" cy="22798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800" dirty="0">
                <a:ea typeface="Franklin Gothic Book" panose="020B050302010202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69E4C83-EBDD-8A6B-1326-DF606ABDFCF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9579" y="4285285"/>
            <a:ext cx="5350671" cy="1018648"/>
          </a:xfrm>
        </p:spPr>
        <p:txBody>
          <a:bodyPr vert="horz" lIns="0" tIns="0" rIns="324000" bIns="0" rtlCol="0">
            <a:noAutofit/>
          </a:bodyPr>
          <a:lstStyle>
            <a:lvl1pPr marL="0" indent="0">
              <a:buNone/>
              <a:defRPr lang="en-US" sz="2800" b="0" i="0" u="none" strike="noStrike" cap="none">
                <a:solidFill>
                  <a:schemeClr val="accent1"/>
                </a:solidFill>
                <a:effectLst/>
                <a:latin typeface="Franklin Gothic Book" panose="020B0503020102020204" pitchFamily="34" charset="0"/>
                <a:ea typeface="Franklin Gothic Book" panose="020B0503020102020204" pitchFamily="34" charset="0"/>
                <a:cs typeface="Arial"/>
              </a:defRPr>
            </a:lvl1pPr>
          </a:lstStyle>
          <a:p>
            <a:pPr marL="190492" marR="0" lvl="0" indent="-19049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</a:pPr>
            <a:r>
              <a:rPr lang="en-GB"/>
              <a:t>Click to add subtitl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EF57B0-882A-160F-5BC6-34E022D2DBBF}"/>
              </a:ext>
            </a:extLst>
          </p:cNvPr>
          <p:cNvGrpSpPr/>
          <p:nvPr userDrawn="1"/>
        </p:nvGrpSpPr>
        <p:grpSpPr>
          <a:xfrm>
            <a:off x="459579" y="685800"/>
            <a:ext cx="2653292" cy="1125639"/>
            <a:chOff x="27671456" y="-6603999"/>
            <a:chExt cx="11892864" cy="5015951"/>
          </a:xfrm>
        </p:grpSpPr>
        <p:sp>
          <p:nvSpPr>
            <p:cNvPr id="10" name="Free-form: Shape 9">
              <a:extLst>
                <a:ext uri="{FF2B5EF4-FFF2-40B4-BE49-F238E27FC236}">
                  <a16:creationId xmlns:a16="http://schemas.microsoft.com/office/drawing/2014/main" id="{943DB14E-D4CE-DA26-E832-D5BD08E0B087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1" name="Free-form: Shape 10">
              <a:extLst>
                <a:ext uri="{FF2B5EF4-FFF2-40B4-BE49-F238E27FC236}">
                  <a16:creationId xmlns:a16="http://schemas.microsoft.com/office/drawing/2014/main" id="{7A19A097-2070-EC79-E8BF-2CD27A2D010F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2" name="Free-form: Shape 11">
              <a:extLst>
                <a:ext uri="{FF2B5EF4-FFF2-40B4-BE49-F238E27FC236}">
                  <a16:creationId xmlns:a16="http://schemas.microsoft.com/office/drawing/2014/main" id="{F5FAE71A-B70B-E1F7-BD9D-5C031FDD34F6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3" name="Free-form: Shape 12">
              <a:extLst>
                <a:ext uri="{FF2B5EF4-FFF2-40B4-BE49-F238E27FC236}">
                  <a16:creationId xmlns:a16="http://schemas.microsoft.com/office/drawing/2014/main" id="{1E154100-C38A-D6EE-C5A4-B2EE2B405091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A200939E-E072-6DC6-AF7D-58EFD82CD28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Image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999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C0BF5BD-9781-7830-4BE4-74C7BFC080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3F21166A-55B7-8C7B-AB03-1E72C446C0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Image</a:t>
            </a:r>
          </a:p>
          <a:p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20E953A-D557-8912-9B80-F620BFF20D35}"/>
              </a:ext>
            </a:extLst>
          </p:cNvPr>
          <p:cNvGrpSpPr/>
          <p:nvPr userDrawn="1"/>
        </p:nvGrpSpPr>
        <p:grpSpPr>
          <a:xfrm>
            <a:off x="445021" y="692151"/>
            <a:ext cx="1383779" cy="587058"/>
            <a:chOff x="27671456" y="-6603999"/>
            <a:chExt cx="11892864" cy="5015951"/>
          </a:xfrm>
        </p:grpSpPr>
        <p:sp>
          <p:nvSpPr>
            <p:cNvPr id="6" name="Free-form: Shape 5">
              <a:extLst>
                <a:ext uri="{FF2B5EF4-FFF2-40B4-BE49-F238E27FC236}">
                  <a16:creationId xmlns:a16="http://schemas.microsoft.com/office/drawing/2014/main" id="{BFBC456E-0D66-BCCB-258A-E513BF6F90FA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7" name="Free-form: Shape 6">
              <a:extLst>
                <a:ext uri="{FF2B5EF4-FFF2-40B4-BE49-F238E27FC236}">
                  <a16:creationId xmlns:a16="http://schemas.microsoft.com/office/drawing/2014/main" id="{336715DC-AF8F-7FE3-A14C-33C4D2AF1FE5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9" name="Free-form: Shape 8">
              <a:extLst>
                <a:ext uri="{FF2B5EF4-FFF2-40B4-BE49-F238E27FC236}">
                  <a16:creationId xmlns:a16="http://schemas.microsoft.com/office/drawing/2014/main" id="{E3311C2E-208C-996B-14DF-E779D18D685E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0" name="Free-form: Shape 9">
              <a:extLst>
                <a:ext uri="{FF2B5EF4-FFF2-40B4-BE49-F238E27FC236}">
                  <a16:creationId xmlns:a16="http://schemas.microsoft.com/office/drawing/2014/main" id="{A62ABFA1-7F6F-3065-B011-7282522B8039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490224A-909E-163B-6B2F-B4672CA88562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2640700"/>
            <a:ext cx="5347428" cy="22798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4000" dirty="0">
                <a:ea typeface="Franklin Gothic Book" panose="020B050302010202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69E4C83-EBDD-8A6B-1326-DF606ABDFCF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5147202"/>
            <a:ext cx="5347428" cy="1018648"/>
          </a:xfrm>
        </p:spPr>
        <p:txBody>
          <a:bodyPr vert="horz" lIns="0" tIns="0" rIns="324000" bIns="0" rtlCol="0">
            <a:noAutofit/>
          </a:bodyPr>
          <a:lstStyle>
            <a:lvl1pPr marL="0" indent="0">
              <a:buNone/>
              <a:defRPr lang="en-US" sz="2000" b="0" i="0" u="none" strike="noStrike" cap="none">
                <a:solidFill>
                  <a:schemeClr val="accent1"/>
                </a:solidFill>
                <a:effectLst/>
                <a:latin typeface="Franklin Gothic Book" panose="020B0503020102020204" pitchFamily="34" charset="0"/>
                <a:ea typeface="Franklin Gothic Book" panose="020B0503020102020204" pitchFamily="34" charset="0"/>
                <a:cs typeface="Arial"/>
              </a:defRPr>
            </a:lvl1pPr>
          </a:lstStyle>
          <a:p>
            <a:pPr marL="190492" marR="0" lvl="0" indent="-19049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</a:pPr>
            <a:r>
              <a:rPr lang="en-GB"/>
              <a:t>Click to add subtitle</a:t>
            </a:r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D9E194-2BAC-EED5-8415-D0E100DD62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" r="22151" b="38452"/>
          <a:stretch/>
        </p:blipFill>
        <p:spPr>
          <a:xfrm>
            <a:off x="7112797" y="2636839"/>
            <a:ext cx="5079203" cy="4221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710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C0BF5BD-9781-7830-4BE4-74C7BFC080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20E953A-D557-8912-9B80-F620BFF20D35}"/>
              </a:ext>
            </a:extLst>
          </p:cNvPr>
          <p:cNvGrpSpPr/>
          <p:nvPr userDrawn="1"/>
        </p:nvGrpSpPr>
        <p:grpSpPr>
          <a:xfrm>
            <a:off x="445021" y="692151"/>
            <a:ext cx="1383779" cy="587058"/>
            <a:chOff x="27671456" y="-6603999"/>
            <a:chExt cx="11892864" cy="5015951"/>
          </a:xfrm>
        </p:grpSpPr>
        <p:sp>
          <p:nvSpPr>
            <p:cNvPr id="6" name="Free-form: Shape 5">
              <a:extLst>
                <a:ext uri="{FF2B5EF4-FFF2-40B4-BE49-F238E27FC236}">
                  <a16:creationId xmlns:a16="http://schemas.microsoft.com/office/drawing/2014/main" id="{BFBC456E-0D66-BCCB-258A-E513BF6F90FA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7" name="Free-form: Shape 6">
              <a:extLst>
                <a:ext uri="{FF2B5EF4-FFF2-40B4-BE49-F238E27FC236}">
                  <a16:creationId xmlns:a16="http://schemas.microsoft.com/office/drawing/2014/main" id="{336715DC-AF8F-7FE3-A14C-33C4D2AF1FE5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9" name="Free-form: Shape 8">
              <a:extLst>
                <a:ext uri="{FF2B5EF4-FFF2-40B4-BE49-F238E27FC236}">
                  <a16:creationId xmlns:a16="http://schemas.microsoft.com/office/drawing/2014/main" id="{E3311C2E-208C-996B-14DF-E779D18D685E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0" name="Free-form: Shape 9">
              <a:extLst>
                <a:ext uri="{FF2B5EF4-FFF2-40B4-BE49-F238E27FC236}">
                  <a16:creationId xmlns:a16="http://schemas.microsoft.com/office/drawing/2014/main" id="{A62ABFA1-7F6F-3065-B011-7282522B8039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490224A-909E-163B-6B2F-B4672CA88562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2640700"/>
            <a:ext cx="8530430" cy="22798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4000" dirty="0">
                <a:ea typeface="Franklin Gothic Book" panose="020B050302010202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tabLst/>
            </a:pPr>
            <a:r>
              <a:rPr lang="en-GB"/>
              <a:t>Click to add titl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69E4C83-EBDD-8A6B-1326-DF606ABDFCFE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5147202"/>
            <a:ext cx="8530430" cy="1018648"/>
          </a:xfrm>
        </p:spPr>
        <p:txBody>
          <a:bodyPr vert="horz" lIns="0" tIns="0" rIns="324000" bIns="0" rtlCol="0">
            <a:noAutofit/>
          </a:bodyPr>
          <a:lstStyle>
            <a:lvl1pPr marL="0" indent="0">
              <a:buNone/>
              <a:defRPr lang="en-US" sz="2000" b="0" i="0" u="none" strike="noStrike" cap="none">
                <a:solidFill>
                  <a:schemeClr val="accent1"/>
                </a:solidFill>
                <a:effectLst/>
                <a:latin typeface="Franklin Gothic Book" panose="020B0503020102020204" pitchFamily="34" charset="0"/>
                <a:ea typeface="Franklin Gothic Book" panose="020B0503020102020204" pitchFamily="34" charset="0"/>
                <a:cs typeface="Arial"/>
              </a:defRPr>
            </a:lvl1pPr>
          </a:lstStyle>
          <a:p>
            <a:pPr marL="190492" marR="0" lvl="0" indent="-19049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</a:pPr>
            <a:r>
              <a:rPr lang="en-GB"/>
              <a:t>Click to add subtitle</a:t>
            </a:r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D9E194-2BAC-EED5-8415-D0E100DD62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" r="22151" b="38452"/>
          <a:stretch/>
        </p:blipFill>
        <p:spPr>
          <a:xfrm>
            <a:off x="7112797" y="2636839"/>
            <a:ext cx="5079203" cy="4221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465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97116B4-93B2-4AF7-5B3B-66B53ECC5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604" t="13" b="55172"/>
          <a:stretch/>
        </p:blipFill>
        <p:spPr>
          <a:xfrm>
            <a:off x="0" y="2492234"/>
            <a:ext cx="5503304" cy="4365766"/>
          </a:xfrm>
          <a:prstGeom prst="rect">
            <a:avLst/>
          </a:prstGeom>
        </p:spPr>
      </p:pic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769F77B-350A-2A6B-B8DB-10E79CD4F0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819" y="1628775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DDDC260-4134-987B-E8C6-298A33E500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4819" y="2698070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C4977EF-87DF-9A17-6A83-D6C6A1D328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819" y="3767365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1FB82761-5D9A-525C-7EB5-29431F43FC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19" y="4836660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17D1F48-C198-E0F0-C975-914A952157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0800" y="1628776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1 and add text in this box 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2FA42F46-580E-6916-8E71-9D6D77E0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20800" y="2698071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2 and add text in this box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07BC0CD-1623-65BE-9C80-397A16DD45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20800" y="3767366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3 and add text in this box 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F37BA6C9-C139-1A3D-E11D-B30ED845C1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20800" y="4836660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4 and add text in this box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264D0C56-5A4B-35C6-7734-F4E9CBC05A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54500" y="1628775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7A03A4-0F7A-513A-4846-2269CA9246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54500" y="2698070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8C6D863-A731-931D-29B8-00896A67BB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54500" y="3767365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15747B9D-DC40-7D22-727F-70A1335434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54500" y="4836660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F613EAF9-7ED4-FB9F-2032-C8ADF8A978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10481" y="1628776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5 and add text in this box 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10DC2D9F-AD45-357A-1F4B-4356898A92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10481" y="2698071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6 and add text in this box 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61D0B82D-102E-0DA0-BA06-E8648B9D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10481" y="3767366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7 and add text in this box 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8E9BC07A-31DB-86AE-3AC6-74BB2308F7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10481" y="4836660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8 and add text in this box 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1DD9337-C372-CBFD-C3CE-4212A19B1A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59419" y="1628775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A1755F0C-2CDB-95CF-458A-B66235CA35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59419" y="2698070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5116CBA-996C-4CD9-189F-C25725360B1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9419" y="3767365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8AE6409-5A70-BA07-7FEA-2BE041987A4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9419" y="4836660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20376EE3-5793-43C4-D952-C90D2D5BF7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15400" y="1628776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9 and add text in this box 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58F9126-EDA6-2C6A-81B1-D1A70A6E6E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15400" y="2698071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10 and add text in this box 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8A31CF3-1BD3-0DA1-1796-BFEB919F03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915400" y="3767366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11 and add text in this box 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8029F422-B5FA-DE98-6649-8BD9C34B4E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15400" y="4836660"/>
            <a:ext cx="2819400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12 and add text in this box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5C32BF-1026-4E90-423B-68FD5ADEA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6A624FB-3960-31B2-BF9C-B86AC589F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</p:spPr>
        <p:txBody>
          <a:bodyPr/>
          <a:lstStyle/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EB4D60-45DF-C763-465D-FA7E3FFADF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7011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7131E8D-5959-D049-AB9D-D654CFD7D969}"/>
              </a:ext>
            </a:extLst>
          </p:cNvPr>
          <p:cNvSpPr/>
          <p:nvPr/>
        </p:nvSpPr>
        <p:spPr>
          <a:xfrm>
            <a:off x="5352584" y="1444499"/>
            <a:ext cx="6382215" cy="4721352"/>
          </a:xfrm>
          <a:prstGeom prst="roundRect">
            <a:avLst>
              <a:gd name="adj" fmla="val 5911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9DD71-4459-97D9-B889-C406FFBA6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769F77B-350A-2A6B-B8DB-10E79CD4F0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9389" y="1628776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DDDC260-4134-987B-E8C6-298A33E500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09389" y="2544763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C4977EF-87DF-9A17-6A83-D6C6A1D328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09389" y="3460750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1FB82761-5D9A-525C-7EB5-29431F43FC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09389" y="4376737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17D1F48-C198-E0F0-C975-914A952157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5369" y="1628776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1 and add text in this box 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2FA42F46-580E-6916-8E71-9D6D77E0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5369" y="2544763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2 and add text in this box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07BC0CD-1623-65BE-9C80-397A16DD45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5369" y="3460750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3 and add text in this box 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F37BA6C9-C139-1A3D-E11D-B30ED845C1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5369" y="4376737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4 and add text in this box 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33BF35DB-E136-0EFF-EB50-5161A32358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09389" y="5292724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A0DBCE31-1906-7BBA-CE71-BBE5E0E358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65369" y="5292723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5 and add text in this box </a:t>
            </a:r>
          </a:p>
        </p:txBody>
      </p:sp>
      <p:pic>
        <p:nvPicPr>
          <p:cNvPr id="10" name="Picture 9" descr="A white letter a with a black background&#10;&#10;Description automatically generated">
            <a:extLst>
              <a:ext uri="{FF2B5EF4-FFF2-40B4-BE49-F238E27FC236}">
                <a16:creationId xmlns:a16="http://schemas.microsoft.com/office/drawing/2014/main" id="{6705B756-0C80-5A9B-8D8A-1D28740850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37" r="20" b="54578"/>
          <a:stretch/>
        </p:blipFill>
        <p:spPr>
          <a:xfrm>
            <a:off x="0" y="1628775"/>
            <a:ext cx="6524048" cy="522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8517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option 3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831775-9C57-B229-9B3C-E68B01B7B4B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Image</a:t>
            </a:r>
          </a:p>
          <a:p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7BBD25-7A42-B91A-6EAB-80792B208580}"/>
              </a:ext>
            </a:extLst>
          </p:cNvPr>
          <p:cNvSpPr/>
          <p:nvPr userDrawn="1"/>
        </p:nvSpPr>
        <p:spPr>
          <a:xfrm>
            <a:off x="2750820" y="0"/>
            <a:ext cx="9441180" cy="6858000"/>
          </a:xfrm>
          <a:prstGeom prst="rect">
            <a:avLst/>
          </a:prstGeom>
          <a:gradFill>
            <a:gsLst>
              <a:gs pos="0">
                <a:srgbClr val="000008">
                  <a:alpha val="0"/>
                </a:srgbClr>
              </a:gs>
              <a:gs pos="0">
                <a:schemeClr val="bg1">
                  <a:alpha val="0"/>
                </a:schemeClr>
              </a:gs>
              <a:gs pos="21000">
                <a:schemeClr val="bg2">
                  <a:alpha val="85000"/>
                </a:schemeClr>
              </a:gs>
              <a:gs pos="57000">
                <a:schemeClr val="bg2">
                  <a:alpha val="90000"/>
                </a:schemeClr>
              </a:gs>
              <a:gs pos="100000">
                <a:schemeClr val="tx2">
                  <a:lumMod val="25000"/>
                  <a:lumOff val="7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3881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769F77B-350A-2A6B-B8DB-10E79CD4F0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9389" y="1628776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DDDC260-4134-987B-E8C6-298A33E500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09389" y="2544763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C4977EF-87DF-9A17-6A83-D6C6A1D328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09389" y="3460750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1FB82761-5D9A-525C-7EB5-29431F43FC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09389" y="4376737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17D1F48-C198-E0F0-C975-914A952157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5369" y="1628776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1 and add text in this box 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2FA42F46-580E-6916-8E71-9D6D77E0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5369" y="2544763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2 and add text in this box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07BC0CD-1623-65BE-9C80-397A16DD45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5369" y="3460750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3 and add text in this box 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F37BA6C9-C139-1A3D-E11D-B30ED845C1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5369" y="4376737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4 and add text in this box 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33BF35DB-E136-0EFF-EB50-5161A32358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09389" y="5292724"/>
            <a:ext cx="830581" cy="718076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A0DBCE31-1906-7BBA-CE71-BBE5E0E358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65369" y="5292723"/>
            <a:ext cx="4797723" cy="718075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5 and add text in this box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B2E9962-EC6E-11FE-145E-FB93D45500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99977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letter a with a black background&#10;&#10;Description automatically generated">
            <a:extLst>
              <a:ext uri="{FF2B5EF4-FFF2-40B4-BE49-F238E27FC236}">
                <a16:creationId xmlns:a16="http://schemas.microsoft.com/office/drawing/2014/main" id="{DC356DF0-FE9A-33E1-20E4-137D82FEA2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37" r="20" b="54578"/>
          <a:stretch/>
        </p:blipFill>
        <p:spPr>
          <a:xfrm>
            <a:off x="34881" y="1628776"/>
            <a:ext cx="6524048" cy="5229225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0445239-9DA3-E19B-2DF4-B52BFF946AE7}"/>
              </a:ext>
            </a:extLst>
          </p:cNvPr>
          <p:cNvSpPr/>
          <p:nvPr/>
        </p:nvSpPr>
        <p:spPr>
          <a:xfrm>
            <a:off x="457200" y="1968607"/>
            <a:ext cx="11277599" cy="3484340"/>
          </a:xfrm>
          <a:prstGeom prst="roundRect">
            <a:avLst>
              <a:gd name="adj" fmla="val 591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9DD71-4459-97D9-B889-C406FFBA6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769F77B-350A-2A6B-B8DB-10E79CD4F0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1240" y="2164033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DDDC260-4134-987B-E8C6-298A33E500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1240" y="3233328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C4977EF-87DF-9A17-6A83-D6C6A1D328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1240" y="4302623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17D1F48-C198-E0F0-C975-914A952157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7221" y="2164034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1 and add text in this box 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2FA42F46-580E-6916-8E71-9D6D77E0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57221" y="3233329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2 and add text in this box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707BC0CD-1623-65BE-9C80-397A16DD45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7221" y="4302624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3 and add text in this box 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264D0C56-5A4B-35C6-7734-F4E9CBC05A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661" y="2164033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707A03A4-0F7A-513A-4846-2269CA9246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661" y="3233328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78C6D863-A731-931D-29B8-00896A67BB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91661" y="4302623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F613EAF9-7ED4-FB9F-2032-C8ADF8A978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7642" y="2164034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5 and add text in this box 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10DC2D9F-AD45-357A-1F4B-4356898A92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47642" y="3233329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6 and add text in this box </a:t>
            </a: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61D0B82D-102E-0DA0-BA06-E8648B9D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7642" y="4302624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7 and add text in this box 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1DD9337-C372-CBFD-C3CE-4212A19B1A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82082" y="2164033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A1755F0C-2CDB-95CF-458A-B66235CA35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82082" y="3233328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5116CBA-996C-4CD9-189F-C25725360B1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82082" y="4302623"/>
            <a:ext cx="830581" cy="828675"/>
          </a:xfrm>
        </p:spPr>
        <p:txBody>
          <a:bodyPr anchor="ctr">
            <a:noAutofit/>
          </a:bodyPr>
          <a:lstStyle>
            <a:lvl1pPr marL="0" indent="0">
              <a:buNone/>
              <a:defRPr lang="en-GB" sz="4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XX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20376EE3-5793-43C4-D952-C90D2D5BF7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38063" y="2164034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09 and add text in this box 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58F9126-EDA6-2C6A-81B1-D1A70A6E6E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38063" y="3233329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10 and add text in this box 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8A31CF3-1BD3-0DA1-1796-BFEB919F03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38063" y="4302624"/>
            <a:ext cx="2358483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Replace XX with the 11 and add text in this box 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892354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5 (3 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79467C52-10AF-13AD-B91C-4938AB954E7D}"/>
              </a:ext>
            </a:extLst>
          </p:cNvPr>
          <p:cNvSpPr/>
          <p:nvPr userDrawn="1"/>
        </p:nvSpPr>
        <p:spPr>
          <a:xfrm>
            <a:off x="251582" y="1864482"/>
            <a:ext cx="4065660" cy="4065660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5B5F7DE-B1ED-3D43-054A-9C4669B1D1F5}"/>
              </a:ext>
            </a:extLst>
          </p:cNvPr>
          <p:cNvSpPr/>
          <p:nvPr userDrawn="1"/>
        </p:nvSpPr>
        <p:spPr>
          <a:xfrm>
            <a:off x="1249849" y="2862749"/>
            <a:ext cx="2069126" cy="2069126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8B529FE1-33C0-4076-AF17-1F5CDB3AFEA7}"/>
              </a:ext>
            </a:extLst>
          </p:cNvPr>
          <p:cNvSpPr/>
          <p:nvPr userDrawn="1"/>
        </p:nvSpPr>
        <p:spPr>
          <a:xfrm>
            <a:off x="-1103833" y="3287714"/>
            <a:ext cx="3997844" cy="12191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9DD71-4459-97D9-B889-C406FFBA6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91056"/>
            <a:ext cx="2069126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2" name="Text Placeholder 52">
            <a:extLst>
              <a:ext uri="{FF2B5EF4-FFF2-40B4-BE49-F238E27FC236}">
                <a16:creationId xmlns:a16="http://schemas.microsoft.com/office/drawing/2014/main" id="{6F76A606-4673-4B23-C6DA-8E4F52C27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92150"/>
            <a:ext cx="7480300" cy="936625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ext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44FBF97-6AD2-37B5-3D94-AFB4236A845D}"/>
              </a:ext>
            </a:extLst>
          </p:cNvPr>
          <p:cNvSpPr/>
          <p:nvPr userDrawn="1"/>
        </p:nvSpPr>
        <p:spPr>
          <a:xfrm>
            <a:off x="3143651" y="1916883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01ABD8D-1742-DA59-89F4-9E47DD812586}"/>
              </a:ext>
            </a:extLst>
          </p:cNvPr>
          <p:cNvSpPr/>
          <p:nvPr userDrawn="1"/>
        </p:nvSpPr>
        <p:spPr>
          <a:xfrm>
            <a:off x="3919005" y="3513573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E82CF58-B415-D092-20C2-A3AF520AA094}"/>
              </a:ext>
            </a:extLst>
          </p:cNvPr>
          <p:cNvSpPr/>
          <p:nvPr userDrawn="1"/>
        </p:nvSpPr>
        <p:spPr>
          <a:xfrm>
            <a:off x="3143651" y="5110263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49" name="Free-form: Shape 48" hidden="1">
            <a:extLst>
              <a:ext uri="{FF2B5EF4-FFF2-40B4-BE49-F238E27FC236}">
                <a16:creationId xmlns:a16="http://schemas.microsoft.com/office/drawing/2014/main" id="{F7CBCE2A-842F-1AC5-52A0-BB5F2DE22A39}"/>
              </a:ext>
            </a:extLst>
          </p:cNvPr>
          <p:cNvSpPr/>
          <p:nvPr userDrawn="1"/>
        </p:nvSpPr>
        <p:spPr>
          <a:xfrm rot="1342432">
            <a:off x="1147232" y="5343926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475" tIns="191475" rIns="191475" bIns="191475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2400" kern="1200"/>
          </a:p>
        </p:txBody>
      </p:sp>
      <p:sp>
        <p:nvSpPr>
          <p:cNvPr id="51" name="Free-form: Shape 50" hidden="1">
            <a:extLst>
              <a:ext uri="{FF2B5EF4-FFF2-40B4-BE49-F238E27FC236}">
                <a16:creationId xmlns:a16="http://schemas.microsoft.com/office/drawing/2014/main" id="{4CC381C6-9CF2-3C1C-8EED-CAB08B7EC047}"/>
              </a:ext>
            </a:extLst>
          </p:cNvPr>
          <p:cNvSpPr/>
          <p:nvPr userDrawn="1"/>
        </p:nvSpPr>
        <p:spPr>
          <a:xfrm rot="1342432">
            <a:off x="73655" y="427506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3" name="Free-form: Shape 52" hidden="1">
            <a:extLst>
              <a:ext uri="{FF2B5EF4-FFF2-40B4-BE49-F238E27FC236}">
                <a16:creationId xmlns:a16="http://schemas.microsoft.com/office/drawing/2014/main" id="{63D53682-2376-7097-8F1F-0884C8ECD10F}"/>
              </a:ext>
            </a:extLst>
          </p:cNvPr>
          <p:cNvSpPr/>
          <p:nvPr userDrawn="1"/>
        </p:nvSpPr>
        <p:spPr>
          <a:xfrm rot="1342432">
            <a:off x="70319" y="2760131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5" name="Free-form: Shape 54" hidden="1">
            <a:extLst>
              <a:ext uri="{FF2B5EF4-FFF2-40B4-BE49-F238E27FC236}">
                <a16:creationId xmlns:a16="http://schemas.microsoft.com/office/drawing/2014/main" id="{A20E7CAC-B743-8CBB-0432-347BB3CF0061}"/>
              </a:ext>
            </a:extLst>
          </p:cNvPr>
          <p:cNvSpPr/>
          <p:nvPr userDrawn="1"/>
        </p:nvSpPr>
        <p:spPr>
          <a:xfrm rot="1342432">
            <a:off x="1139180" y="168655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26B33141-6C63-B555-5DE8-49B2F501223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40200" y="1886286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C3068C1B-8B24-C4DC-153C-17CB9C356190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885585" y="3482975"/>
            <a:ext cx="2967114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445DBDC6-87E4-6D0D-8D31-3AD57E15F5FD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140200" y="5079665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058E76A9-ABD1-27FF-E8DC-D42CA037ADF4}"/>
              </a:ext>
            </a:extLst>
          </p:cNvPr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8051800" y="692150"/>
            <a:ext cx="4140200" cy="5473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062715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5 (4 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79467C52-10AF-13AD-B91C-4938AB954E7D}"/>
              </a:ext>
            </a:extLst>
          </p:cNvPr>
          <p:cNvSpPr/>
          <p:nvPr userDrawn="1"/>
        </p:nvSpPr>
        <p:spPr>
          <a:xfrm>
            <a:off x="251582" y="1864482"/>
            <a:ext cx="4065660" cy="4065660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5B5F7DE-B1ED-3D43-054A-9C4669B1D1F5}"/>
              </a:ext>
            </a:extLst>
          </p:cNvPr>
          <p:cNvSpPr/>
          <p:nvPr userDrawn="1"/>
        </p:nvSpPr>
        <p:spPr>
          <a:xfrm>
            <a:off x="1249849" y="2862749"/>
            <a:ext cx="2069126" cy="2069126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8B529FE1-33C0-4076-AF17-1F5CDB3AFEA7}"/>
              </a:ext>
            </a:extLst>
          </p:cNvPr>
          <p:cNvSpPr/>
          <p:nvPr userDrawn="1"/>
        </p:nvSpPr>
        <p:spPr>
          <a:xfrm>
            <a:off x="-1103833" y="3287714"/>
            <a:ext cx="3997844" cy="12191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9DD71-4459-97D9-B889-C406FFBA6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91056"/>
            <a:ext cx="2069126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2" name="Text Placeholder 52">
            <a:extLst>
              <a:ext uri="{FF2B5EF4-FFF2-40B4-BE49-F238E27FC236}">
                <a16:creationId xmlns:a16="http://schemas.microsoft.com/office/drawing/2014/main" id="{6F76A606-4673-4B23-C6DA-8E4F52C27B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92150"/>
            <a:ext cx="7480300" cy="936625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ext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C939E17-7BAC-059E-8E24-7CE9A389A097}"/>
              </a:ext>
            </a:extLst>
          </p:cNvPr>
          <p:cNvSpPr/>
          <p:nvPr userDrawn="1"/>
        </p:nvSpPr>
        <p:spPr>
          <a:xfrm>
            <a:off x="3804750" y="2775077"/>
            <a:ext cx="670900" cy="670898"/>
          </a:xfrm>
          <a:prstGeom prst="ellipse">
            <a:avLst/>
          </a:prstGeom>
          <a:gradFill flip="none" rotWithShape="1">
            <a:gsLst>
              <a:gs pos="63000">
                <a:srgbClr val="000116"/>
              </a:gs>
              <a:gs pos="100000">
                <a:srgbClr val="010238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1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44FBF97-6AD2-37B5-3D94-AFB4236A845D}"/>
              </a:ext>
            </a:extLst>
          </p:cNvPr>
          <p:cNvSpPr/>
          <p:nvPr userDrawn="1"/>
        </p:nvSpPr>
        <p:spPr>
          <a:xfrm>
            <a:off x="2829697" y="1784818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01ABD8D-1742-DA59-89F4-9E47DD812586}"/>
              </a:ext>
            </a:extLst>
          </p:cNvPr>
          <p:cNvSpPr/>
          <p:nvPr userDrawn="1"/>
        </p:nvSpPr>
        <p:spPr>
          <a:xfrm>
            <a:off x="3740391" y="2793354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E82CF58-B415-D092-20C2-A3AF520AA094}"/>
              </a:ext>
            </a:extLst>
          </p:cNvPr>
          <p:cNvSpPr/>
          <p:nvPr userDrawn="1"/>
        </p:nvSpPr>
        <p:spPr>
          <a:xfrm>
            <a:off x="3743726" y="4225738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7A3469-7851-1169-EF6A-01476F0ACA87}"/>
              </a:ext>
            </a:extLst>
          </p:cNvPr>
          <p:cNvSpPr/>
          <p:nvPr userDrawn="1"/>
        </p:nvSpPr>
        <p:spPr>
          <a:xfrm>
            <a:off x="2837748" y="5238989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4</a:t>
            </a:r>
          </a:p>
        </p:txBody>
      </p:sp>
      <p:sp>
        <p:nvSpPr>
          <p:cNvPr id="49" name="Free-form: Shape 48" hidden="1">
            <a:extLst>
              <a:ext uri="{FF2B5EF4-FFF2-40B4-BE49-F238E27FC236}">
                <a16:creationId xmlns:a16="http://schemas.microsoft.com/office/drawing/2014/main" id="{F7CBCE2A-842F-1AC5-52A0-BB5F2DE22A39}"/>
              </a:ext>
            </a:extLst>
          </p:cNvPr>
          <p:cNvSpPr/>
          <p:nvPr/>
        </p:nvSpPr>
        <p:spPr>
          <a:xfrm rot="1342432">
            <a:off x="1147232" y="5343926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475" tIns="191475" rIns="191475" bIns="191475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2400" kern="1200"/>
          </a:p>
        </p:txBody>
      </p:sp>
      <p:sp>
        <p:nvSpPr>
          <p:cNvPr id="51" name="Free-form: Shape 50" hidden="1">
            <a:extLst>
              <a:ext uri="{FF2B5EF4-FFF2-40B4-BE49-F238E27FC236}">
                <a16:creationId xmlns:a16="http://schemas.microsoft.com/office/drawing/2014/main" id="{4CC381C6-9CF2-3C1C-8EED-CAB08B7EC047}"/>
              </a:ext>
            </a:extLst>
          </p:cNvPr>
          <p:cNvSpPr/>
          <p:nvPr/>
        </p:nvSpPr>
        <p:spPr>
          <a:xfrm rot="1342432">
            <a:off x="73655" y="427506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3" name="Free-form: Shape 52" hidden="1">
            <a:extLst>
              <a:ext uri="{FF2B5EF4-FFF2-40B4-BE49-F238E27FC236}">
                <a16:creationId xmlns:a16="http://schemas.microsoft.com/office/drawing/2014/main" id="{63D53682-2376-7097-8F1F-0884C8ECD10F}"/>
              </a:ext>
            </a:extLst>
          </p:cNvPr>
          <p:cNvSpPr/>
          <p:nvPr/>
        </p:nvSpPr>
        <p:spPr>
          <a:xfrm rot="1342432">
            <a:off x="70319" y="2760131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5" name="Free-form: Shape 54" hidden="1">
            <a:extLst>
              <a:ext uri="{FF2B5EF4-FFF2-40B4-BE49-F238E27FC236}">
                <a16:creationId xmlns:a16="http://schemas.microsoft.com/office/drawing/2014/main" id="{A20E7CAC-B743-8CBB-0432-347BB3CF0061}"/>
              </a:ext>
            </a:extLst>
          </p:cNvPr>
          <p:cNvSpPr/>
          <p:nvPr/>
        </p:nvSpPr>
        <p:spPr>
          <a:xfrm rot="1342432">
            <a:off x="1139180" y="168655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26B33141-6C63-B555-5DE8-49B2F50122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4750" y="1758907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C3068C1B-8B24-C4DC-153C-17CB9C3561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5444" y="2762757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445DBDC6-87E4-6D0D-8D31-3AD57E15F5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15444" y="4195140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3" name="Text Placeholder 21">
            <a:extLst>
              <a:ext uri="{FF2B5EF4-FFF2-40B4-BE49-F238E27FC236}">
                <a16:creationId xmlns:a16="http://schemas.microsoft.com/office/drawing/2014/main" id="{53032B48-F00C-88CC-450A-876B10B05E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04750" y="5208391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058E76A9-ABD1-27FF-E8DC-D42CA037ADF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51800" y="692150"/>
            <a:ext cx="4140200" cy="5473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7382355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5 (3 points)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79467C52-10AF-13AD-B91C-4938AB954E7D}"/>
              </a:ext>
            </a:extLst>
          </p:cNvPr>
          <p:cNvSpPr/>
          <p:nvPr userDrawn="1"/>
        </p:nvSpPr>
        <p:spPr>
          <a:xfrm>
            <a:off x="251582" y="1396170"/>
            <a:ext cx="4065660" cy="4065660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5B5F7DE-B1ED-3D43-054A-9C4669B1D1F5}"/>
              </a:ext>
            </a:extLst>
          </p:cNvPr>
          <p:cNvSpPr/>
          <p:nvPr userDrawn="1"/>
        </p:nvSpPr>
        <p:spPr>
          <a:xfrm>
            <a:off x="1249849" y="2394437"/>
            <a:ext cx="2069126" cy="2069126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8B529FE1-33C0-4076-AF17-1F5CDB3AFEA7}"/>
              </a:ext>
            </a:extLst>
          </p:cNvPr>
          <p:cNvSpPr/>
          <p:nvPr userDrawn="1"/>
        </p:nvSpPr>
        <p:spPr>
          <a:xfrm>
            <a:off x="-1103833" y="2819401"/>
            <a:ext cx="3997844" cy="12191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9DD71-4459-97D9-B889-C406FFBA6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22743"/>
            <a:ext cx="2069126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44FBF97-6AD2-37B5-3D94-AFB4236A845D}"/>
              </a:ext>
            </a:extLst>
          </p:cNvPr>
          <p:cNvSpPr/>
          <p:nvPr userDrawn="1"/>
        </p:nvSpPr>
        <p:spPr>
          <a:xfrm>
            <a:off x="3143651" y="1448570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01ABD8D-1742-DA59-89F4-9E47DD812586}"/>
              </a:ext>
            </a:extLst>
          </p:cNvPr>
          <p:cNvSpPr/>
          <p:nvPr userDrawn="1"/>
        </p:nvSpPr>
        <p:spPr>
          <a:xfrm>
            <a:off x="3919005" y="3045260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E82CF58-B415-D092-20C2-A3AF520AA094}"/>
              </a:ext>
            </a:extLst>
          </p:cNvPr>
          <p:cNvSpPr/>
          <p:nvPr userDrawn="1"/>
        </p:nvSpPr>
        <p:spPr>
          <a:xfrm>
            <a:off x="3143651" y="4641950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49" name="Free-form: Shape 48" hidden="1">
            <a:extLst>
              <a:ext uri="{FF2B5EF4-FFF2-40B4-BE49-F238E27FC236}">
                <a16:creationId xmlns:a16="http://schemas.microsoft.com/office/drawing/2014/main" id="{F7CBCE2A-842F-1AC5-52A0-BB5F2DE22A39}"/>
              </a:ext>
            </a:extLst>
          </p:cNvPr>
          <p:cNvSpPr/>
          <p:nvPr userDrawn="1"/>
        </p:nvSpPr>
        <p:spPr>
          <a:xfrm rot="1342432">
            <a:off x="1147232" y="5343926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475" tIns="191475" rIns="191475" bIns="191475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2400" kern="1200"/>
          </a:p>
        </p:txBody>
      </p:sp>
      <p:sp>
        <p:nvSpPr>
          <p:cNvPr id="51" name="Free-form: Shape 50" hidden="1">
            <a:extLst>
              <a:ext uri="{FF2B5EF4-FFF2-40B4-BE49-F238E27FC236}">
                <a16:creationId xmlns:a16="http://schemas.microsoft.com/office/drawing/2014/main" id="{4CC381C6-9CF2-3C1C-8EED-CAB08B7EC047}"/>
              </a:ext>
            </a:extLst>
          </p:cNvPr>
          <p:cNvSpPr/>
          <p:nvPr userDrawn="1"/>
        </p:nvSpPr>
        <p:spPr>
          <a:xfrm rot="1342432">
            <a:off x="73655" y="427506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3" name="Free-form: Shape 52" hidden="1">
            <a:extLst>
              <a:ext uri="{FF2B5EF4-FFF2-40B4-BE49-F238E27FC236}">
                <a16:creationId xmlns:a16="http://schemas.microsoft.com/office/drawing/2014/main" id="{63D53682-2376-7097-8F1F-0884C8ECD10F}"/>
              </a:ext>
            </a:extLst>
          </p:cNvPr>
          <p:cNvSpPr/>
          <p:nvPr userDrawn="1"/>
        </p:nvSpPr>
        <p:spPr>
          <a:xfrm rot="1342432">
            <a:off x="70319" y="2760131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5" name="Free-form: Shape 54" hidden="1">
            <a:extLst>
              <a:ext uri="{FF2B5EF4-FFF2-40B4-BE49-F238E27FC236}">
                <a16:creationId xmlns:a16="http://schemas.microsoft.com/office/drawing/2014/main" id="{A20E7CAC-B743-8CBB-0432-347BB3CF0061}"/>
              </a:ext>
            </a:extLst>
          </p:cNvPr>
          <p:cNvSpPr/>
          <p:nvPr userDrawn="1"/>
        </p:nvSpPr>
        <p:spPr>
          <a:xfrm rot="1342432">
            <a:off x="1139180" y="168655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26B33141-6C63-B555-5DE8-49B2F501223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40200" y="1417973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C3068C1B-8B24-C4DC-153C-17CB9C356190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885585" y="3014662"/>
            <a:ext cx="2967114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445DBDC6-87E4-6D0D-8D31-3AD57E15F5FD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140200" y="4611352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058E76A9-ABD1-27FF-E8DC-D42CA037ADF4}"/>
              </a:ext>
            </a:extLst>
          </p:cNvPr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8051800" y="692150"/>
            <a:ext cx="4140200" cy="5473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242294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72374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5 (4 points)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79467C52-10AF-13AD-B91C-4938AB954E7D}"/>
              </a:ext>
            </a:extLst>
          </p:cNvPr>
          <p:cNvSpPr/>
          <p:nvPr userDrawn="1"/>
        </p:nvSpPr>
        <p:spPr>
          <a:xfrm>
            <a:off x="251582" y="1396170"/>
            <a:ext cx="4065660" cy="4065660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5B5F7DE-B1ED-3D43-054A-9C4669B1D1F5}"/>
              </a:ext>
            </a:extLst>
          </p:cNvPr>
          <p:cNvSpPr/>
          <p:nvPr userDrawn="1"/>
        </p:nvSpPr>
        <p:spPr>
          <a:xfrm>
            <a:off x="1249849" y="2394437"/>
            <a:ext cx="2069126" cy="2069126"/>
          </a:xfrm>
          <a:prstGeom prst="ellipse">
            <a:avLst/>
          </a:prstGeom>
          <a:noFill/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8B529FE1-33C0-4076-AF17-1F5CDB3AFEA7}"/>
              </a:ext>
            </a:extLst>
          </p:cNvPr>
          <p:cNvSpPr/>
          <p:nvPr userDrawn="1"/>
        </p:nvSpPr>
        <p:spPr>
          <a:xfrm>
            <a:off x="-1103833" y="2819401"/>
            <a:ext cx="3997844" cy="12191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9DD71-4459-97D9-B889-C406FFBA64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135E961-48D7-4DBD-6DE5-498DF17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F999E4B-28D8-94BC-80B5-E73B476D74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22743"/>
            <a:ext cx="2069126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49" name="Free-form: Shape 48" hidden="1">
            <a:extLst>
              <a:ext uri="{FF2B5EF4-FFF2-40B4-BE49-F238E27FC236}">
                <a16:creationId xmlns:a16="http://schemas.microsoft.com/office/drawing/2014/main" id="{F7CBCE2A-842F-1AC5-52A0-BB5F2DE22A39}"/>
              </a:ext>
            </a:extLst>
          </p:cNvPr>
          <p:cNvSpPr/>
          <p:nvPr userDrawn="1"/>
        </p:nvSpPr>
        <p:spPr>
          <a:xfrm rot="1342432">
            <a:off x="1147232" y="5343926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475" tIns="191475" rIns="191475" bIns="191475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2400" kern="1200"/>
          </a:p>
        </p:txBody>
      </p:sp>
      <p:sp>
        <p:nvSpPr>
          <p:cNvPr id="51" name="Free-form: Shape 50" hidden="1">
            <a:extLst>
              <a:ext uri="{FF2B5EF4-FFF2-40B4-BE49-F238E27FC236}">
                <a16:creationId xmlns:a16="http://schemas.microsoft.com/office/drawing/2014/main" id="{4CC381C6-9CF2-3C1C-8EED-CAB08B7EC047}"/>
              </a:ext>
            </a:extLst>
          </p:cNvPr>
          <p:cNvSpPr/>
          <p:nvPr userDrawn="1"/>
        </p:nvSpPr>
        <p:spPr>
          <a:xfrm rot="1342432">
            <a:off x="73655" y="427506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3" name="Free-form: Shape 52" hidden="1">
            <a:extLst>
              <a:ext uri="{FF2B5EF4-FFF2-40B4-BE49-F238E27FC236}">
                <a16:creationId xmlns:a16="http://schemas.microsoft.com/office/drawing/2014/main" id="{63D53682-2376-7097-8F1F-0884C8ECD10F}"/>
              </a:ext>
            </a:extLst>
          </p:cNvPr>
          <p:cNvSpPr/>
          <p:nvPr userDrawn="1"/>
        </p:nvSpPr>
        <p:spPr>
          <a:xfrm rot="1342432">
            <a:off x="70319" y="2760131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55" name="Free-form: Shape 54" hidden="1">
            <a:extLst>
              <a:ext uri="{FF2B5EF4-FFF2-40B4-BE49-F238E27FC236}">
                <a16:creationId xmlns:a16="http://schemas.microsoft.com/office/drawing/2014/main" id="{A20E7CAC-B743-8CBB-0432-347BB3CF0061}"/>
              </a:ext>
            </a:extLst>
          </p:cNvPr>
          <p:cNvSpPr/>
          <p:nvPr userDrawn="1"/>
        </p:nvSpPr>
        <p:spPr>
          <a:xfrm rot="1342432">
            <a:off x="1139180" y="1686554"/>
            <a:ext cx="767479" cy="76747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605" tIns="215605" rIns="215605" bIns="215605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4300" kern="1200"/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058E76A9-ABD1-27FF-E8DC-D42CA037ADF4}"/>
              </a:ext>
            </a:extLst>
          </p:cNvPr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8051800" y="692150"/>
            <a:ext cx="4140200" cy="5473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A46DC93-1A8E-21EA-117D-B344DAFC716D}"/>
              </a:ext>
            </a:extLst>
          </p:cNvPr>
          <p:cNvSpPr/>
          <p:nvPr userDrawn="1"/>
        </p:nvSpPr>
        <p:spPr>
          <a:xfrm>
            <a:off x="3804750" y="2308434"/>
            <a:ext cx="670900" cy="670898"/>
          </a:xfrm>
          <a:prstGeom prst="ellipse">
            <a:avLst/>
          </a:prstGeom>
          <a:gradFill flip="none" rotWithShape="1">
            <a:gsLst>
              <a:gs pos="63000">
                <a:srgbClr val="000116"/>
              </a:gs>
              <a:gs pos="100000">
                <a:srgbClr val="010238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1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580363D-761B-A376-7091-8E29AD4C6FE3}"/>
              </a:ext>
            </a:extLst>
          </p:cNvPr>
          <p:cNvSpPr/>
          <p:nvPr userDrawn="1"/>
        </p:nvSpPr>
        <p:spPr>
          <a:xfrm>
            <a:off x="2829697" y="1318175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775AFF1-483D-D731-65DA-4E9CAA2EFFEE}"/>
              </a:ext>
            </a:extLst>
          </p:cNvPr>
          <p:cNvSpPr/>
          <p:nvPr userDrawn="1"/>
        </p:nvSpPr>
        <p:spPr>
          <a:xfrm>
            <a:off x="3740391" y="2326711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51EB67F-680E-D595-C7DF-6FEC20D17DC9}"/>
              </a:ext>
            </a:extLst>
          </p:cNvPr>
          <p:cNvSpPr/>
          <p:nvPr userDrawn="1"/>
        </p:nvSpPr>
        <p:spPr>
          <a:xfrm>
            <a:off x="3743726" y="3759095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E5C181B-E42C-4D23-30C3-6BAAF41DC9BB}"/>
              </a:ext>
            </a:extLst>
          </p:cNvPr>
          <p:cNvSpPr/>
          <p:nvPr userDrawn="1"/>
        </p:nvSpPr>
        <p:spPr>
          <a:xfrm>
            <a:off x="2837748" y="4772346"/>
            <a:ext cx="767479" cy="767479"/>
          </a:xfrm>
          <a:prstGeom prst="ellipse">
            <a:avLst/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r>
              <a:rPr lang="en-GB">
                <a:solidFill>
                  <a:schemeClr val="tx2"/>
                </a:solidFill>
              </a:rPr>
              <a:t>04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44EB052C-5671-C42E-397C-B8CAA03BF84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04750" y="1287578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ADD7192D-8B91-B7AC-F9D7-D888D0E5106C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715444" y="2296114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A384956-DF16-ABA8-563D-0BD717D84429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715444" y="3728497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AB6DEC5D-6CDD-2FE0-99C6-23BFA4C0311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804750" y="4741748"/>
            <a:ext cx="3222056" cy="828674"/>
          </a:xfrm>
        </p:spPr>
        <p:txBody>
          <a:bodyPr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261854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837F345-1B8A-0302-06BE-DDBEAC12E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78E5EF1-706E-76BE-D36E-591085E73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045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014798B-AD7D-C8DE-D9B4-313B846B1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776C6E-1A56-C7F3-9A53-5CC27336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179C5F2-01C0-1615-04F5-C7B6A94749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7018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nse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B662C92-0639-04BB-B6EF-4B99ED26A3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167306"/>
            <a:ext cx="11277599" cy="410544"/>
          </a:xfr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tx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ADD SECTION TITLE 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510F270D-EE75-F73B-DB67-93EB360E27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E817BCBC-2D3F-9248-7E9A-E5D66B5E55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F74410-26F1-D469-2A66-4A9AD9701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611472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B662C92-0639-04BB-B6EF-4B99ED26A3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66611"/>
            <a:ext cx="11277600" cy="373289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800" b="1" kern="1200" spc="0" dirty="0" smtClean="0">
                <a:solidFill>
                  <a:schemeClr val="accent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 smtClean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1400" kern="1200" spc="300" dirty="0">
                <a:solidFill>
                  <a:schemeClr val="bg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6911F17-A7C5-0072-B4C6-F434D175B3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893DEE6-766F-61C3-0BB9-7A50412A02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6A53B290-D54F-3DA4-6FA3-633AD9F10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94190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4AA4B2C-9A48-5807-42F1-AAD2D1572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014798B-AD7D-C8DE-D9B4-313B846B1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776C6E-1A56-C7F3-9A53-5CC27336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57024108-3FC6-6068-86E6-8E9A622279A3}"/>
              </a:ext>
            </a:extLst>
          </p:cNvPr>
          <p:cNvSpPr/>
          <p:nvPr userDrawn="1"/>
        </p:nvSpPr>
        <p:spPr>
          <a:xfrm>
            <a:off x="-222250" y="149347"/>
            <a:ext cx="2099628" cy="3871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gradFill flip="none" rotWithShape="1">
              <a:gsLst>
                <a:gs pos="48000">
                  <a:srgbClr val="000116"/>
                </a:gs>
                <a:gs pos="100000">
                  <a:srgbClr val="000127">
                    <a:alpha val="4000"/>
                  </a:srgb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0771C2B-837B-689A-67AA-2AE4EBFA372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5646" y="203667"/>
            <a:ext cx="1250310" cy="27846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38BE41-3AE0-4325-4CDD-D8F63BBEB78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4048" y="190454"/>
            <a:ext cx="304893" cy="304893"/>
          </a:xfrm>
        </p:spPr>
        <p:txBody>
          <a:bodyPr>
            <a:noAutofit/>
          </a:bodyPr>
          <a:lstStyle>
            <a:lvl1pPr marL="0" indent="0" algn="l">
              <a:buNone/>
              <a:defRPr sz="600"/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10116350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Label_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4AA4B2C-9A48-5807-42F1-AAD2D1572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014798B-AD7D-C8DE-D9B4-313B846B1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776C6E-1A56-C7F3-9A53-5CC27336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9B02FC1E-5591-595A-77BA-4A982014A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40DD648-FFB5-08CC-F4B3-4E74DF49A8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8" name="Text Placeholder 58">
            <a:extLst>
              <a:ext uri="{FF2B5EF4-FFF2-40B4-BE49-F238E27FC236}">
                <a16:creationId xmlns:a16="http://schemas.microsoft.com/office/drawing/2014/main" id="{67236A30-0255-E501-730D-1A88BF7D36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9" name="Text Placeholder 58">
            <a:extLst>
              <a:ext uri="{FF2B5EF4-FFF2-40B4-BE49-F238E27FC236}">
                <a16:creationId xmlns:a16="http://schemas.microsoft.com/office/drawing/2014/main" id="{82FAF01E-AAFD-086A-5081-CFB1724725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7304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0" name="Text Placeholder 52">
            <a:extLst>
              <a:ext uri="{FF2B5EF4-FFF2-40B4-BE49-F238E27FC236}">
                <a16:creationId xmlns:a16="http://schemas.microsoft.com/office/drawing/2014/main" id="{03C631C9-E979-B1CD-15CA-59F15CE0A0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2079445"/>
            <a:ext cx="2160001" cy="368480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1" name="Text Placeholder 52">
            <a:extLst>
              <a:ext uri="{FF2B5EF4-FFF2-40B4-BE49-F238E27FC236}">
                <a16:creationId xmlns:a16="http://schemas.microsoft.com/office/drawing/2014/main" id="{89CEFA1F-810D-1718-1084-26A4C50303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0568" y="2079445"/>
            <a:ext cx="2160001" cy="368480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2" name="Text Placeholder 52">
            <a:extLst>
              <a:ext uri="{FF2B5EF4-FFF2-40B4-BE49-F238E27FC236}">
                <a16:creationId xmlns:a16="http://schemas.microsoft.com/office/drawing/2014/main" id="{308566A3-A04F-8F5B-E2AA-9451740FF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3936" y="2079445"/>
            <a:ext cx="2160001" cy="368480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3" name="Text Placeholder 52">
            <a:extLst>
              <a:ext uri="{FF2B5EF4-FFF2-40B4-BE49-F238E27FC236}">
                <a16:creationId xmlns:a16="http://schemas.microsoft.com/office/drawing/2014/main" id="{CC216E57-9FAC-C59D-7BA1-0819EADF4F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97304" y="2079445"/>
            <a:ext cx="2160001" cy="368480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1A869628-D3E3-D952-DC2E-E8698163A6A0}"/>
              </a:ext>
            </a:extLst>
          </p:cNvPr>
          <p:cNvSpPr/>
          <p:nvPr userDrawn="1"/>
        </p:nvSpPr>
        <p:spPr>
          <a:xfrm>
            <a:off x="-222250" y="149347"/>
            <a:ext cx="2099628" cy="3871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gradFill flip="none" rotWithShape="1">
              <a:gsLst>
                <a:gs pos="48000">
                  <a:srgbClr val="000116"/>
                </a:gs>
                <a:gs pos="100000">
                  <a:srgbClr val="000127">
                    <a:alpha val="4000"/>
                  </a:srgb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5BA9ED02-8465-5BFC-6E60-D7BD1C8C88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5646" y="203667"/>
            <a:ext cx="1250310" cy="27846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6" name="Picture Placeholder 23">
            <a:extLst>
              <a:ext uri="{FF2B5EF4-FFF2-40B4-BE49-F238E27FC236}">
                <a16:creationId xmlns:a16="http://schemas.microsoft.com/office/drawing/2014/main" id="{6BD9C4A0-B34A-1B2F-1161-86A06625AFB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4048" y="190454"/>
            <a:ext cx="304893" cy="304893"/>
          </a:xfrm>
        </p:spPr>
        <p:txBody>
          <a:bodyPr>
            <a:noAutofit/>
          </a:bodyPr>
          <a:lstStyle>
            <a:lvl1pPr marL="0" indent="0" algn="l">
              <a:buNone/>
              <a:defRPr sz="600"/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29725385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Label_4 point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4AA4B2C-9A48-5807-42F1-AAD2D1572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014798B-AD7D-C8DE-D9B4-313B846B1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776C6E-1A56-C7F3-9A53-5CC27336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176F3CF0-7D88-EDFF-4F5F-1961C0DC65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9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5" name="Text Placeholder 58">
            <a:extLst>
              <a:ext uri="{FF2B5EF4-FFF2-40B4-BE49-F238E27FC236}">
                <a16:creationId xmlns:a16="http://schemas.microsoft.com/office/drawing/2014/main" id="{53EF710D-6514-44C9-92EA-49A4523A26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74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" name="Text Placeholder 58">
            <a:extLst>
              <a:ext uri="{FF2B5EF4-FFF2-40B4-BE49-F238E27FC236}">
                <a16:creationId xmlns:a16="http://schemas.microsoft.com/office/drawing/2014/main" id="{CD526E9F-2805-A8AF-2DF2-25C7AEA136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29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7" name="Text Placeholder 58">
            <a:extLst>
              <a:ext uri="{FF2B5EF4-FFF2-40B4-BE49-F238E27FC236}">
                <a16:creationId xmlns:a16="http://schemas.microsoft.com/office/drawing/2014/main" id="{B7E1D4BD-729E-2A9D-8E9E-22D28222DC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684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8" name="Text Placeholder 52">
            <a:extLst>
              <a:ext uri="{FF2B5EF4-FFF2-40B4-BE49-F238E27FC236}">
                <a16:creationId xmlns:a16="http://schemas.microsoft.com/office/drawing/2014/main" id="{F9AB285A-A3F0-30A1-F537-3A72B008D8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199" y="3864242"/>
            <a:ext cx="264795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9" name="Text Placeholder 52">
            <a:extLst>
              <a:ext uri="{FF2B5EF4-FFF2-40B4-BE49-F238E27FC236}">
                <a16:creationId xmlns:a16="http://schemas.microsoft.com/office/drawing/2014/main" id="{E305B3C6-D7ED-5EF3-9E32-4FB6E022B7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3749" y="3864242"/>
            <a:ext cx="264795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21" name="Text Placeholder 52">
            <a:extLst>
              <a:ext uri="{FF2B5EF4-FFF2-40B4-BE49-F238E27FC236}">
                <a16:creationId xmlns:a16="http://schemas.microsoft.com/office/drawing/2014/main" id="{995D044E-BF55-9178-1410-45AE140E09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0299" y="3864242"/>
            <a:ext cx="264795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22" name="Text Placeholder 52">
            <a:extLst>
              <a:ext uri="{FF2B5EF4-FFF2-40B4-BE49-F238E27FC236}">
                <a16:creationId xmlns:a16="http://schemas.microsoft.com/office/drawing/2014/main" id="{BCF2431D-B738-1841-E68A-B28690F5E1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86849" y="3864242"/>
            <a:ext cx="264795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23" name="Picture Placeholder 74">
            <a:extLst>
              <a:ext uri="{FF2B5EF4-FFF2-40B4-BE49-F238E27FC236}">
                <a16:creationId xmlns:a16="http://schemas.microsoft.com/office/drawing/2014/main" id="{458F61E3-CE4F-5A0B-E114-B7B386A9635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8684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25" name="Picture Placeholder 74">
            <a:extLst>
              <a:ext uri="{FF2B5EF4-FFF2-40B4-BE49-F238E27FC236}">
                <a16:creationId xmlns:a16="http://schemas.microsoft.com/office/drawing/2014/main" id="{76718D73-ED72-7609-359C-46A67341D23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1029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26" name="Picture Placeholder 74">
            <a:extLst>
              <a:ext uri="{FF2B5EF4-FFF2-40B4-BE49-F238E27FC236}">
                <a16:creationId xmlns:a16="http://schemas.microsoft.com/office/drawing/2014/main" id="{3B902D69-2FBD-4E87-A843-8D6A6ADE1EB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3374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27" name="Picture Placeholder 74">
            <a:extLst>
              <a:ext uri="{FF2B5EF4-FFF2-40B4-BE49-F238E27FC236}">
                <a16:creationId xmlns:a16="http://schemas.microsoft.com/office/drawing/2014/main" id="{CCCF9CC9-663F-7E29-4E5A-6201CA772FF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19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CE7F79BA-9EB3-9FB8-5F8E-D8C470572F9E}"/>
              </a:ext>
            </a:extLst>
          </p:cNvPr>
          <p:cNvSpPr/>
          <p:nvPr userDrawn="1"/>
        </p:nvSpPr>
        <p:spPr>
          <a:xfrm>
            <a:off x="-222250" y="149347"/>
            <a:ext cx="2099628" cy="3871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gradFill flip="none" rotWithShape="1">
              <a:gsLst>
                <a:gs pos="48000">
                  <a:srgbClr val="000116"/>
                </a:gs>
                <a:gs pos="100000">
                  <a:srgbClr val="000127">
                    <a:alpha val="4000"/>
                  </a:srgb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3008AB8B-2612-5548-08F5-72E4596999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5646" y="203667"/>
            <a:ext cx="1250310" cy="27846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F1DCC355-9D8C-38B3-4643-689C78EFD5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4048" y="190454"/>
            <a:ext cx="304893" cy="304893"/>
          </a:xfrm>
        </p:spPr>
        <p:txBody>
          <a:bodyPr>
            <a:noAutofit/>
          </a:bodyPr>
          <a:lstStyle>
            <a:lvl1pPr marL="0" indent="0" algn="l">
              <a:buNone/>
              <a:defRPr sz="600"/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15477689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Label_4 point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4AA4B2C-9A48-5807-42F1-AAD2D1572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014798B-AD7D-C8DE-D9B4-313B846B1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776C6E-1A56-C7F3-9A53-5CC27336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6A2AFB43-C19E-DB09-24FF-ADDDBACD3F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13240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377A65A-36BB-1E74-2A74-D1FDD0C4B3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3613240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8" name="Text Placeholder 58">
            <a:extLst>
              <a:ext uri="{FF2B5EF4-FFF2-40B4-BE49-F238E27FC236}">
                <a16:creationId xmlns:a16="http://schemas.microsoft.com/office/drawing/2014/main" id="{340C0BD8-0DD7-9678-99A5-008BC4B90A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3613240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9" name="Text Placeholder 58">
            <a:extLst>
              <a:ext uri="{FF2B5EF4-FFF2-40B4-BE49-F238E27FC236}">
                <a16:creationId xmlns:a16="http://schemas.microsoft.com/office/drawing/2014/main" id="{08C7591C-BB7B-6139-630C-781AB176D1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7304" y="3613240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0" name="Text Placeholder 52">
            <a:extLst>
              <a:ext uri="{FF2B5EF4-FFF2-40B4-BE49-F238E27FC236}">
                <a16:creationId xmlns:a16="http://schemas.microsoft.com/office/drawing/2014/main" id="{6A4E3951-4FB9-6682-F802-EE7CE80FED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244760"/>
            <a:ext cx="216000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1" name="Text Placeholder 52">
            <a:extLst>
              <a:ext uri="{FF2B5EF4-FFF2-40B4-BE49-F238E27FC236}">
                <a16:creationId xmlns:a16="http://schemas.microsoft.com/office/drawing/2014/main" id="{525FB7B0-8083-E2E6-A3BB-4BEC32E121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0568" y="3244760"/>
            <a:ext cx="216000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2" name="Text Placeholder 52">
            <a:extLst>
              <a:ext uri="{FF2B5EF4-FFF2-40B4-BE49-F238E27FC236}">
                <a16:creationId xmlns:a16="http://schemas.microsoft.com/office/drawing/2014/main" id="{853E8A8D-18FA-7090-D4AC-38D334AF9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3936" y="3244760"/>
            <a:ext cx="216000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3" name="Text Placeholder 52">
            <a:extLst>
              <a:ext uri="{FF2B5EF4-FFF2-40B4-BE49-F238E27FC236}">
                <a16:creationId xmlns:a16="http://schemas.microsoft.com/office/drawing/2014/main" id="{F14E4BD1-BFBC-1119-6457-5E52CB648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97304" y="3244760"/>
            <a:ext cx="2160001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28" name="Picture Placeholder 64">
            <a:extLst>
              <a:ext uri="{FF2B5EF4-FFF2-40B4-BE49-F238E27FC236}">
                <a16:creationId xmlns:a16="http://schemas.microsoft.com/office/drawing/2014/main" id="{89BFF01E-39CE-AC59-4033-22CDABA8C7E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7200" y="2025065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29" name="Picture Placeholder 64">
            <a:extLst>
              <a:ext uri="{FF2B5EF4-FFF2-40B4-BE49-F238E27FC236}">
                <a16:creationId xmlns:a16="http://schemas.microsoft.com/office/drawing/2014/main" id="{5558F51E-1C55-B433-638E-D6460B27B19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370568" y="2025065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30" name="Picture Placeholder 64">
            <a:extLst>
              <a:ext uri="{FF2B5EF4-FFF2-40B4-BE49-F238E27FC236}">
                <a16:creationId xmlns:a16="http://schemas.microsoft.com/office/drawing/2014/main" id="{FD031BB3-0FE1-B290-DE81-D15097D3BFD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83936" y="2025065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31" name="Picture Placeholder 64">
            <a:extLst>
              <a:ext uri="{FF2B5EF4-FFF2-40B4-BE49-F238E27FC236}">
                <a16:creationId xmlns:a16="http://schemas.microsoft.com/office/drawing/2014/main" id="{566A9240-9EF2-EF07-0CCE-C81102C47B3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197304" y="2025065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1D775B24-E682-C0F0-A96D-492F8BCA9FD2}"/>
              </a:ext>
            </a:extLst>
          </p:cNvPr>
          <p:cNvSpPr/>
          <p:nvPr userDrawn="1"/>
        </p:nvSpPr>
        <p:spPr>
          <a:xfrm>
            <a:off x="-222250" y="149347"/>
            <a:ext cx="2099628" cy="3871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gradFill flip="none" rotWithShape="1">
              <a:gsLst>
                <a:gs pos="48000">
                  <a:srgbClr val="000116"/>
                </a:gs>
                <a:gs pos="100000">
                  <a:srgbClr val="000127">
                    <a:alpha val="4000"/>
                  </a:srgb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5D2B3A7E-BC5A-DAB3-7A86-11DAB89CDE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5646" y="203667"/>
            <a:ext cx="1250310" cy="27846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6" name="Picture Placeholder 23">
            <a:extLst>
              <a:ext uri="{FF2B5EF4-FFF2-40B4-BE49-F238E27FC236}">
                <a16:creationId xmlns:a16="http://schemas.microsoft.com/office/drawing/2014/main" id="{C7F5FAEA-7154-1DB6-AB40-8C8EF2CF02A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4048" y="190454"/>
            <a:ext cx="304893" cy="304893"/>
          </a:xfrm>
        </p:spPr>
        <p:txBody>
          <a:bodyPr>
            <a:noAutofit/>
          </a:bodyPr>
          <a:lstStyle>
            <a:lvl1pPr marL="0" indent="0" algn="l">
              <a:buNone/>
              <a:defRPr sz="600"/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22636952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37E51-1CFE-DA6C-EE83-ADDEB064F6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28775"/>
            <a:ext cx="3683000" cy="454183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29D2D5B-DF33-75DE-D5BE-8D6D618F2F1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254500" y="1628775"/>
            <a:ext cx="7480300" cy="4537075"/>
          </a:xfrm>
          <a:noFill/>
        </p:spPr>
        <p:txBody>
          <a:bodyPr/>
          <a:lstStyle>
            <a:lvl1pPr marL="0" indent="0">
              <a:buNone/>
              <a:defRPr lang="en-GB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GB"/>
              <a:t>Click to add Image / Video / Chart / Table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09E0EA3-0983-1FD4-EB71-8EF2B0E301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8E686B-ECA0-ACFA-7F0B-3B33BAE64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3588D0-535F-9134-AAFB-4BCA28DA6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3069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164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CDFC8BB-196E-F1A2-13F8-37551992EED6}"/>
              </a:ext>
            </a:extLst>
          </p:cNvPr>
          <p:cNvSpPr/>
          <p:nvPr/>
        </p:nvSpPr>
        <p:spPr>
          <a:xfrm>
            <a:off x="4254500" y="692151"/>
            <a:ext cx="7480300" cy="5473700"/>
          </a:xfrm>
          <a:prstGeom prst="roundRect">
            <a:avLst>
              <a:gd name="adj" fmla="val 5911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FC3135C2-1616-D386-A1A2-7FCD915F34D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495800" y="915188"/>
            <a:ext cx="6997700" cy="5027626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765B6DB-1CE7-76E9-0CC7-A901D5B06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636838"/>
            <a:ext cx="3683000" cy="352901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10316E-E173-87C9-B4E2-42CDB4C8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18494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19902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CDFC8BB-196E-F1A2-13F8-37551992EED6}"/>
              </a:ext>
            </a:extLst>
          </p:cNvPr>
          <p:cNvSpPr/>
          <p:nvPr/>
        </p:nvSpPr>
        <p:spPr>
          <a:xfrm>
            <a:off x="4254500" y="692151"/>
            <a:ext cx="7480300" cy="5473700"/>
          </a:xfrm>
          <a:prstGeom prst="roundRect">
            <a:avLst>
              <a:gd name="adj" fmla="val 591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FC3135C2-1616-D386-A1A2-7FCD915F34D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495800" y="915188"/>
            <a:ext cx="6997700" cy="242491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765B6DB-1CE7-76E9-0CC7-A901D5B06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636838"/>
            <a:ext cx="3683000" cy="352901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10316E-E173-87C9-B4E2-42CDB4C8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18494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1" name="Chart Placeholder 3">
            <a:extLst>
              <a:ext uri="{FF2B5EF4-FFF2-40B4-BE49-F238E27FC236}">
                <a16:creationId xmlns:a16="http://schemas.microsoft.com/office/drawing/2014/main" id="{775BD006-AF59-AD24-364E-8FF603268B75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495800" y="3537737"/>
            <a:ext cx="6997700" cy="242491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</p:spTree>
    <p:extLst>
      <p:ext uri="{BB962C8B-B14F-4D97-AF65-F5344CB8AC3E}">
        <p14:creationId xmlns:p14="http://schemas.microsoft.com/office/powerpoint/2010/main" val="11823124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B2B26B6-4155-8847-8884-96923E582A8E}"/>
              </a:ext>
            </a:extLst>
          </p:cNvPr>
          <p:cNvGrpSpPr/>
          <p:nvPr userDrawn="1"/>
        </p:nvGrpSpPr>
        <p:grpSpPr>
          <a:xfrm>
            <a:off x="4254500" y="692151"/>
            <a:ext cx="7480300" cy="5473700"/>
            <a:chOff x="4254500" y="685800"/>
            <a:chExt cx="7480300" cy="548640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3AA174D-FFE5-4B9E-BFC9-3CAD14A80486}"/>
                </a:ext>
              </a:extLst>
            </p:cNvPr>
            <p:cNvSpPr/>
            <p:nvPr/>
          </p:nvSpPr>
          <p:spPr>
            <a:xfrm>
              <a:off x="4254500" y="685800"/>
              <a:ext cx="7480300" cy="5486400"/>
            </a:xfrm>
            <a:prstGeom prst="roundRect">
              <a:avLst>
                <a:gd name="adj" fmla="val 7090"/>
              </a:avLst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010238"/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CDFC8BB-196E-F1A2-13F8-37551992EED6}"/>
                </a:ext>
              </a:extLst>
            </p:cNvPr>
            <p:cNvSpPr/>
            <p:nvPr/>
          </p:nvSpPr>
          <p:spPr>
            <a:xfrm>
              <a:off x="4254500" y="685800"/>
              <a:ext cx="7480300" cy="5486400"/>
            </a:xfrm>
            <a:prstGeom prst="roundRect">
              <a:avLst>
                <a:gd name="adj" fmla="val 5911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FC3135C2-1616-D386-A1A2-7FCD915F34D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495800" y="915188"/>
            <a:ext cx="6997700" cy="154226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765B6DB-1CE7-76E9-0CC7-A901D5B06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636838"/>
            <a:ext cx="3683000" cy="352901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10316E-E173-87C9-B4E2-42CDB4C8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18494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Chart Placeholder 3">
            <a:extLst>
              <a:ext uri="{FF2B5EF4-FFF2-40B4-BE49-F238E27FC236}">
                <a16:creationId xmlns:a16="http://schemas.microsoft.com/office/drawing/2014/main" id="{9DBC3FE3-01E2-53AA-8EF2-1030C437213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495800" y="2674541"/>
            <a:ext cx="6997700" cy="154226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80FA788D-4794-86E6-E5DD-0F5B0F6567D6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495800" y="4433894"/>
            <a:ext cx="6997700" cy="154226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</p:spTree>
    <p:extLst>
      <p:ext uri="{BB962C8B-B14F-4D97-AF65-F5344CB8AC3E}">
        <p14:creationId xmlns:p14="http://schemas.microsoft.com/office/powerpoint/2010/main" val="40174581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B2B26B6-4155-8847-8884-96923E582A8E}"/>
              </a:ext>
            </a:extLst>
          </p:cNvPr>
          <p:cNvGrpSpPr/>
          <p:nvPr userDrawn="1"/>
        </p:nvGrpSpPr>
        <p:grpSpPr>
          <a:xfrm>
            <a:off x="4254500" y="692151"/>
            <a:ext cx="7480300" cy="5473700"/>
            <a:chOff x="4254500" y="685800"/>
            <a:chExt cx="7480300" cy="548640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3AA174D-FFE5-4B9E-BFC9-3CAD14A80486}"/>
                </a:ext>
              </a:extLst>
            </p:cNvPr>
            <p:cNvSpPr/>
            <p:nvPr/>
          </p:nvSpPr>
          <p:spPr>
            <a:xfrm>
              <a:off x="4254500" y="685800"/>
              <a:ext cx="7480300" cy="5486400"/>
            </a:xfrm>
            <a:prstGeom prst="roundRect">
              <a:avLst>
                <a:gd name="adj" fmla="val 7090"/>
              </a:avLst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010238"/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CDFC8BB-196E-F1A2-13F8-37551992EED6}"/>
                </a:ext>
              </a:extLst>
            </p:cNvPr>
            <p:cNvSpPr/>
            <p:nvPr/>
          </p:nvSpPr>
          <p:spPr>
            <a:xfrm>
              <a:off x="4254500" y="685800"/>
              <a:ext cx="7480300" cy="5486400"/>
            </a:xfrm>
            <a:prstGeom prst="roundRect">
              <a:avLst>
                <a:gd name="adj" fmla="val 5911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FC3135C2-1616-D386-A1A2-7FCD915F34D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470400" y="915188"/>
            <a:ext cx="3441700" cy="242491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765B6DB-1CE7-76E9-0CC7-A901D5B06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636838"/>
            <a:ext cx="3683000" cy="352901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10316E-E173-87C9-B4E2-42CDB4C8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18494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071A7EC6-FB52-D2F4-5184-79F8A92AAF8F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8089900" y="915188"/>
            <a:ext cx="3441700" cy="242491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7" name="Chart Placeholder 3">
            <a:extLst>
              <a:ext uri="{FF2B5EF4-FFF2-40B4-BE49-F238E27FC236}">
                <a16:creationId xmlns:a16="http://schemas.microsoft.com/office/drawing/2014/main" id="{99521124-8943-0C1F-A3AD-D1A2E9FEE1DA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470400" y="3517900"/>
            <a:ext cx="3441700" cy="242491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  <p:sp>
        <p:nvSpPr>
          <p:cNvPr id="18" name="Chart Placeholder 3">
            <a:extLst>
              <a:ext uri="{FF2B5EF4-FFF2-40B4-BE49-F238E27FC236}">
                <a16:creationId xmlns:a16="http://schemas.microsoft.com/office/drawing/2014/main" id="{E82D8F96-7564-E829-71C6-7EB2FA639BB7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089900" y="3517900"/>
            <a:ext cx="3441700" cy="2424912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to add chart </a:t>
            </a:r>
          </a:p>
        </p:txBody>
      </p:sp>
    </p:spTree>
    <p:extLst>
      <p:ext uri="{BB962C8B-B14F-4D97-AF65-F5344CB8AC3E}">
        <p14:creationId xmlns:p14="http://schemas.microsoft.com/office/powerpoint/2010/main" val="31015062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37E51-1CFE-DA6C-EE83-ADDEB064F6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28775"/>
            <a:ext cx="3683000" cy="454183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0F8630B-D49B-893A-BC07-838409CBDAB6}"/>
              </a:ext>
            </a:extLst>
          </p:cNvPr>
          <p:cNvSpPr/>
          <p:nvPr/>
        </p:nvSpPr>
        <p:spPr>
          <a:xfrm>
            <a:off x="4922113" y="1744792"/>
            <a:ext cx="6238572" cy="4183064"/>
          </a:xfrm>
          <a:prstGeom prst="roundRect">
            <a:avLst>
              <a:gd name="adj" fmla="val 207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9" name="Picture 8" descr="A close-up of a computer&#10;&#10;Description automatically generated">
            <a:extLst>
              <a:ext uri="{FF2B5EF4-FFF2-40B4-BE49-F238E27FC236}">
                <a16:creationId xmlns:a16="http://schemas.microsoft.com/office/drawing/2014/main" id="{A41CCB79-0E60-84A2-3FED-80895C5200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" r="2475"/>
          <a:stretch/>
        </p:blipFill>
        <p:spPr>
          <a:xfrm>
            <a:off x="4254499" y="1448341"/>
            <a:ext cx="7577637" cy="4963776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29D2D5B-DF33-75DE-D5BE-8D6D618F2F1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971825" y="1802606"/>
            <a:ext cx="6131944" cy="3955256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lang="en-GB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GB"/>
              <a:t>Click to add Image / Video / Chart / Table 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7A8E9AD6-6FE2-DE56-73EF-8A237455D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D3139A5E-0DE5-2A6D-1660-B55FF88447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4C4DF1-AB7B-5825-A315-121C9BA3EB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45197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37E51-1CFE-DA6C-EE83-ADDEB064F6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28775"/>
            <a:ext cx="7480300" cy="454183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AD6912F8-FC0D-AFE9-D831-299C91D2E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094" y="1362286"/>
            <a:ext cx="2569469" cy="4956058"/>
          </a:xfrm>
          <a:prstGeom prst="rect">
            <a:avLst/>
          </a:prstGeom>
        </p:spPr>
      </p:pic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65DE50EF-C190-15BE-E4A3-89CDC7DC9A7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921750" y="1646437"/>
            <a:ext cx="2024854" cy="4378325"/>
          </a:xfrm>
          <a:custGeom>
            <a:avLst/>
            <a:gdLst>
              <a:gd name="connsiteX0" fmla="*/ 198274 w 2024854"/>
              <a:gd name="connsiteY0" fmla="*/ 0 h 4378325"/>
              <a:gd name="connsiteX1" fmla="*/ 445427 w 2024854"/>
              <a:gd name="connsiteY1" fmla="*/ 0 h 4378325"/>
              <a:gd name="connsiteX2" fmla="*/ 445427 w 2024854"/>
              <a:gd name="connsiteY2" fmla="*/ 46035 h 4378325"/>
              <a:gd name="connsiteX3" fmla="*/ 445427 w 2024854"/>
              <a:gd name="connsiteY3" fmla="*/ 46036 h 4378325"/>
              <a:gd name="connsiteX4" fmla="*/ 445427 w 2024854"/>
              <a:gd name="connsiteY4" fmla="*/ 50137 h 4378325"/>
              <a:gd name="connsiteX5" fmla="*/ 446255 w 2024854"/>
              <a:gd name="connsiteY5" fmla="*/ 50137 h 4378325"/>
              <a:gd name="connsiteX6" fmla="*/ 454534 w 2024854"/>
              <a:gd name="connsiteY6" fmla="*/ 91144 h 4378325"/>
              <a:gd name="connsiteX7" fmla="*/ 561315 w 2024854"/>
              <a:gd name="connsiteY7" fmla="*/ 161923 h 4378325"/>
              <a:gd name="connsiteX8" fmla="*/ 1463539 w 2024854"/>
              <a:gd name="connsiteY8" fmla="*/ 161924 h 4378325"/>
              <a:gd name="connsiteX9" fmla="*/ 1570320 w 2024854"/>
              <a:gd name="connsiteY9" fmla="*/ 91145 h 4378325"/>
              <a:gd name="connsiteX10" fmla="*/ 1578599 w 2024854"/>
              <a:gd name="connsiteY10" fmla="*/ 50137 h 4378325"/>
              <a:gd name="connsiteX11" fmla="*/ 1579427 w 2024854"/>
              <a:gd name="connsiteY11" fmla="*/ 50137 h 4378325"/>
              <a:gd name="connsiteX12" fmla="*/ 1579427 w 2024854"/>
              <a:gd name="connsiteY12" fmla="*/ 46036 h 4378325"/>
              <a:gd name="connsiteX13" fmla="*/ 1579428 w 2024854"/>
              <a:gd name="connsiteY13" fmla="*/ 46036 h 4378325"/>
              <a:gd name="connsiteX14" fmla="*/ 1579427 w 2024854"/>
              <a:gd name="connsiteY14" fmla="*/ 46031 h 4378325"/>
              <a:gd name="connsiteX15" fmla="*/ 1579427 w 2024854"/>
              <a:gd name="connsiteY15" fmla="*/ 0 h 4378325"/>
              <a:gd name="connsiteX16" fmla="*/ 1826580 w 2024854"/>
              <a:gd name="connsiteY16" fmla="*/ 0 h 4378325"/>
              <a:gd name="connsiteX17" fmla="*/ 2024854 w 2024854"/>
              <a:gd name="connsiteY17" fmla="*/ 198274 h 4378325"/>
              <a:gd name="connsiteX18" fmla="*/ 2024854 w 2024854"/>
              <a:gd name="connsiteY18" fmla="*/ 4180051 h 4378325"/>
              <a:gd name="connsiteX19" fmla="*/ 1826580 w 2024854"/>
              <a:gd name="connsiteY19" fmla="*/ 4378325 h 4378325"/>
              <a:gd name="connsiteX20" fmla="*/ 198274 w 2024854"/>
              <a:gd name="connsiteY20" fmla="*/ 4378325 h 4378325"/>
              <a:gd name="connsiteX21" fmla="*/ 0 w 2024854"/>
              <a:gd name="connsiteY21" fmla="*/ 4180051 h 4378325"/>
              <a:gd name="connsiteX22" fmla="*/ 0 w 2024854"/>
              <a:gd name="connsiteY22" fmla="*/ 198274 h 4378325"/>
              <a:gd name="connsiteX23" fmla="*/ 198274 w 2024854"/>
              <a:gd name="connsiteY23" fmla="*/ 0 h 43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024854" h="4378325">
                <a:moveTo>
                  <a:pt x="198274" y="0"/>
                </a:moveTo>
                <a:lnTo>
                  <a:pt x="445427" y="0"/>
                </a:lnTo>
                <a:lnTo>
                  <a:pt x="445427" y="46035"/>
                </a:lnTo>
                <a:lnTo>
                  <a:pt x="445427" y="46036"/>
                </a:lnTo>
                <a:lnTo>
                  <a:pt x="445427" y="50137"/>
                </a:lnTo>
                <a:lnTo>
                  <a:pt x="446255" y="50137"/>
                </a:lnTo>
                <a:lnTo>
                  <a:pt x="454534" y="91144"/>
                </a:lnTo>
                <a:cubicBezTo>
                  <a:pt x="472127" y="132738"/>
                  <a:pt x="513313" y="161923"/>
                  <a:pt x="561315" y="161923"/>
                </a:cubicBezTo>
                <a:lnTo>
                  <a:pt x="1463539" y="161924"/>
                </a:lnTo>
                <a:cubicBezTo>
                  <a:pt x="1511541" y="161924"/>
                  <a:pt x="1552727" y="132739"/>
                  <a:pt x="1570320" y="91145"/>
                </a:cubicBezTo>
                <a:lnTo>
                  <a:pt x="1578599" y="50137"/>
                </a:lnTo>
                <a:lnTo>
                  <a:pt x="1579427" y="50137"/>
                </a:lnTo>
                <a:lnTo>
                  <a:pt x="1579427" y="46036"/>
                </a:lnTo>
                <a:lnTo>
                  <a:pt x="1579428" y="46036"/>
                </a:lnTo>
                <a:lnTo>
                  <a:pt x="1579427" y="46031"/>
                </a:lnTo>
                <a:lnTo>
                  <a:pt x="1579427" y="0"/>
                </a:lnTo>
                <a:lnTo>
                  <a:pt x="1826580" y="0"/>
                </a:lnTo>
                <a:cubicBezTo>
                  <a:pt x="1936084" y="0"/>
                  <a:pt x="2024854" y="88770"/>
                  <a:pt x="2024854" y="198274"/>
                </a:cubicBezTo>
                <a:lnTo>
                  <a:pt x="2024854" y="4180051"/>
                </a:lnTo>
                <a:cubicBezTo>
                  <a:pt x="2024854" y="4289555"/>
                  <a:pt x="1936084" y="4378325"/>
                  <a:pt x="1826580" y="4378325"/>
                </a:cubicBezTo>
                <a:lnTo>
                  <a:pt x="198274" y="4378325"/>
                </a:lnTo>
                <a:cubicBezTo>
                  <a:pt x="88770" y="4378325"/>
                  <a:pt x="0" y="4289555"/>
                  <a:pt x="0" y="4180051"/>
                </a:cubicBezTo>
                <a:lnTo>
                  <a:pt x="0" y="198274"/>
                </a:lnTo>
                <a:cubicBezTo>
                  <a:pt x="0" y="88770"/>
                  <a:pt x="88770" y="0"/>
                  <a:pt x="1982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tIns="324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imag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DE802A6-D6CF-1675-B338-E0BD483FF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E3910C-6800-BF62-B6FB-FF73138FF9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A63C9F-44E1-98F7-11ED-FF775AE2E4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6468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19" y="2457450"/>
            <a:ext cx="5261305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57450"/>
            <a:ext cx="5261305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C5E8749E-5098-0B16-FA40-C820B9BA12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4819" y="2079445"/>
            <a:ext cx="5261305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E9972286-9A96-7CF4-26F9-E44CC08C99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5998" y="2079445"/>
            <a:ext cx="5261305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742241B-F38F-9B72-8769-3F32F5C159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9021567-2F4A-AC11-8937-E37B07393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C6DA731-8835-152B-545C-638D4250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858998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20" y="2457450"/>
            <a:ext cx="3283544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4500" y="2457450"/>
            <a:ext cx="3283544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3761" y="2457450"/>
            <a:ext cx="3283544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ext Placeholder 58">
            <a:extLst>
              <a:ext uri="{FF2B5EF4-FFF2-40B4-BE49-F238E27FC236}">
                <a16:creationId xmlns:a16="http://schemas.microsoft.com/office/drawing/2014/main" id="{C9AAFE67-8391-BB98-5EEE-A20C6E40346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4820" y="2079445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C1E1B70F-77EF-3B40-4308-084DB0EC6B8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4500" y="2079445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8CE2ED02-80DE-583D-15EE-CFDB957DEB2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3761" y="2079445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BDCDE5C-0D08-F165-AE79-54E83D7674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48166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F3C9376-E25C-6444-9710-179326701A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7304" y="2457450"/>
            <a:ext cx="2160001" cy="3346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5E093A83-6DB2-CECF-315C-F44C17C287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2079445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28117D6D-A871-0A0E-7096-2CC91D2E3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0568" y="2079445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4" name="Text Placeholder 58">
            <a:extLst>
              <a:ext uri="{FF2B5EF4-FFF2-40B4-BE49-F238E27FC236}">
                <a16:creationId xmlns:a16="http://schemas.microsoft.com/office/drawing/2014/main" id="{7E4FA7AF-B20F-EA1C-EE3E-DF0E59D08A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3936" y="2079445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816D0A79-F1FB-F4E7-C7DD-66843F9ADB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97304" y="2079445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C8FC4DC-0974-1E8A-2DD0-C316C49A0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18883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sho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Picture Placeholder 74">
            <a:extLst>
              <a:ext uri="{FF2B5EF4-FFF2-40B4-BE49-F238E27FC236}">
                <a16:creationId xmlns:a16="http://schemas.microsoft.com/office/drawing/2014/main" id="{37092395-265C-6428-D95E-CA4E5AA447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83936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4" name="Picture Placeholder 74">
            <a:extLst>
              <a:ext uri="{FF2B5EF4-FFF2-40B4-BE49-F238E27FC236}">
                <a16:creationId xmlns:a16="http://schemas.microsoft.com/office/drawing/2014/main" id="{A21F75AA-3B0F-297B-452A-66D8DE1F512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70568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8" name="Text Placeholder 58">
            <a:extLst>
              <a:ext uri="{FF2B5EF4-FFF2-40B4-BE49-F238E27FC236}">
                <a16:creationId xmlns:a16="http://schemas.microsoft.com/office/drawing/2014/main" id="{C928BCEF-737E-B42E-BDA2-703AD2E866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0568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Add text</a:t>
            </a:r>
          </a:p>
        </p:txBody>
      </p:sp>
      <p:sp>
        <p:nvSpPr>
          <p:cNvPr id="9" name="Text Placeholder 58">
            <a:extLst>
              <a:ext uri="{FF2B5EF4-FFF2-40B4-BE49-F238E27FC236}">
                <a16:creationId xmlns:a16="http://schemas.microsoft.com/office/drawing/2014/main" id="{CC530F8A-83CF-174D-34A0-2C0C89AE2E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3936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696FE8-D93E-CC65-904C-728021C0E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1984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79692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sho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02631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5999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9368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Picture Placeholder 74">
            <a:extLst>
              <a:ext uri="{FF2B5EF4-FFF2-40B4-BE49-F238E27FC236}">
                <a16:creationId xmlns:a16="http://schemas.microsoft.com/office/drawing/2014/main" id="{37092395-265C-6428-D95E-CA4E5AA447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29368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4" name="Picture Placeholder 74">
            <a:extLst>
              <a:ext uri="{FF2B5EF4-FFF2-40B4-BE49-F238E27FC236}">
                <a16:creationId xmlns:a16="http://schemas.microsoft.com/office/drawing/2014/main" id="{A21F75AA-3B0F-297B-452A-66D8DE1F512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15999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5" name="Picture Placeholder 74">
            <a:extLst>
              <a:ext uri="{FF2B5EF4-FFF2-40B4-BE49-F238E27FC236}">
                <a16:creationId xmlns:a16="http://schemas.microsoft.com/office/drawing/2014/main" id="{F41FA8DC-3FEC-33CC-F9A0-5ACD30BCC7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102631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064772F3-098E-5EC8-AB61-07EF870F6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2631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Name</a:t>
            </a:r>
          </a:p>
        </p:txBody>
      </p:sp>
      <p:sp>
        <p:nvSpPr>
          <p:cNvPr id="8" name="Text Placeholder 58">
            <a:extLst>
              <a:ext uri="{FF2B5EF4-FFF2-40B4-BE49-F238E27FC236}">
                <a16:creationId xmlns:a16="http://schemas.microsoft.com/office/drawing/2014/main" id="{C928BCEF-737E-B42E-BDA2-703AD2E866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5999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Add text</a:t>
            </a:r>
          </a:p>
        </p:txBody>
      </p:sp>
      <p:sp>
        <p:nvSpPr>
          <p:cNvPr id="9" name="Text Placeholder 58">
            <a:extLst>
              <a:ext uri="{FF2B5EF4-FFF2-40B4-BE49-F238E27FC236}">
                <a16:creationId xmlns:a16="http://schemas.microsoft.com/office/drawing/2014/main" id="{CC530F8A-83CF-174D-34A0-2C0C89AE2E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368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208B3A-EDC1-71B4-908E-475D1D72EE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131276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sho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F3C9376-E25C-6444-9710-179326701A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7304" y="4883156"/>
            <a:ext cx="2160001" cy="96520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74">
            <a:extLst>
              <a:ext uri="{FF2B5EF4-FFF2-40B4-BE49-F238E27FC236}">
                <a16:creationId xmlns:a16="http://schemas.microsoft.com/office/drawing/2014/main" id="{59D909E6-0895-8164-7084-8B9C160612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97304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3" name="Picture Placeholder 74">
            <a:extLst>
              <a:ext uri="{FF2B5EF4-FFF2-40B4-BE49-F238E27FC236}">
                <a16:creationId xmlns:a16="http://schemas.microsoft.com/office/drawing/2014/main" id="{37092395-265C-6428-D95E-CA4E5AA447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83936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4" name="Picture Placeholder 74">
            <a:extLst>
              <a:ext uri="{FF2B5EF4-FFF2-40B4-BE49-F238E27FC236}">
                <a16:creationId xmlns:a16="http://schemas.microsoft.com/office/drawing/2014/main" id="{A21F75AA-3B0F-297B-452A-66D8DE1F512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70568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5" name="Picture Placeholder 74">
            <a:extLst>
              <a:ext uri="{FF2B5EF4-FFF2-40B4-BE49-F238E27FC236}">
                <a16:creationId xmlns:a16="http://schemas.microsoft.com/office/drawing/2014/main" id="{F41FA8DC-3FEC-33CC-F9A0-5ACD30BCC7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200" y="1645803"/>
            <a:ext cx="2160001" cy="268331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064772F3-098E-5EC8-AB61-07EF870F6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Name</a:t>
            </a:r>
          </a:p>
        </p:txBody>
      </p:sp>
      <p:sp>
        <p:nvSpPr>
          <p:cNvPr id="8" name="Text Placeholder 58">
            <a:extLst>
              <a:ext uri="{FF2B5EF4-FFF2-40B4-BE49-F238E27FC236}">
                <a16:creationId xmlns:a16="http://schemas.microsoft.com/office/drawing/2014/main" id="{C928BCEF-737E-B42E-BDA2-703AD2E866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0568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Add text</a:t>
            </a:r>
          </a:p>
        </p:txBody>
      </p:sp>
      <p:sp>
        <p:nvSpPr>
          <p:cNvPr id="9" name="Text Placeholder 58">
            <a:extLst>
              <a:ext uri="{FF2B5EF4-FFF2-40B4-BE49-F238E27FC236}">
                <a16:creationId xmlns:a16="http://schemas.microsoft.com/office/drawing/2014/main" id="{CC530F8A-83CF-174D-34A0-2C0C89AE2E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3936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Add text</a:t>
            </a:r>
          </a:p>
        </p:txBody>
      </p:sp>
      <p:sp>
        <p:nvSpPr>
          <p:cNvPr id="10" name="Text Placeholder 58">
            <a:extLst>
              <a:ext uri="{FF2B5EF4-FFF2-40B4-BE49-F238E27FC236}">
                <a16:creationId xmlns:a16="http://schemas.microsoft.com/office/drawing/2014/main" id="{EE16ACC4-4974-9512-1A80-2A54A23C0A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97304" y="4419600"/>
            <a:ext cx="2160001" cy="46355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4DA887F-EBB0-FC4A-DFC6-F3C663AF97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21095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i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19" y="4232722"/>
            <a:ext cx="5261305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4232722"/>
            <a:ext cx="5261305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BD893CC5-2646-896E-F7A9-944685E40F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4819" y="3864242"/>
            <a:ext cx="5261305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173A0FF2-77B4-FA05-70AF-E55CC3C91C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8" y="3864242"/>
            <a:ext cx="5261305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557776C6-7712-DA7E-C283-A10FF2F83BF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4819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6" name="Picture Placeholder 64">
            <a:extLst>
              <a:ext uri="{FF2B5EF4-FFF2-40B4-BE49-F238E27FC236}">
                <a16:creationId xmlns:a16="http://schemas.microsoft.com/office/drawing/2014/main" id="{2672F4C8-36BE-B102-ADC7-CCC6CE3CFC9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742241B-F38F-9B72-8769-3F32F5C159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9021567-2F4A-AC11-8937-E37B07393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86CD5DB-712A-5434-F6E6-7DBE7A0D2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532440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20" y="4232722"/>
            <a:ext cx="3283544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4500" y="4232722"/>
            <a:ext cx="3283544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3761" y="4232722"/>
            <a:ext cx="3283544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02BAC804-8404-9D04-B76A-B5392BE1DD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4820" y="3864242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4" name="Text Placeholder 58">
            <a:extLst>
              <a:ext uri="{FF2B5EF4-FFF2-40B4-BE49-F238E27FC236}">
                <a16:creationId xmlns:a16="http://schemas.microsoft.com/office/drawing/2014/main" id="{355AA004-47D1-1784-0087-616E3BAAB3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4500" y="3864242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24CFA975-A779-DEC6-A650-BB187B6421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3761" y="3864242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557776C6-7712-DA7E-C283-A10FF2F83BF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4819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6" name="Picture Placeholder 64">
            <a:extLst>
              <a:ext uri="{FF2B5EF4-FFF2-40B4-BE49-F238E27FC236}">
                <a16:creationId xmlns:a16="http://schemas.microsoft.com/office/drawing/2014/main" id="{2672F4C8-36BE-B102-ADC7-CCC6CE3CFC9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7" name="Picture Placeholder 64">
            <a:extLst>
              <a:ext uri="{FF2B5EF4-FFF2-40B4-BE49-F238E27FC236}">
                <a16:creationId xmlns:a16="http://schemas.microsoft.com/office/drawing/2014/main" id="{68ADF023-85AC-3BCD-FDBD-228ED8AB31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073762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8CCD106-74D8-74B4-5C84-ACE0B5AE3B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394732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F3C9376-E25C-6444-9710-179326701A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7304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ext Placeholder 58">
            <a:extLst>
              <a:ext uri="{FF2B5EF4-FFF2-40B4-BE49-F238E27FC236}">
                <a16:creationId xmlns:a16="http://schemas.microsoft.com/office/drawing/2014/main" id="{E58638FB-B5AF-9C38-D600-78D00F08C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5B18FFBB-0EE8-0081-2D6C-967F9E6406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0568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596EA8C5-9457-E049-44D3-45BE16A7A5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3936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6A444ACC-775A-738B-3009-68EDE8095CA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97304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557776C6-7712-DA7E-C283-A10FF2F83BF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7200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6" name="Picture Placeholder 64">
            <a:extLst>
              <a:ext uri="{FF2B5EF4-FFF2-40B4-BE49-F238E27FC236}">
                <a16:creationId xmlns:a16="http://schemas.microsoft.com/office/drawing/2014/main" id="{2672F4C8-36BE-B102-ADC7-CCC6CE3CFC9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70568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7" name="Picture Placeholder 64">
            <a:extLst>
              <a:ext uri="{FF2B5EF4-FFF2-40B4-BE49-F238E27FC236}">
                <a16:creationId xmlns:a16="http://schemas.microsoft.com/office/drawing/2014/main" id="{68ADF023-85AC-3BCD-FDBD-228ED8AB31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83936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8" name="Picture Placeholder 64">
            <a:extLst>
              <a:ext uri="{FF2B5EF4-FFF2-40B4-BE49-F238E27FC236}">
                <a16:creationId xmlns:a16="http://schemas.microsoft.com/office/drawing/2014/main" id="{B662B677-9F95-930F-7B38-CBD3379C635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197304" y="2644547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7DD2ED4-48A7-C3EC-6AB2-068ED199C5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170134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99" y="4232722"/>
            <a:ext cx="55245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299" y="4232722"/>
            <a:ext cx="55245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EB771F7B-AAFF-F515-A1A5-B1B858DA2B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199" y="3864242"/>
            <a:ext cx="55245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F1905BB7-3891-D42E-2795-FF0E8954CC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0298" y="3864242"/>
            <a:ext cx="55245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8" name="Picture Placeholder 74">
            <a:extLst>
              <a:ext uri="{FF2B5EF4-FFF2-40B4-BE49-F238E27FC236}">
                <a16:creationId xmlns:a16="http://schemas.microsoft.com/office/drawing/2014/main" id="{80152D24-F12C-EC26-62D4-B5E5D93F605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10299" y="1627141"/>
            <a:ext cx="552450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80" name="Picture Placeholder 74">
            <a:extLst>
              <a:ext uri="{FF2B5EF4-FFF2-40B4-BE49-F238E27FC236}">
                <a16:creationId xmlns:a16="http://schemas.microsoft.com/office/drawing/2014/main" id="{B0764D8A-8071-0C27-4213-A51516BF2F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199" y="1627141"/>
            <a:ext cx="552450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E60546F-934A-4EF4-A485-F9AB6656D9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33446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 poi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99" y="4232722"/>
            <a:ext cx="35941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8948" y="4232722"/>
            <a:ext cx="35941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0698" y="4232722"/>
            <a:ext cx="35941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0AAA7BEA-7A96-621A-DE75-CDC8BB5E59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7199" y="3864242"/>
            <a:ext cx="35941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20CE6521-798B-D3F4-0F38-0B51F2AFC2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98948" y="3864242"/>
            <a:ext cx="35941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D9D30776-FCF7-73B9-CE33-E909D2D913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0698" y="3864242"/>
            <a:ext cx="35941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8" name="Picture Placeholder 74">
            <a:extLst>
              <a:ext uri="{FF2B5EF4-FFF2-40B4-BE49-F238E27FC236}">
                <a16:creationId xmlns:a16="http://schemas.microsoft.com/office/drawing/2014/main" id="{80152D24-F12C-EC26-62D4-B5E5D93F605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40698" y="1627141"/>
            <a:ext cx="359410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79" name="Picture Placeholder 74">
            <a:extLst>
              <a:ext uri="{FF2B5EF4-FFF2-40B4-BE49-F238E27FC236}">
                <a16:creationId xmlns:a16="http://schemas.microsoft.com/office/drawing/2014/main" id="{C4370AB8-A21C-CBC5-4547-4FAEE0DF879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98948" y="1627141"/>
            <a:ext cx="359410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80" name="Picture Placeholder 74">
            <a:extLst>
              <a:ext uri="{FF2B5EF4-FFF2-40B4-BE49-F238E27FC236}">
                <a16:creationId xmlns:a16="http://schemas.microsoft.com/office/drawing/2014/main" id="{B0764D8A-8071-0C27-4213-A51516BF2F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199" y="1627141"/>
            <a:ext cx="359410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2ACC9A3-2536-E18F-C17B-8645A89BF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358139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9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74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029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F3C9376-E25C-6444-9710-179326701A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6849" y="4232722"/>
            <a:ext cx="264795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ext Placeholder 58">
            <a:extLst>
              <a:ext uri="{FF2B5EF4-FFF2-40B4-BE49-F238E27FC236}">
                <a16:creationId xmlns:a16="http://schemas.microsoft.com/office/drawing/2014/main" id="{9216A615-1118-A890-76A6-1558C5A6A6A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99" y="3864242"/>
            <a:ext cx="264795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0C0CADCD-6A30-20B1-0DB1-91F636E4AC5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33749" y="3864242"/>
            <a:ext cx="264795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6015EC5E-2506-BE61-D2BD-DCC53795CB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0299" y="3864242"/>
            <a:ext cx="264795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315B9ECB-1A90-5AB6-4820-4AB22823C1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6849" y="3864242"/>
            <a:ext cx="264795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9" name="Footer Placeholder 4">
            <a:extLst>
              <a:ext uri="{FF2B5EF4-FFF2-40B4-BE49-F238E27FC236}">
                <a16:creationId xmlns:a16="http://schemas.microsoft.com/office/drawing/2014/main" id="{B8EC1C81-3F63-3D2C-323E-EE61E20E5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D20C1C03-0DAF-2804-BB24-47B4C61B4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5" name="Picture Placeholder 74">
            <a:extLst>
              <a:ext uri="{FF2B5EF4-FFF2-40B4-BE49-F238E27FC236}">
                <a16:creationId xmlns:a16="http://schemas.microsoft.com/office/drawing/2014/main" id="{C2BEAB37-7FDA-083E-25C9-C8B16E15490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8684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78" name="Picture Placeholder 74">
            <a:extLst>
              <a:ext uri="{FF2B5EF4-FFF2-40B4-BE49-F238E27FC236}">
                <a16:creationId xmlns:a16="http://schemas.microsoft.com/office/drawing/2014/main" id="{80152D24-F12C-EC26-62D4-B5E5D93F605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1029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79" name="Picture Placeholder 74">
            <a:extLst>
              <a:ext uri="{FF2B5EF4-FFF2-40B4-BE49-F238E27FC236}">
                <a16:creationId xmlns:a16="http://schemas.microsoft.com/office/drawing/2014/main" id="{C4370AB8-A21C-CBC5-4547-4FAEE0DF879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74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80" name="Picture Placeholder 74">
            <a:extLst>
              <a:ext uri="{FF2B5EF4-FFF2-40B4-BE49-F238E27FC236}">
                <a16:creationId xmlns:a16="http://schemas.microsoft.com/office/drawing/2014/main" id="{B0764D8A-8071-0C27-4213-A51516BF2F3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199" y="1627141"/>
            <a:ext cx="2647951" cy="2090780"/>
          </a:xfrm>
          <a:prstGeom prst="roundRect">
            <a:avLst>
              <a:gd name="adj" fmla="val 5961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BB0B17D-C834-4A1D-15B7-646D25CF29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47727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19" y="4232722"/>
            <a:ext cx="5261305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4232722"/>
            <a:ext cx="5261305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8824D9E9-C8F6-2D9B-EA59-88475F7E9E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4819" y="3864242"/>
            <a:ext cx="5261305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D9530679-2625-B203-7E13-76BB61FD1A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8" y="3864242"/>
            <a:ext cx="5261305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313810-B01A-007B-8A06-48835AC63BCE}"/>
              </a:ext>
            </a:extLst>
          </p:cNvPr>
          <p:cNvSpPr txBox="1"/>
          <p:nvPr userDrawn="1"/>
        </p:nvSpPr>
        <p:spPr>
          <a:xfrm>
            <a:off x="464819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DF5B5B-D03D-D67D-3BAE-1A32FFA60B21}"/>
              </a:ext>
            </a:extLst>
          </p:cNvPr>
          <p:cNvSpPr txBox="1"/>
          <p:nvPr userDrawn="1"/>
        </p:nvSpPr>
        <p:spPr>
          <a:xfrm>
            <a:off x="6096000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2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AF209CA-653A-47E1-9D6F-7977933FDC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9AF6F4A-9E03-EDFF-A39D-9F2813FABF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205BFE9-4DC1-4AEC-815C-4EE6DAAA59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04563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20" y="4232722"/>
            <a:ext cx="3283544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4500" y="4232722"/>
            <a:ext cx="3283544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3761" y="4232722"/>
            <a:ext cx="3283544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0" name="Text Placeholder 58">
            <a:extLst>
              <a:ext uri="{FF2B5EF4-FFF2-40B4-BE49-F238E27FC236}">
                <a16:creationId xmlns:a16="http://schemas.microsoft.com/office/drawing/2014/main" id="{0CFE4B9A-A0DA-EBC3-F83D-3049C0810FF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820" y="3864242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99DDA4E9-3B49-E857-E4D1-C99C5F062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4500" y="3864242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0F182DCA-D4DB-599D-7F00-0712D7929D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3761" y="3864242"/>
            <a:ext cx="3283544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6CEAA1-4DD4-3DB8-88BF-15C31009A500}"/>
              </a:ext>
            </a:extLst>
          </p:cNvPr>
          <p:cNvSpPr txBox="1"/>
          <p:nvPr userDrawn="1"/>
        </p:nvSpPr>
        <p:spPr>
          <a:xfrm>
            <a:off x="464819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4081B5-B259-6061-AF0F-84332289191F}"/>
              </a:ext>
            </a:extLst>
          </p:cNvPr>
          <p:cNvSpPr txBox="1"/>
          <p:nvPr userDrawn="1"/>
        </p:nvSpPr>
        <p:spPr>
          <a:xfrm>
            <a:off x="4254500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D2CA72-919E-4487-AC2A-11521EAB09BB}"/>
              </a:ext>
            </a:extLst>
          </p:cNvPr>
          <p:cNvSpPr txBox="1"/>
          <p:nvPr userDrawn="1"/>
        </p:nvSpPr>
        <p:spPr>
          <a:xfrm>
            <a:off x="8073762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DB605-0686-848C-0AC1-EECB8991CC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E566F-699E-9518-DEB8-7CF719092F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CF51602-FB42-EE9C-51D5-845309BD0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7863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57010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0568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3936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F3C9376-E25C-6444-9710-179326701A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7304" y="4232722"/>
            <a:ext cx="2160001" cy="15711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ext Placeholder 58">
            <a:extLst>
              <a:ext uri="{FF2B5EF4-FFF2-40B4-BE49-F238E27FC236}">
                <a16:creationId xmlns:a16="http://schemas.microsoft.com/office/drawing/2014/main" id="{80B07560-16E0-A0A4-FCB4-8DDC9A06C2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10DDFA63-1A71-B80A-0257-B10B2E1F98D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0568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790AEB9D-689E-8924-3452-806099A3EA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3936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" name="Text Placeholder 58">
            <a:extLst>
              <a:ext uri="{FF2B5EF4-FFF2-40B4-BE49-F238E27FC236}">
                <a16:creationId xmlns:a16="http://schemas.microsoft.com/office/drawing/2014/main" id="{38A31D84-2CC8-D073-7C8C-2AE20DF0AF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97304" y="3864242"/>
            <a:ext cx="2160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3DB5BA-59E8-DF96-EBD6-7D8049FCE3BD}"/>
              </a:ext>
            </a:extLst>
          </p:cNvPr>
          <p:cNvSpPr txBox="1"/>
          <p:nvPr userDrawn="1"/>
        </p:nvSpPr>
        <p:spPr>
          <a:xfrm>
            <a:off x="457200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4E9D7E-BC23-F8CD-4B18-F79CA6B43D68}"/>
              </a:ext>
            </a:extLst>
          </p:cNvPr>
          <p:cNvSpPr txBox="1"/>
          <p:nvPr userDrawn="1"/>
        </p:nvSpPr>
        <p:spPr>
          <a:xfrm>
            <a:off x="3370568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CF4FEC-EF0E-B270-AA6A-088FA32E4FD4}"/>
              </a:ext>
            </a:extLst>
          </p:cNvPr>
          <p:cNvSpPr txBox="1"/>
          <p:nvPr userDrawn="1"/>
        </p:nvSpPr>
        <p:spPr>
          <a:xfrm>
            <a:off x="6283935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614E4E-D72A-19FD-2346-BC055FBC17E8}"/>
              </a:ext>
            </a:extLst>
          </p:cNvPr>
          <p:cNvSpPr txBox="1"/>
          <p:nvPr userDrawn="1"/>
        </p:nvSpPr>
        <p:spPr>
          <a:xfrm>
            <a:off x="9197304" y="2644547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6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4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0F1BC82-9664-200A-72E1-0B4540869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5CF71AC-259A-FE27-E9F5-8423212743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3742BB4-06EC-CE42-8C9D-B50ABF70D4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77199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6ECA0E0-B88F-9B45-F977-90B9299CDD4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254500" y="692151"/>
            <a:ext cx="7480300" cy="5473700"/>
          </a:xfrm>
          <a:noFill/>
        </p:spPr>
        <p:txBody>
          <a:bodyPr/>
          <a:lstStyle>
            <a:lvl1pPr marL="0" indent="0">
              <a:buNone/>
              <a:defRPr lang="en-GB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GB"/>
              <a:t>Click to add Image / Video / Chart / Table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84AA2B-36A0-4B48-82B2-5C2F521BA3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749175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6ECA0E0-B88F-9B45-F977-90B9299CDD4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254500" y="692151"/>
            <a:ext cx="7480300" cy="5473700"/>
          </a:xfrm>
          <a:noFill/>
        </p:spPr>
        <p:txBody>
          <a:bodyPr/>
          <a:lstStyle>
            <a:lvl1pPr marL="0" indent="0">
              <a:buNone/>
              <a:defRPr lang="en-GB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GB"/>
              <a:t>Click to add Image / Video / Chart / Table 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765B6DB-1CE7-76E9-0CC7-A901D5B06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636838"/>
            <a:ext cx="3683000" cy="352901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7DBAD8-B15B-C005-BDCB-9641102A67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3683000" cy="184940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22851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765B6DB-1CE7-76E9-0CC7-A901D5B06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636838"/>
            <a:ext cx="3683000" cy="308914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1EEE3C0-91C8-42EC-E63B-4D714CDA5E0B}"/>
              </a:ext>
            </a:extLst>
          </p:cNvPr>
          <p:cNvSpPr/>
          <p:nvPr userDrawn="1"/>
        </p:nvSpPr>
        <p:spPr>
          <a:xfrm>
            <a:off x="4333256" y="1065440"/>
            <a:ext cx="7305994" cy="4898788"/>
          </a:xfrm>
          <a:prstGeom prst="roundRect">
            <a:avLst>
              <a:gd name="adj" fmla="val 207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GB">
              <a:solidFill>
                <a:schemeClr val="tx2"/>
              </a:solidFill>
            </a:endParaRPr>
          </a:p>
        </p:txBody>
      </p:sp>
      <p:pic>
        <p:nvPicPr>
          <p:cNvPr id="13" name="Picture 12" descr="A close-up of a computer&#10;&#10;Description automatically generated">
            <a:extLst>
              <a:ext uri="{FF2B5EF4-FFF2-40B4-BE49-F238E27FC236}">
                <a16:creationId xmlns:a16="http://schemas.microsoft.com/office/drawing/2014/main" id="{C8437881-0FD0-6286-6005-E37882196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" r="5427"/>
          <a:stretch/>
        </p:blipFill>
        <p:spPr>
          <a:xfrm>
            <a:off x="3600401" y="673447"/>
            <a:ext cx="8597949" cy="5813079"/>
          </a:xfrm>
          <a:prstGeom prst="rect">
            <a:avLst/>
          </a:prstGeom>
        </p:spPr>
      </p:pic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CFEF516-F44E-F064-842A-A36434301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442163" y="1074966"/>
            <a:ext cx="7181122" cy="463200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lang="en-GB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GB"/>
              <a:t>Click to add Image / Video / Chart / Table 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03DA5AF-BE37-3E87-0177-2F0C3E762C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3683000" cy="184940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49815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i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Picture Placeholder 64">
            <a:extLst>
              <a:ext uri="{FF2B5EF4-FFF2-40B4-BE49-F238E27FC236}">
                <a16:creationId xmlns:a16="http://schemas.microsoft.com/office/drawing/2014/main" id="{9A1145FC-2699-EDFF-C7D6-7DD6AE8B9E0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07119" y="1237755"/>
            <a:ext cx="1075059" cy="1077481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227FE7E9-559E-29CF-8FAC-62A09B4FB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7118" y="2829372"/>
            <a:ext cx="7327681" cy="333647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CB8F6ED5-8479-0335-CA3C-E99E695B02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07118" y="2460892"/>
            <a:ext cx="732768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2CF69F9-0D1B-1605-F94E-AE1724FD22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F70B5B-213F-F7D2-5E9B-9416C00853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1628775"/>
            <a:ext cx="3683000" cy="427319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98126E7-F1E1-62F0-BB89-E4AD200BCC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3564339"/>
            <a:ext cx="3683000" cy="42731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0778D9D-9F1A-DF6C-9AD4-07B5B3A50F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072357"/>
            <a:ext cx="3683000" cy="2093493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  <a:p>
            <a:pPr lvl="0"/>
            <a:r>
              <a:rPr lang="en-GB"/>
              <a:t>Add text</a:t>
            </a:r>
          </a:p>
          <a:p>
            <a:pPr lvl="0"/>
            <a:r>
              <a:rPr lang="en-GB"/>
              <a:t>Add text</a:t>
            </a:r>
          </a:p>
          <a:p>
            <a:pPr lvl="0"/>
            <a:r>
              <a:rPr lang="en-GB"/>
              <a:t>Add text</a:t>
            </a:r>
          </a:p>
          <a:p>
            <a:pPr lvl="0"/>
            <a:r>
              <a:rPr lang="en-GB"/>
              <a:t>Add text</a:t>
            </a:r>
          </a:p>
        </p:txBody>
      </p:sp>
      <p:sp>
        <p:nvSpPr>
          <p:cNvPr id="8" name="Picture Placeholder 64">
            <a:extLst>
              <a:ext uri="{FF2B5EF4-FFF2-40B4-BE49-F238E27FC236}">
                <a16:creationId xmlns:a16="http://schemas.microsoft.com/office/drawing/2014/main" id="{09CC5AAF-5BDD-394F-D7BB-46FF1BA78FA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7200" y="2160257"/>
            <a:ext cx="457489" cy="458520"/>
          </a:xfr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9" name="Picture Placeholder 64">
            <a:extLst>
              <a:ext uri="{FF2B5EF4-FFF2-40B4-BE49-F238E27FC236}">
                <a16:creationId xmlns:a16="http://schemas.microsoft.com/office/drawing/2014/main" id="{BE96D5F6-527A-9942-0C7A-42FA06B14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790336" y="2160257"/>
            <a:ext cx="457489" cy="458520"/>
          </a:xfr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1" name="Picture Placeholder 64">
            <a:extLst>
              <a:ext uri="{FF2B5EF4-FFF2-40B4-BE49-F238E27FC236}">
                <a16:creationId xmlns:a16="http://schemas.microsoft.com/office/drawing/2014/main" id="{1AF7E274-9DB1-B1A6-7B25-9414028C8ED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115441" y="2160257"/>
            <a:ext cx="457489" cy="458520"/>
          </a:xfrm>
        </p:spPr>
        <p:txBody>
          <a:bodyPr>
            <a:noAutofit/>
          </a:bodyPr>
          <a:lstStyle>
            <a:lvl1pPr marL="0" indent="0">
              <a:buNone/>
              <a:defRPr sz="6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75098B0-F302-C5C0-3762-FDF629F5C1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2787997"/>
            <a:ext cx="1024759" cy="28882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B877FB-4EE3-4FF8-EF64-AD8A57CF1C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90336" y="2787997"/>
            <a:ext cx="1024759" cy="28882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5BFC7B5-0487-AF76-288A-6DDD4588B4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15441" y="2787997"/>
            <a:ext cx="1024759" cy="28882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909713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227FE7E9-559E-29CF-8FAC-62A09B4FB9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254499" y="2942632"/>
            <a:ext cx="3175001" cy="322321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B77694A-F32F-084D-E980-0F8BEDB106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2561" y="2942632"/>
            <a:ext cx="3175001" cy="322321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DDE201DE-B894-F1F2-B3DA-304B225164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2561" y="2470051"/>
            <a:ext cx="3175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1" name="Text Placeholder 58">
            <a:extLst>
              <a:ext uri="{FF2B5EF4-FFF2-40B4-BE49-F238E27FC236}">
                <a16:creationId xmlns:a16="http://schemas.microsoft.com/office/drawing/2014/main" id="{BED13B81-6E87-0F18-B0A4-96D79410F8D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54499" y="2470051"/>
            <a:ext cx="3175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78" name="Picture Placeholder 64">
            <a:extLst>
              <a:ext uri="{FF2B5EF4-FFF2-40B4-BE49-F238E27FC236}">
                <a16:creationId xmlns:a16="http://schemas.microsoft.com/office/drawing/2014/main" id="{768CB088-70D9-16CF-F0E2-19B95C7A9AB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062561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9" name="Picture Placeholder 64">
            <a:extLst>
              <a:ext uri="{FF2B5EF4-FFF2-40B4-BE49-F238E27FC236}">
                <a16:creationId xmlns:a16="http://schemas.microsoft.com/office/drawing/2014/main" id="{3C939775-8EC8-569D-D584-ED8A73002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54499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76AE9F8-7105-553D-BB4F-8C900EAA9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695581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227FE7E9-559E-29CF-8FAC-62A09B4FB9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254500" y="2942632"/>
            <a:ext cx="2298856" cy="322321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B77694A-F32F-084D-E980-0F8BEDB106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5222" y="2942632"/>
            <a:ext cx="2298856" cy="322321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58">
            <a:extLst>
              <a:ext uri="{FF2B5EF4-FFF2-40B4-BE49-F238E27FC236}">
                <a16:creationId xmlns:a16="http://schemas.microsoft.com/office/drawing/2014/main" id="{6E607E73-1040-321F-8354-69153E7738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45222" y="2470051"/>
            <a:ext cx="2298856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E623585F-D4B6-D9F0-9750-E8F0444851E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54500" y="2470051"/>
            <a:ext cx="2298856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78" name="Picture Placeholder 64">
            <a:extLst>
              <a:ext uri="{FF2B5EF4-FFF2-40B4-BE49-F238E27FC236}">
                <a16:creationId xmlns:a16="http://schemas.microsoft.com/office/drawing/2014/main" id="{768CB088-70D9-16CF-F0E2-19B95C7A9AB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845221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9" name="Picture Placeholder 64">
            <a:extLst>
              <a:ext uri="{FF2B5EF4-FFF2-40B4-BE49-F238E27FC236}">
                <a16:creationId xmlns:a16="http://schemas.microsoft.com/office/drawing/2014/main" id="{3C939775-8EC8-569D-D584-ED8A73002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54499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5" name="Text Placeholder 58">
            <a:extLst>
              <a:ext uri="{FF2B5EF4-FFF2-40B4-BE49-F238E27FC236}">
                <a16:creationId xmlns:a16="http://schemas.microsoft.com/office/drawing/2014/main" id="{A5AC2612-AD34-BF71-0E22-2AFB7A79DD3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35944" y="2942632"/>
            <a:ext cx="2298856" cy="322321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4A5052AE-E10F-C754-B263-503FEF19AE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35944" y="2470051"/>
            <a:ext cx="2298856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7" name="Picture Placeholder 64">
            <a:extLst>
              <a:ext uri="{FF2B5EF4-FFF2-40B4-BE49-F238E27FC236}">
                <a16:creationId xmlns:a16="http://schemas.microsoft.com/office/drawing/2014/main" id="{0AAAD89B-7B0C-77F3-526F-E181DDA0CBC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35943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9EFDBE69-CDB2-6CD9-11E7-EB92D61AA0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6591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left and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227FE7E9-559E-29CF-8FAC-62A09B4FB9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254499" y="2942632"/>
            <a:ext cx="3175001" cy="64633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2" name="Text Placeholder 58">
            <a:extLst>
              <a:ext uri="{FF2B5EF4-FFF2-40B4-BE49-F238E27FC236}">
                <a16:creationId xmlns:a16="http://schemas.microsoft.com/office/drawing/2014/main" id="{5B77694A-F32F-084D-E980-0F8BEDB106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2561" y="2942632"/>
            <a:ext cx="3175001" cy="64633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4" name="Text Placeholder 58">
            <a:extLst>
              <a:ext uri="{FF2B5EF4-FFF2-40B4-BE49-F238E27FC236}">
                <a16:creationId xmlns:a16="http://schemas.microsoft.com/office/drawing/2014/main" id="{B264832F-1E40-118C-59CF-A729BC3900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54499" y="5499063"/>
            <a:ext cx="3175001" cy="64633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2F4BC6F0-2446-F3DA-FD05-D3C7EF9999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2561" y="5499063"/>
            <a:ext cx="3175001" cy="64633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" name="Picture Placeholder 64">
            <a:extLst>
              <a:ext uri="{FF2B5EF4-FFF2-40B4-BE49-F238E27FC236}">
                <a16:creationId xmlns:a16="http://schemas.microsoft.com/office/drawing/2014/main" id="{9A1145FC-2699-EDFF-C7D6-7DD6AE8B9E07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8062561" y="4009190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58">
            <a:extLst>
              <a:ext uri="{FF2B5EF4-FFF2-40B4-BE49-F238E27FC236}">
                <a16:creationId xmlns:a16="http://schemas.microsoft.com/office/drawing/2014/main" id="{8337B4F8-1840-5575-55D7-B4BB5B97DC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62561" y="5026482"/>
            <a:ext cx="3175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89F1E9CC-2892-7181-62AB-10D8DB0FE9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54499" y="5026482"/>
            <a:ext cx="3175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" name="Text Placeholder 58">
            <a:extLst>
              <a:ext uri="{FF2B5EF4-FFF2-40B4-BE49-F238E27FC236}">
                <a16:creationId xmlns:a16="http://schemas.microsoft.com/office/drawing/2014/main" id="{88417F83-FBB0-B38E-04B7-C7ADAC61846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62561" y="2470051"/>
            <a:ext cx="3175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1" name="Text Placeholder 58">
            <a:extLst>
              <a:ext uri="{FF2B5EF4-FFF2-40B4-BE49-F238E27FC236}">
                <a16:creationId xmlns:a16="http://schemas.microsoft.com/office/drawing/2014/main" id="{DB10A12F-4616-61B3-E1A7-276B53F630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54499" y="2470051"/>
            <a:ext cx="3175001" cy="36848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76" name="Picture Placeholder 64">
            <a:extLst>
              <a:ext uri="{FF2B5EF4-FFF2-40B4-BE49-F238E27FC236}">
                <a16:creationId xmlns:a16="http://schemas.microsoft.com/office/drawing/2014/main" id="{CBCE10A9-EAF7-CCE6-62F1-945C589FE85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54499" y="4009190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8" name="Picture Placeholder 64">
            <a:extLst>
              <a:ext uri="{FF2B5EF4-FFF2-40B4-BE49-F238E27FC236}">
                <a16:creationId xmlns:a16="http://schemas.microsoft.com/office/drawing/2014/main" id="{768CB088-70D9-16CF-F0E2-19B95C7A9AB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062561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9" name="Picture Placeholder 64">
            <a:extLst>
              <a:ext uri="{FF2B5EF4-FFF2-40B4-BE49-F238E27FC236}">
                <a16:creationId xmlns:a16="http://schemas.microsoft.com/office/drawing/2014/main" id="{3C939775-8EC8-569D-D584-ED8A73002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54499" y="1452759"/>
            <a:ext cx="818974" cy="82081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97ED5323-09FE-B9CF-E862-B8DE3FEFE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35562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oints -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B2F288BC-35DE-490D-1119-ABAC622B2DC0}"/>
              </a:ext>
            </a:extLst>
          </p:cNvPr>
          <p:cNvSpPr/>
          <p:nvPr userDrawn="1"/>
        </p:nvSpPr>
        <p:spPr>
          <a:xfrm>
            <a:off x="4254500" y="4342485"/>
            <a:ext cx="3660172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D919F2FD-6672-B3BC-8F20-20C7F3D40383}"/>
              </a:ext>
            </a:extLst>
          </p:cNvPr>
          <p:cNvSpPr/>
          <p:nvPr userDrawn="1"/>
        </p:nvSpPr>
        <p:spPr>
          <a:xfrm>
            <a:off x="8074628" y="4342485"/>
            <a:ext cx="3660172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algn="ctr"/>
            <a:endParaRPr lang="en-GB"/>
          </a:p>
        </p:txBody>
      </p:sp>
      <p:sp>
        <p:nvSpPr>
          <p:cNvPr id="68" name="Text Placeholder 58">
            <a:extLst>
              <a:ext uri="{FF2B5EF4-FFF2-40B4-BE49-F238E27FC236}">
                <a16:creationId xmlns:a16="http://schemas.microsoft.com/office/drawing/2014/main" id="{98FD1F25-5909-F3CE-84FC-3E653161D1A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43432" y="4483511"/>
            <a:ext cx="3482308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1" name="Text Placeholder 58">
            <a:extLst>
              <a:ext uri="{FF2B5EF4-FFF2-40B4-BE49-F238E27FC236}">
                <a16:creationId xmlns:a16="http://schemas.microsoft.com/office/drawing/2014/main" id="{A3C6FE13-3C2C-EED5-53FC-BEC89AEBA9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3560" y="4483511"/>
            <a:ext cx="3482308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6" name="Picture Placeholder 64">
            <a:extLst>
              <a:ext uri="{FF2B5EF4-FFF2-40B4-BE49-F238E27FC236}">
                <a16:creationId xmlns:a16="http://schemas.microsoft.com/office/drawing/2014/main" id="{CBCE10A9-EAF7-CCE6-62F1-945C589FE85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528226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EC1F829D-74DB-DB77-346B-3D6158EE55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54500" y="5138928"/>
            <a:ext cx="3660172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DA93A25-E027-5E23-B314-820A722A1D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74628" y="5138928"/>
            <a:ext cx="3660172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9" name="Picture Placeholder 64">
            <a:extLst>
              <a:ext uri="{FF2B5EF4-FFF2-40B4-BE49-F238E27FC236}">
                <a16:creationId xmlns:a16="http://schemas.microsoft.com/office/drawing/2014/main" id="{3C939775-8EC8-569D-D584-ED8A73002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708098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9" name="Text Placeholder 58">
            <a:extLst>
              <a:ext uri="{FF2B5EF4-FFF2-40B4-BE49-F238E27FC236}">
                <a16:creationId xmlns:a16="http://schemas.microsoft.com/office/drawing/2014/main" id="{4BDF4C20-409F-6792-9EEB-15F6FE8DBD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07320" y="1628774"/>
            <a:ext cx="6759180" cy="1008063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2400" kern="1200" dirty="0">
                <a:solidFill>
                  <a:schemeClr val="tx2"/>
                </a:solidFill>
                <a:latin typeface="+mj-lt"/>
                <a:ea typeface="Montserrat"/>
                <a:cs typeface="Montserrat"/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D138B23-F626-23C4-9924-F2E67CAFE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70665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oints -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B2F288BC-35DE-490D-1119-ABAC622B2DC0}"/>
              </a:ext>
            </a:extLst>
          </p:cNvPr>
          <p:cNvSpPr/>
          <p:nvPr userDrawn="1"/>
        </p:nvSpPr>
        <p:spPr>
          <a:xfrm>
            <a:off x="4254500" y="4342485"/>
            <a:ext cx="2422845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D919F2FD-6672-B3BC-8F20-20C7F3D40383}"/>
              </a:ext>
            </a:extLst>
          </p:cNvPr>
          <p:cNvSpPr/>
          <p:nvPr userDrawn="1"/>
        </p:nvSpPr>
        <p:spPr>
          <a:xfrm>
            <a:off x="6783228" y="4342485"/>
            <a:ext cx="2422845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3CEE1FCF-579D-1CCB-E567-27F365059258}"/>
              </a:ext>
            </a:extLst>
          </p:cNvPr>
          <p:cNvSpPr/>
          <p:nvPr userDrawn="1"/>
        </p:nvSpPr>
        <p:spPr>
          <a:xfrm>
            <a:off x="9311955" y="4342485"/>
            <a:ext cx="2422845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68" name="Text Placeholder 58">
            <a:extLst>
              <a:ext uri="{FF2B5EF4-FFF2-40B4-BE49-F238E27FC236}">
                <a16:creationId xmlns:a16="http://schemas.microsoft.com/office/drawing/2014/main" id="{98FD1F25-5909-F3CE-84FC-3E653161D1A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54500" y="4483511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" name="Picture Placeholder 64">
            <a:extLst>
              <a:ext uri="{FF2B5EF4-FFF2-40B4-BE49-F238E27FC236}">
                <a16:creationId xmlns:a16="http://schemas.microsoft.com/office/drawing/2014/main" id="{9A1145FC-2699-EDFF-C7D6-7DD6AE8B9E07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10146889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1" name="Text Placeholder 58">
            <a:extLst>
              <a:ext uri="{FF2B5EF4-FFF2-40B4-BE49-F238E27FC236}">
                <a16:creationId xmlns:a16="http://schemas.microsoft.com/office/drawing/2014/main" id="{A3C6FE13-3C2C-EED5-53FC-BEC89AEBA9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28" y="4483511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2" name="Text Placeholder 58">
            <a:extLst>
              <a:ext uri="{FF2B5EF4-FFF2-40B4-BE49-F238E27FC236}">
                <a16:creationId xmlns:a16="http://schemas.microsoft.com/office/drawing/2014/main" id="{85AA701B-A081-AA5C-8F4C-58FA21495F6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311955" y="4483511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6" name="Picture Placeholder 64">
            <a:extLst>
              <a:ext uri="{FF2B5EF4-FFF2-40B4-BE49-F238E27FC236}">
                <a16:creationId xmlns:a16="http://schemas.microsoft.com/office/drawing/2014/main" id="{CBCE10A9-EAF7-CCE6-62F1-945C589FE85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618162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EC1F829D-74DB-DB77-346B-3D6158EE55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54500" y="5138928"/>
            <a:ext cx="2422845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DA93A25-E027-5E23-B314-820A722A1D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28" y="5138928"/>
            <a:ext cx="2422845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6" name="Text Placeholder 58">
            <a:extLst>
              <a:ext uri="{FF2B5EF4-FFF2-40B4-BE49-F238E27FC236}">
                <a16:creationId xmlns:a16="http://schemas.microsoft.com/office/drawing/2014/main" id="{54856053-E9A0-E211-79B2-9606E79420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11955" y="5138928"/>
            <a:ext cx="2422845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9" name="Picture Placeholder 64">
            <a:extLst>
              <a:ext uri="{FF2B5EF4-FFF2-40B4-BE49-F238E27FC236}">
                <a16:creationId xmlns:a16="http://schemas.microsoft.com/office/drawing/2014/main" id="{3C939775-8EC8-569D-D584-ED8A73002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089435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9" name="Text Placeholder 58">
            <a:extLst>
              <a:ext uri="{FF2B5EF4-FFF2-40B4-BE49-F238E27FC236}">
                <a16:creationId xmlns:a16="http://schemas.microsoft.com/office/drawing/2014/main" id="{9F28509C-AEA6-C9A5-A729-F3BA58351A4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07320" y="1628774"/>
            <a:ext cx="6759180" cy="1008063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2400" kern="1200" dirty="0">
                <a:solidFill>
                  <a:schemeClr val="tx2"/>
                </a:solidFill>
                <a:latin typeface="+mj-lt"/>
                <a:ea typeface="Montserrat"/>
                <a:cs typeface="Montserrat"/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D924FB12-B257-90C1-3001-EDAC939F8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1179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161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4 points -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B2F288BC-35DE-490D-1119-ABAC622B2DC0}"/>
              </a:ext>
            </a:extLst>
          </p:cNvPr>
          <p:cNvSpPr/>
          <p:nvPr userDrawn="1"/>
        </p:nvSpPr>
        <p:spPr>
          <a:xfrm>
            <a:off x="4254500" y="4342485"/>
            <a:ext cx="1810726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D919F2FD-6672-B3BC-8F20-20C7F3D40383}"/>
              </a:ext>
            </a:extLst>
          </p:cNvPr>
          <p:cNvSpPr/>
          <p:nvPr userDrawn="1"/>
        </p:nvSpPr>
        <p:spPr>
          <a:xfrm>
            <a:off x="6144358" y="4342485"/>
            <a:ext cx="1810726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3CEE1FCF-579D-1CCB-E567-27F365059258}"/>
              </a:ext>
            </a:extLst>
          </p:cNvPr>
          <p:cNvSpPr/>
          <p:nvPr userDrawn="1"/>
        </p:nvSpPr>
        <p:spPr>
          <a:xfrm>
            <a:off x="8034216" y="4342485"/>
            <a:ext cx="1810726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0821905-4190-491C-8E4A-A76DFD3840A7}"/>
              </a:ext>
            </a:extLst>
          </p:cNvPr>
          <p:cNvSpPr/>
          <p:nvPr userDrawn="1"/>
        </p:nvSpPr>
        <p:spPr>
          <a:xfrm>
            <a:off x="9924072" y="4342485"/>
            <a:ext cx="1810726" cy="55220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68" name="Text Placeholder 58">
            <a:extLst>
              <a:ext uri="{FF2B5EF4-FFF2-40B4-BE49-F238E27FC236}">
                <a16:creationId xmlns:a16="http://schemas.microsoft.com/office/drawing/2014/main" id="{98FD1F25-5909-F3CE-84FC-3E653161D1A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6409" y="4483511"/>
            <a:ext cx="1692307" cy="244753"/>
          </a:xfrm>
        </p:spPr>
        <p:txBody>
          <a:bodyPr lIns="9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" name="Picture Placeholder 64">
            <a:extLst>
              <a:ext uri="{FF2B5EF4-FFF2-40B4-BE49-F238E27FC236}">
                <a16:creationId xmlns:a16="http://schemas.microsoft.com/office/drawing/2014/main" id="{9A1145FC-2699-EDFF-C7D6-7DD6AE8B9E07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8563090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1" name="Text Placeholder 58">
            <a:extLst>
              <a:ext uri="{FF2B5EF4-FFF2-40B4-BE49-F238E27FC236}">
                <a16:creationId xmlns:a16="http://schemas.microsoft.com/office/drawing/2014/main" id="{A3C6FE13-3C2C-EED5-53FC-BEC89AEBA9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3568" y="4483511"/>
            <a:ext cx="1692307" cy="244753"/>
          </a:xfrm>
        </p:spPr>
        <p:txBody>
          <a:bodyPr lIns="9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2" name="Text Placeholder 58">
            <a:extLst>
              <a:ext uri="{FF2B5EF4-FFF2-40B4-BE49-F238E27FC236}">
                <a16:creationId xmlns:a16="http://schemas.microsoft.com/office/drawing/2014/main" id="{85AA701B-A081-AA5C-8F4C-58FA21495F6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93425" y="4483511"/>
            <a:ext cx="1692307" cy="244753"/>
          </a:xfrm>
        </p:spPr>
        <p:txBody>
          <a:bodyPr lIns="9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3" name="Text Placeholder 58">
            <a:extLst>
              <a:ext uri="{FF2B5EF4-FFF2-40B4-BE49-F238E27FC236}">
                <a16:creationId xmlns:a16="http://schemas.microsoft.com/office/drawing/2014/main" id="{E729293D-21F3-9AA2-691B-72A7D5F93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83284" y="4483511"/>
            <a:ext cx="1692307" cy="244753"/>
          </a:xfrm>
        </p:spPr>
        <p:txBody>
          <a:bodyPr lIns="9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6" name="Picture Placeholder 64">
            <a:extLst>
              <a:ext uri="{FF2B5EF4-FFF2-40B4-BE49-F238E27FC236}">
                <a16:creationId xmlns:a16="http://schemas.microsoft.com/office/drawing/2014/main" id="{CBCE10A9-EAF7-CCE6-62F1-945C589FE85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673233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EC1F829D-74DB-DB77-346B-3D6158EE55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54501" y="5138928"/>
            <a:ext cx="1810726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8" name="Picture Placeholder 64">
            <a:extLst>
              <a:ext uri="{FF2B5EF4-FFF2-40B4-BE49-F238E27FC236}">
                <a16:creationId xmlns:a16="http://schemas.microsoft.com/office/drawing/2014/main" id="{768CB088-70D9-16CF-F0E2-19B95C7A9AB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452947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DA93A25-E027-5E23-B314-820A722A1D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4358" y="5138928"/>
            <a:ext cx="1810726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6" name="Text Placeholder 58">
            <a:extLst>
              <a:ext uri="{FF2B5EF4-FFF2-40B4-BE49-F238E27FC236}">
                <a16:creationId xmlns:a16="http://schemas.microsoft.com/office/drawing/2014/main" id="{54856053-E9A0-E211-79B2-9606E79420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4215" y="5138928"/>
            <a:ext cx="1810726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7" name="Text Placeholder 58">
            <a:extLst>
              <a:ext uri="{FF2B5EF4-FFF2-40B4-BE49-F238E27FC236}">
                <a16:creationId xmlns:a16="http://schemas.microsoft.com/office/drawing/2014/main" id="{583CFCD8-4223-E202-C24C-D4992AC1D24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24072" y="5138928"/>
            <a:ext cx="1810726" cy="866149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9" name="Picture Placeholder 64">
            <a:extLst>
              <a:ext uri="{FF2B5EF4-FFF2-40B4-BE49-F238E27FC236}">
                <a16:creationId xmlns:a16="http://schemas.microsoft.com/office/drawing/2014/main" id="{3C939775-8EC8-569D-D584-ED8A73002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783376" y="3277952"/>
            <a:ext cx="752976" cy="7546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74" name="Text Placeholder 58">
            <a:extLst>
              <a:ext uri="{FF2B5EF4-FFF2-40B4-BE49-F238E27FC236}">
                <a16:creationId xmlns:a16="http://schemas.microsoft.com/office/drawing/2014/main" id="{FA4472CF-6071-A894-CC47-134919158F9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07320" y="1628774"/>
            <a:ext cx="6759180" cy="1008063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2400" kern="1200" dirty="0">
                <a:solidFill>
                  <a:schemeClr val="tx2"/>
                </a:solidFill>
                <a:latin typeface="+mj-lt"/>
                <a:ea typeface="Montserrat"/>
                <a:cs typeface="Montserrat"/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5BEE952-C84A-E09B-667D-B97132743A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7"/>
            <a:ext cx="3683000" cy="555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005032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4E0AE95-90B1-27D6-F7AB-34519A319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604" t="13" b="55172"/>
          <a:stretch/>
        </p:blipFill>
        <p:spPr>
          <a:xfrm>
            <a:off x="862" y="2492234"/>
            <a:ext cx="5503304" cy="4365766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EF308E5-B192-EEF0-AD15-C516D8D3FA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7119" y="5660771"/>
            <a:ext cx="6245182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/>
            </a:lvl2pPr>
            <a:lvl3pPr marL="914400" indent="0">
              <a:buFont typeface="Arial" panose="020B0604020202020204" pitchFamily="34" charset="0"/>
              <a:buNone/>
              <a:defRPr sz="1200"/>
            </a:lvl3pPr>
            <a:lvl4pPr marL="1371600" indent="0">
              <a:buFont typeface="Arial" panose="020B0604020202020204" pitchFamily="34" charset="0"/>
              <a:buNone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GB"/>
              <a:t>Add Source</a:t>
            </a:r>
          </a:p>
        </p:txBody>
      </p:sp>
      <p:sp>
        <p:nvSpPr>
          <p:cNvPr id="17" name="Text Placeholder 58">
            <a:extLst>
              <a:ext uri="{FF2B5EF4-FFF2-40B4-BE49-F238E27FC236}">
                <a16:creationId xmlns:a16="http://schemas.microsoft.com/office/drawing/2014/main" id="{CC5DB1D1-1080-BADE-CF1D-2ABAD076D2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7119" y="2457450"/>
            <a:ext cx="6245182" cy="3067818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2400" kern="1200" dirty="0">
                <a:solidFill>
                  <a:schemeClr val="tx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Add Quo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D7259EC-19A5-B8BB-B100-B7C65DB7DB60}"/>
              </a:ext>
            </a:extLst>
          </p:cNvPr>
          <p:cNvSpPr txBox="1"/>
          <p:nvPr userDrawn="1"/>
        </p:nvSpPr>
        <p:spPr>
          <a:xfrm>
            <a:off x="4407119" y="1477972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9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rPr>
              <a:t>“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85813F0-EAE8-6019-2503-3D3032E961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3683000" cy="184940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95321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EAE0A00-317A-5BB9-6164-A78A00D3EA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604" t="13" b="55172"/>
          <a:stretch/>
        </p:blipFill>
        <p:spPr>
          <a:xfrm>
            <a:off x="862" y="2492234"/>
            <a:ext cx="5503304" cy="4365766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747BAE-012F-9CD4-C55A-56639ADAA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203146-CE8F-F7AB-69CF-D446382AB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58">
            <a:extLst>
              <a:ext uri="{FF2B5EF4-FFF2-40B4-BE49-F238E27FC236}">
                <a16:creationId xmlns:a16="http://schemas.microsoft.com/office/drawing/2014/main" id="{CC5DB1D1-1080-BADE-CF1D-2ABAD076D2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7119" y="2457450"/>
            <a:ext cx="6245182" cy="3067818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0000"/>
              </a:buClr>
              <a:buSzPts val="1800"/>
              <a:buFont typeface="Segoe UI" panose="020B0502040204020203" pitchFamily="34" charset="0"/>
              <a:buNone/>
              <a:defRPr lang="en-GB" sz="2400" kern="1200" dirty="0">
                <a:solidFill>
                  <a:schemeClr val="tx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Add Quo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D7259EC-19A5-B8BB-B100-B7C65DB7DB60}"/>
              </a:ext>
            </a:extLst>
          </p:cNvPr>
          <p:cNvSpPr txBox="1"/>
          <p:nvPr userDrawn="1"/>
        </p:nvSpPr>
        <p:spPr>
          <a:xfrm>
            <a:off x="4407119" y="1477972"/>
            <a:ext cx="1075059" cy="1077481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GB" sz="9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rPr>
              <a:t>“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726C048-E5FF-0C76-0EB3-9540EFF20C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200" y="2457450"/>
            <a:ext cx="3683000" cy="357180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Add image</a:t>
            </a:r>
          </a:p>
        </p:txBody>
      </p:sp>
      <p:sp>
        <p:nvSpPr>
          <p:cNvPr id="12" name="Text Placeholder 28">
            <a:extLst>
              <a:ext uri="{FF2B5EF4-FFF2-40B4-BE49-F238E27FC236}">
                <a16:creationId xmlns:a16="http://schemas.microsoft.com/office/drawing/2014/main" id="{BF2727FE-93DC-5F01-BCD4-880AA8CDFE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7119" y="5660771"/>
            <a:ext cx="6245182" cy="36848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200"/>
            </a:lvl2pPr>
            <a:lvl3pPr marL="914400" indent="0">
              <a:buFont typeface="Arial" panose="020B0604020202020204" pitchFamily="34" charset="0"/>
              <a:buNone/>
              <a:defRPr sz="1200"/>
            </a:lvl3pPr>
            <a:lvl4pPr marL="1371600" indent="0">
              <a:buFont typeface="Arial" panose="020B0604020202020204" pitchFamily="34" charset="0"/>
              <a:buNone/>
              <a:defRPr sz="1200"/>
            </a:lvl4pPr>
            <a:lvl5pPr marL="18288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GB"/>
              <a:t>Add Sourc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0E4A536-6086-BBEC-1C6A-6483E5F3F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3683000" cy="1620804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12887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2" name="Freeform: Shape 1">
            <a:extLst>
              <a:ext uri="{FF2B5EF4-FFF2-40B4-BE49-F238E27FC236}">
                <a16:creationId xmlns:a16="http://schemas.microsoft.com/office/drawing/2014/main" id="{5B2E83C6-7380-48C4-B6B8-ED818EC4143D}"/>
              </a:ext>
            </a:extLst>
          </p:cNvPr>
          <p:cNvSpPr/>
          <p:nvPr userDrawn="1"/>
        </p:nvSpPr>
        <p:spPr>
          <a:xfrm>
            <a:off x="3505200" y="1246217"/>
            <a:ext cx="5181600" cy="5181636"/>
          </a:xfrm>
          <a:custGeom>
            <a:avLst/>
            <a:gdLst>
              <a:gd name="connsiteX0" fmla="*/ 275997 w 552691"/>
              <a:gd name="connsiteY0" fmla="*/ 552346 h 552697"/>
              <a:gd name="connsiteX1" fmla="*/ -659 w 552691"/>
              <a:gd name="connsiteY1" fmla="*/ 276311 h 552697"/>
              <a:gd name="connsiteX2" fmla="*/ 275375 w 552691"/>
              <a:gd name="connsiteY2" fmla="*/ -352 h 552697"/>
              <a:gd name="connsiteX3" fmla="*/ 552032 w 552691"/>
              <a:gd name="connsiteY3" fmla="*/ 275688 h 552697"/>
              <a:gd name="connsiteX4" fmla="*/ 413910 w 552691"/>
              <a:gd name="connsiteY4" fmla="*/ 515293 h 552697"/>
              <a:gd name="connsiteX5" fmla="*/ 275997 w 552691"/>
              <a:gd name="connsiteY5" fmla="*/ 552346 h 55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691" h="552697">
                <a:moveTo>
                  <a:pt x="275997" y="552346"/>
                </a:moveTo>
                <a:cubicBezTo>
                  <a:pt x="123375" y="552520"/>
                  <a:pt x="-491" y="428934"/>
                  <a:pt x="-659" y="276311"/>
                </a:cubicBezTo>
                <a:cubicBezTo>
                  <a:pt x="-834" y="123682"/>
                  <a:pt x="122752" y="-177"/>
                  <a:pt x="275375" y="-352"/>
                </a:cubicBezTo>
                <a:cubicBezTo>
                  <a:pt x="427998" y="-521"/>
                  <a:pt x="551863" y="123066"/>
                  <a:pt x="552032" y="275688"/>
                </a:cubicBezTo>
                <a:cubicBezTo>
                  <a:pt x="552148" y="374507"/>
                  <a:pt x="499478" y="465864"/>
                  <a:pt x="413910" y="515293"/>
                </a:cubicBezTo>
                <a:cubicBezTo>
                  <a:pt x="371966" y="539473"/>
                  <a:pt x="324415" y="552252"/>
                  <a:pt x="275997" y="552346"/>
                </a:cubicBezTo>
                <a:close/>
              </a:path>
            </a:pathLst>
          </a:custGeom>
          <a:noFill/>
          <a:ln w="12700" cap="flat">
            <a:solidFill>
              <a:schemeClr val="accent3"/>
            </a:solidFill>
            <a:prstDash val="dash"/>
            <a:miter/>
          </a:ln>
        </p:spPr>
        <p:txBody>
          <a:bodyPr rtlCol="0" anchor="ctr"/>
          <a:lstStyle/>
          <a:p>
            <a:r>
              <a:rPr lang="en-US" kern="0">
                <a:solidFill>
                  <a:srgbClr val="005758"/>
                </a:solidFill>
                <a:latin typeface="Arial" panose="020B0604020202020204"/>
                <a:cs typeface="Arial"/>
                <a:sym typeface="Arial"/>
              </a:rPr>
              <a:t>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D9C292A-5041-2853-413E-B0F5F4318362}"/>
              </a:ext>
            </a:extLst>
          </p:cNvPr>
          <p:cNvSpPr>
            <a:spLocks/>
          </p:cNvSpPr>
          <p:nvPr userDrawn="1"/>
        </p:nvSpPr>
        <p:spPr>
          <a:xfrm>
            <a:off x="-2418813" y="2760822"/>
            <a:ext cx="7000007" cy="2082800"/>
          </a:xfrm>
          <a:prstGeom prst="roundRect">
            <a:avLst>
              <a:gd name="adj" fmla="val 11297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3FE536A-941E-3DA7-636B-CA4CF64E44BC}"/>
              </a:ext>
            </a:extLst>
          </p:cNvPr>
          <p:cNvSpPr>
            <a:spLocks/>
          </p:cNvSpPr>
          <p:nvPr userDrawn="1"/>
        </p:nvSpPr>
        <p:spPr>
          <a:xfrm>
            <a:off x="7610806" y="2760822"/>
            <a:ext cx="7000007" cy="2082800"/>
          </a:xfrm>
          <a:prstGeom prst="roundRect">
            <a:avLst>
              <a:gd name="adj" fmla="val 11297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4C1EB52C-8364-22AA-978A-6F209A669D16}"/>
              </a:ext>
            </a:extLst>
          </p:cNvPr>
          <p:cNvSpPr/>
          <p:nvPr userDrawn="1"/>
        </p:nvSpPr>
        <p:spPr>
          <a:xfrm>
            <a:off x="3692533" y="1433569"/>
            <a:ext cx="4806932" cy="4806932"/>
          </a:xfrm>
          <a:prstGeom prst="donut">
            <a:avLst>
              <a:gd name="adj" fmla="val 14018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US"/>
          </a:p>
        </p:txBody>
      </p:sp>
      <p:sp>
        <p:nvSpPr>
          <p:cNvPr id="55" name="Rectangle 14">
            <a:extLst>
              <a:ext uri="{FF2B5EF4-FFF2-40B4-BE49-F238E27FC236}">
                <a16:creationId xmlns:a16="http://schemas.microsoft.com/office/drawing/2014/main" id="{E99BBC87-ACC2-0722-9435-9AEFA3968F57}"/>
              </a:ext>
            </a:extLst>
          </p:cNvPr>
          <p:cNvSpPr/>
          <p:nvPr userDrawn="1"/>
        </p:nvSpPr>
        <p:spPr>
          <a:xfrm>
            <a:off x="3437053" y="3160206"/>
            <a:ext cx="1284034" cy="128403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56" name="Rectangle 14">
            <a:extLst>
              <a:ext uri="{FF2B5EF4-FFF2-40B4-BE49-F238E27FC236}">
                <a16:creationId xmlns:a16="http://schemas.microsoft.com/office/drawing/2014/main" id="{44012EC1-7F56-7318-B218-74B6AAEF5ADF}"/>
              </a:ext>
            </a:extLst>
          </p:cNvPr>
          <p:cNvSpPr/>
          <p:nvPr userDrawn="1"/>
        </p:nvSpPr>
        <p:spPr>
          <a:xfrm>
            <a:off x="7452259" y="3160206"/>
            <a:ext cx="1284034" cy="128403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5DDB195B-3060-E0CB-A560-B2C3F6C366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73881" y="3397034"/>
            <a:ext cx="810378" cy="810376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Icon</a:t>
            </a:r>
          </a:p>
        </p:txBody>
      </p:sp>
      <p:sp>
        <p:nvSpPr>
          <p:cNvPr id="64" name="Picture Placeholder 62">
            <a:extLst>
              <a:ext uri="{FF2B5EF4-FFF2-40B4-BE49-F238E27FC236}">
                <a16:creationId xmlns:a16="http://schemas.microsoft.com/office/drawing/2014/main" id="{D0AB2B42-DBDE-FF5E-BC2C-E1348E88B3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89087" y="3397034"/>
            <a:ext cx="810378" cy="810376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>
            <a:lvl1pPr marL="0" indent="0">
              <a:buNone/>
              <a:defRPr lang="en-US" sz="1800" dirty="0">
                <a:solidFill>
                  <a:schemeClr val="tx2"/>
                </a:solidFill>
              </a:defRPr>
            </a:lvl1pPr>
          </a:lstStyle>
          <a:p>
            <a:pPr marL="0" lvl="0" algn="ctr"/>
            <a:r>
              <a:rPr lang="en-US"/>
              <a:t>Icon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3F2D45EC-839D-496F-7A39-8ED53F334D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1" y="3077756"/>
            <a:ext cx="2792518" cy="481014"/>
          </a:xfrm>
        </p:spPr>
        <p:txBody>
          <a:bodyPr anchor="ctr" anchorCtr="0"/>
          <a:lstStyle>
            <a:lvl1pPr marL="0" indent="0" algn="r">
              <a:buNone/>
              <a:defRPr b="1">
                <a:latin typeface="+mj-lt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9883EC6B-AD8B-38BB-16AF-D178FF0E55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1" y="3668738"/>
            <a:ext cx="2792518" cy="834934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1200" b="0">
                <a:latin typeface="+mj-lt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65">
            <a:extLst>
              <a:ext uri="{FF2B5EF4-FFF2-40B4-BE49-F238E27FC236}">
                <a16:creationId xmlns:a16="http://schemas.microsoft.com/office/drawing/2014/main" id="{E9CB1290-DA0E-5AB5-4BD2-3268917384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17602" y="3077756"/>
            <a:ext cx="2792518" cy="481014"/>
          </a:xfrm>
        </p:spPr>
        <p:txBody>
          <a:bodyPr anchor="ctr" anchorCtr="0"/>
          <a:lstStyle>
            <a:lvl1pPr marL="0" indent="0" algn="l">
              <a:buNone/>
              <a:defRPr b="1">
                <a:latin typeface="+mj-lt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65">
            <a:extLst>
              <a:ext uri="{FF2B5EF4-FFF2-40B4-BE49-F238E27FC236}">
                <a16:creationId xmlns:a16="http://schemas.microsoft.com/office/drawing/2014/main" id="{1D561975-2441-941C-C8E5-BE1A8C5B99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7602" y="3668738"/>
            <a:ext cx="2792518" cy="834934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200" b="0">
                <a:latin typeface="+mj-lt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C0D36B6-B0FF-E728-E77A-BFD5444F8D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50954" y="2591990"/>
            <a:ext cx="2490090" cy="2490090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847268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Infograph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A97E7BE-C518-08D7-35B2-51AC558EB1D3}"/>
              </a:ext>
            </a:extLst>
          </p:cNvPr>
          <p:cNvSpPr/>
          <p:nvPr userDrawn="1"/>
        </p:nvSpPr>
        <p:spPr>
          <a:xfrm>
            <a:off x="4286394" y="2030965"/>
            <a:ext cx="3619212" cy="3619238"/>
          </a:xfrm>
          <a:custGeom>
            <a:avLst/>
            <a:gdLst>
              <a:gd name="connsiteX0" fmla="*/ 275997 w 552691"/>
              <a:gd name="connsiteY0" fmla="*/ 552346 h 552697"/>
              <a:gd name="connsiteX1" fmla="*/ -659 w 552691"/>
              <a:gd name="connsiteY1" fmla="*/ 276311 h 552697"/>
              <a:gd name="connsiteX2" fmla="*/ 275375 w 552691"/>
              <a:gd name="connsiteY2" fmla="*/ -352 h 552697"/>
              <a:gd name="connsiteX3" fmla="*/ 552032 w 552691"/>
              <a:gd name="connsiteY3" fmla="*/ 275688 h 552697"/>
              <a:gd name="connsiteX4" fmla="*/ 413910 w 552691"/>
              <a:gd name="connsiteY4" fmla="*/ 515293 h 552697"/>
              <a:gd name="connsiteX5" fmla="*/ 275997 w 552691"/>
              <a:gd name="connsiteY5" fmla="*/ 552346 h 55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691" h="552697">
                <a:moveTo>
                  <a:pt x="275997" y="552346"/>
                </a:moveTo>
                <a:cubicBezTo>
                  <a:pt x="123375" y="552520"/>
                  <a:pt x="-491" y="428934"/>
                  <a:pt x="-659" y="276311"/>
                </a:cubicBezTo>
                <a:cubicBezTo>
                  <a:pt x="-834" y="123682"/>
                  <a:pt x="122752" y="-177"/>
                  <a:pt x="275375" y="-352"/>
                </a:cubicBezTo>
                <a:cubicBezTo>
                  <a:pt x="427998" y="-521"/>
                  <a:pt x="551863" y="123066"/>
                  <a:pt x="552032" y="275688"/>
                </a:cubicBezTo>
                <a:cubicBezTo>
                  <a:pt x="552148" y="374507"/>
                  <a:pt x="499478" y="465864"/>
                  <a:pt x="413910" y="515293"/>
                </a:cubicBezTo>
                <a:cubicBezTo>
                  <a:pt x="371966" y="539473"/>
                  <a:pt x="324415" y="552252"/>
                  <a:pt x="275997" y="552346"/>
                </a:cubicBezTo>
                <a:close/>
              </a:path>
            </a:pathLst>
          </a:custGeom>
          <a:noFill/>
          <a:ln w="12700" cap="flat">
            <a:solidFill>
              <a:schemeClr val="accent3"/>
            </a:solidFill>
            <a:prstDash val="dash"/>
            <a:miter/>
          </a:ln>
        </p:spPr>
        <p:txBody>
          <a:bodyPr rtlCol="0" anchor="ctr"/>
          <a:lstStyle/>
          <a:p>
            <a:pPr lvl="0"/>
            <a:r>
              <a:rPr lang="en-US" kern="0">
                <a:solidFill>
                  <a:srgbClr val="005758"/>
                </a:solidFill>
                <a:latin typeface="Arial" panose="020B0604020202020204"/>
                <a:cs typeface="Arial"/>
                <a:sym typeface="Arial"/>
              </a:rPr>
              <a:t> </a:t>
            </a:r>
          </a:p>
        </p:txBody>
      </p:sp>
      <p:sp>
        <p:nvSpPr>
          <p:cNvPr id="5" name="Circle: Hollow 4">
            <a:extLst>
              <a:ext uri="{FF2B5EF4-FFF2-40B4-BE49-F238E27FC236}">
                <a16:creationId xmlns:a16="http://schemas.microsoft.com/office/drawing/2014/main" id="{1E5AA042-CE72-1AE1-87D7-6789F231A490}"/>
              </a:ext>
            </a:extLst>
          </p:cNvPr>
          <p:cNvSpPr/>
          <p:nvPr userDrawn="1"/>
        </p:nvSpPr>
        <p:spPr>
          <a:xfrm>
            <a:off x="4460467" y="2194871"/>
            <a:ext cx="3271066" cy="3271066"/>
          </a:xfrm>
          <a:prstGeom prst="donut">
            <a:avLst>
              <a:gd name="adj" fmla="val 14018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US"/>
          </a:p>
        </p:txBody>
      </p:sp>
      <p:grpSp>
        <p:nvGrpSpPr>
          <p:cNvPr id="7" name="Group 101">
            <a:extLst>
              <a:ext uri="{FF2B5EF4-FFF2-40B4-BE49-F238E27FC236}">
                <a16:creationId xmlns:a16="http://schemas.microsoft.com/office/drawing/2014/main" id="{373C4F86-2079-9371-548C-3B592268DA51}"/>
              </a:ext>
            </a:extLst>
          </p:cNvPr>
          <p:cNvGrpSpPr/>
          <p:nvPr userDrawn="1"/>
        </p:nvGrpSpPr>
        <p:grpSpPr>
          <a:xfrm>
            <a:off x="5030223" y="2764627"/>
            <a:ext cx="2131554" cy="2131554"/>
            <a:chOff x="4674221" y="2007221"/>
            <a:chExt cx="2843558" cy="284355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FAEB66E-B605-E6C8-DBF2-AF275296B29D}"/>
                </a:ext>
              </a:extLst>
            </p:cNvPr>
            <p:cNvSpPr/>
            <p:nvPr/>
          </p:nvSpPr>
          <p:spPr>
            <a:xfrm>
              <a:off x="4674221" y="2007221"/>
              <a:ext cx="2843558" cy="2843558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049718D-8DC9-9263-BBDD-E08151ACAD31}"/>
                </a:ext>
              </a:extLst>
            </p:cNvPr>
            <p:cNvSpPr/>
            <p:nvPr/>
          </p:nvSpPr>
          <p:spPr>
            <a:xfrm>
              <a:off x="4773251" y="2106251"/>
              <a:ext cx="2645498" cy="2645498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outerShdw blurRad="127000" dir="8100000" sx="105000" sy="105000" algn="tr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4B6368E-78B3-FA4D-335C-AB7DAF709B9A}"/>
                </a:ext>
              </a:extLst>
            </p:cNvPr>
            <p:cNvSpPr/>
            <p:nvPr/>
          </p:nvSpPr>
          <p:spPr>
            <a:xfrm>
              <a:off x="4773251" y="2106251"/>
              <a:ext cx="2645498" cy="2645498"/>
            </a:xfrm>
            <a:prstGeom prst="ellipse">
              <a:avLst/>
            </a:prstGeom>
            <a:gradFill>
              <a:gsLst>
                <a:gs pos="45000">
                  <a:sysClr val="window" lastClr="FFFFFF">
                    <a:lumMod val="95000"/>
                    <a:alpha val="0"/>
                  </a:sysClr>
                </a:gs>
                <a:gs pos="100000">
                  <a:sysClr val="window" lastClr="FFFFFF">
                    <a:lumMod val="95000"/>
                  </a:sysClr>
                </a:gs>
              </a:gsLst>
              <a:lin ang="18600000" scaled="0"/>
            </a:gra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innerShdw blurRad="165100" dist="50800" dir="7200000">
                <a:prstClr val="black">
                  <a:alpha val="25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3BFD435-2375-A24B-3A11-BFAFF1A82B0E}"/>
              </a:ext>
            </a:extLst>
          </p:cNvPr>
          <p:cNvSpPr/>
          <p:nvPr userDrawn="1"/>
        </p:nvSpPr>
        <p:spPr>
          <a:xfrm>
            <a:off x="7294193" y="2141737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492D50-BF58-6A90-0F3C-4236E19A182E}"/>
              </a:ext>
            </a:extLst>
          </p:cNvPr>
          <p:cNvSpPr/>
          <p:nvPr userDrawn="1"/>
        </p:nvSpPr>
        <p:spPr>
          <a:xfrm flipV="1">
            <a:off x="7292008" y="5187728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49B5EEB-BC1C-80F8-1D59-2673C9B8AC8C}"/>
              </a:ext>
            </a:extLst>
          </p:cNvPr>
          <p:cNvSpPr/>
          <p:nvPr userDrawn="1"/>
        </p:nvSpPr>
        <p:spPr>
          <a:xfrm rot="10800000">
            <a:off x="4148487" y="5187728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062EB29-05BE-EB3A-1934-62BEBDAB743C}"/>
              </a:ext>
            </a:extLst>
          </p:cNvPr>
          <p:cNvSpPr/>
          <p:nvPr userDrawn="1"/>
        </p:nvSpPr>
        <p:spPr>
          <a:xfrm rot="10800000" flipV="1">
            <a:off x="4150672" y="2141737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sp>
        <p:nvSpPr>
          <p:cNvPr id="119" name="Rectangle 14">
            <a:extLst>
              <a:ext uri="{FF2B5EF4-FFF2-40B4-BE49-F238E27FC236}">
                <a16:creationId xmlns:a16="http://schemas.microsoft.com/office/drawing/2014/main" id="{24668050-79E3-0ADB-22EF-67852347D531}"/>
              </a:ext>
            </a:extLst>
          </p:cNvPr>
          <p:cNvSpPr/>
          <p:nvPr userDrawn="1"/>
        </p:nvSpPr>
        <p:spPr>
          <a:xfrm>
            <a:off x="8041336" y="1729320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21" name="Rectangle 14">
            <a:extLst>
              <a:ext uri="{FF2B5EF4-FFF2-40B4-BE49-F238E27FC236}">
                <a16:creationId xmlns:a16="http://schemas.microsoft.com/office/drawing/2014/main" id="{19CA0D14-3846-95F4-1254-8BB028DF274A}"/>
              </a:ext>
            </a:extLst>
          </p:cNvPr>
          <p:cNvSpPr/>
          <p:nvPr userDrawn="1"/>
        </p:nvSpPr>
        <p:spPr>
          <a:xfrm>
            <a:off x="8041336" y="5104395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18" name="Rectangle 14">
            <a:extLst>
              <a:ext uri="{FF2B5EF4-FFF2-40B4-BE49-F238E27FC236}">
                <a16:creationId xmlns:a16="http://schemas.microsoft.com/office/drawing/2014/main" id="{0E2D69B1-FF17-50DB-C183-CCCDD5F0F2A4}"/>
              </a:ext>
            </a:extLst>
          </p:cNvPr>
          <p:cNvSpPr/>
          <p:nvPr userDrawn="1"/>
        </p:nvSpPr>
        <p:spPr>
          <a:xfrm>
            <a:off x="3320882" y="5104395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06" name="Rectangle 14">
            <a:extLst>
              <a:ext uri="{FF2B5EF4-FFF2-40B4-BE49-F238E27FC236}">
                <a16:creationId xmlns:a16="http://schemas.microsoft.com/office/drawing/2014/main" id="{B329E769-B6BF-4AA4-8FEE-71DB9A2477FD}"/>
              </a:ext>
            </a:extLst>
          </p:cNvPr>
          <p:cNvSpPr/>
          <p:nvPr userDrawn="1"/>
        </p:nvSpPr>
        <p:spPr>
          <a:xfrm>
            <a:off x="3320882" y="1729320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07" name="Picture Placeholder 62">
            <a:extLst>
              <a:ext uri="{FF2B5EF4-FFF2-40B4-BE49-F238E27FC236}">
                <a16:creationId xmlns:a16="http://schemas.microsoft.com/office/drawing/2014/main" id="{0B3514FA-CB17-7980-79C0-E77003A4D76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81879" y="179031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2" name="Picture Placeholder 62">
            <a:extLst>
              <a:ext uri="{FF2B5EF4-FFF2-40B4-BE49-F238E27FC236}">
                <a16:creationId xmlns:a16="http://schemas.microsoft.com/office/drawing/2014/main" id="{427AF889-8377-F445-73A0-11E8E688A72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02333" y="179031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3" name="Picture Placeholder 62">
            <a:extLst>
              <a:ext uri="{FF2B5EF4-FFF2-40B4-BE49-F238E27FC236}">
                <a16:creationId xmlns:a16="http://schemas.microsoft.com/office/drawing/2014/main" id="{9D529DDB-0A92-C187-457B-B4101E8F8B7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81879" y="517156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4" name="Picture Placeholder 62">
            <a:extLst>
              <a:ext uri="{FF2B5EF4-FFF2-40B4-BE49-F238E27FC236}">
                <a16:creationId xmlns:a16="http://schemas.microsoft.com/office/drawing/2014/main" id="{01CE662C-DC01-2EAD-24CE-5C51C9A9003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02333" y="517156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8" name="Text Placeholder 127">
            <a:extLst>
              <a:ext uri="{FF2B5EF4-FFF2-40B4-BE49-F238E27FC236}">
                <a16:creationId xmlns:a16="http://schemas.microsoft.com/office/drawing/2014/main" id="{EBB16889-6268-089B-FE2D-ED6FE62BC0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6169" y="1944160"/>
            <a:ext cx="2411413" cy="390578"/>
          </a:xfrm>
        </p:spPr>
        <p:txBody>
          <a:bodyPr anchor="ctr" anchorCtr="0"/>
          <a:lstStyle>
            <a:lvl1pPr marL="0" indent="0" algn="r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9" name="Text Placeholder 127">
            <a:extLst>
              <a:ext uri="{FF2B5EF4-FFF2-40B4-BE49-F238E27FC236}">
                <a16:creationId xmlns:a16="http://schemas.microsoft.com/office/drawing/2014/main" id="{99C90E28-FB8F-8CF1-1DBE-D4B68DC945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45452" y="1944160"/>
            <a:ext cx="2411413" cy="390578"/>
          </a:xfrm>
        </p:spPr>
        <p:txBody>
          <a:bodyPr anchor="ctr" anchorCtr="0"/>
          <a:lstStyle>
            <a:lvl1pPr marL="0" indent="0" algn="l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0" name="Text Placeholder 127">
            <a:extLst>
              <a:ext uri="{FF2B5EF4-FFF2-40B4-BE49-F238E27FC236}">
                <a16:creationId xmlns:a16="http://schemas.microsoft.com/office/drawing/2014/main" id="{246FF879-BB3B-5F65-01E1-480BEB6FF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6169" y="5348673"/>
            <a:ext cx="2411413" cy="390578"/>
          </a:xfrm>
        </p:spPr>
        <p:txBody>
          <a:bodyPr anchor="ctr" anchorCtr="0"/>
          <a:lstStyle>
            <a:lvl1pPr marL="0" indent="0" algn="r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1" name="Text Placeholder 127">
            <a:extLst>
              <a:ext uri="{FF2B5EF4-FFF2-40B4-BE49-F238E27FC236}">
                <a16:creationId xmlns:a16="http://schemas.microsoft.com/office/drawing/2014/main" id="{1D50821E-DEDB-F728-3664-FA7318F6A8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452" y="5348673"/>
            <a:ext cx="2411413" cy="390578"/>
          </a:xfrm>
        </p:spPr>
        <p:txBody>
          <a:bodyPr anchor="ctr" anchorCtr="0"/>
          <a:lstStyle>
            <a:lvl1pPr marL="0" indent="0" algn="l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6" name="Picture Placeholder 62">
            <a:extLst>
              <a:ext uri="{FF2B5EF4-FFF2-40B4-BE49-F238E27FC236}">
                <a16:creationId xmlns:a16="http://schemas.microsoft.com/office/drawing/2014/main" id="{5C2D6B82-B636-FC5B-F498-6516CD10C24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95010" y="2936558"/>
            <a:ext cx="1801979" cy="1801979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261801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oi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A97E7BE-C518-08D7-35B2-51AC558EB1D3}"/>
              </a:ext>
            </a:extLst>
          </p:cNvPr>
          <p:cNvSpPr/>
          <p:nvPr userDrawn="1"/>
        </p:nvSpPr>
        <p:spPr>
          <a:xfrm>
            <a:off x="4286394" y="2030965"/>
            <a:ext cx="3619212" cy="3619238"/>
          </a:xfrm>
          <a:custGeom>
            <a:avLst/>
            <a:gdLst>
              <a:gd name="connsiteX0" fmla="*/ 275997 w 552691"/>
              <a:gd name="connsiteY0" fmla="*/ 552346 h 552697"/>
              <a:gd name="connsiteX1" fmla="*/ -659 w 552691"/>
              <a:gd name="connsiteY1" fmla="*/ 276311 h 552697"/>
              <a:gd name="connsiteX2" fmla="*/ 275375 w 552691"/>
              <a:gd name="connsiteY2" fmla="*/ -352 h 552697"/>
              <a:gd name="connsiteX3" fmla="*/ 552032 w 552691"/>
              <a:gd name="connsiteY3" fmla="*/ 275688 h 552697"/>
              <a:gd name="connsiteX4" fmla="*/ 413910 w 552691"/>
              <a:gd name="connsiteY4" fmla="*/ 515293 h 552697"/>
              <a:gd name="connsiteX5" fmla="*/ 275997 w 552691"/>
              <a:gd name="connsiteY5" fmla="*/ 552346 h 55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691" h="552697">
                <a:moveTo>
                  <a:pt x="275997" y="552346"/>
                </a:moveTo>
                <a:cubicBezTo>
                  <a:pt x="123375" y="552520"/>
                  <a:pt x="-491" y="428934"/>
                  <a:pt x="-659" y="276311"/>
                </a:cubicBezTo>
                <a:cubicBezTo>
                  <a:pt x="-834" y="123682"/>
                  <a:pt x="122752" y="-177"/>
                  <a:pt x="275375" y="-352"/>
                </a:cubicBezTo>
                <a:cubicBezTo>
                  <a:pt x="427998" y="-521"/>
                  <a:pt x="551863" y="123066"/>
                  <a:pt x="552032" y="275688"/>
                </a:cubicBezTo>
                <a:cubicBezTo>
                  <a:pt x="552148" y="374507"/>
                  <a:pt x="499478" y="465864"/>
                  <a:pt x="413910" y="515293"/>
                </a:cubicBezTo>
                <a:cubicBezTo>
                  <a:pt x="371966" y="539473"/>
                  <a:pt x="324415" y="552252"/>
                  <a:pt x="275997" y="552346"/>
                </a:cubicBezTo>
                <a:close/>
              </a:path>
            </a:pathLst>
          </a:custGeom>
          <a:noFill/>
          <a:ln w="12700" cap="flat">
            <a:solidFill>
              <a:schemeClr val="accent3"/>
            </a:solidFill>
            <a:prstDash val="dash"/>
            <a:miter/>
          </a:ln>
        </p:spPr>
        <p:txBody>
          <a:bodyPr rtlCol="0" anchor="ctr"/>
          <a:lstStyle/>
          <a:p>
            <a:pPr lvl="0"/>
            <a:r>
              <a:rPr lang="en-US" kern="0">
                <a:solidFill>
                  <a:srgbClr val="005758"/>
                </a:solidFill>
                <a:latin typeface="Arial" panose="020B0604020202020204"/>
                <a:cs typeface="Arial"/>
                <a:sym typeface="Arial"/>
              </a:rPr>
              <a:t> </a:t>
            </a:r>
          </a:p>
        </p:txBody>
      </p:sp>
      <p:sp>
        <p:nvSpPr>
          <p:cNvPr id="5" name="Circle: Hollow 4">
            <a:extLst>
              <a:ext uri="{FF2B5EF4-FFF2-40B4-BE49-F238E27FC236}">
                <a16:creationId xmlns:a16="http://schemas.microsoft.com/office/drawing/2014/main" id="{1E5AA042-CE72-1AE1-87D7-6789F231A490}"/>
              </a:ext>
            </a:extLst>
          </p:cNvPr>
          <p:cNvSpPr/>
          <p:nvPr userDrawn="1"/>
        </p:nvSpPr>
        <p:spPr>
          <a:xfrm>
            <a:off x="4460467" y="2194871"/>
            <a:ext cx="3271066" cy="3271066"/>
          </a:xfrm>
          <a:prstGeom prst="donut">
            <a:avLst>
              <a:gd name="adj" fmla="val 14018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US"/>
          </a:p>
        </p:txBody>
      </p:sp>
      <p:grpSp>
        <p:nvGrpSpPr>
          <p:cNvPr id="7" name="Group 101">
            <a:extLst>
              <a:ext uri="{FF2B5EF4-FFF2-40B4-BE49-F238E27FC236}">
                <a16:creationId xmlns:a16="http://schemas.microsoft.com/office/drawing/2014/main" id="{373C4F86-2079-9371-548C-3B592268DA51}"/>
              </a:ext>
            </a:extLst>
          </p:cNvPr>
          <p:cNvGrpSpPr/>
          <p:nvPr userDrawn="1"/>
        </p:nvGrpSpPr>
        <p:grpSpPr>
          <a:xfrm>
            <a:off x="5030223" y="2764627"/>
            <a:ext cx="2131554" cy="2131554"/>
            <a:chOff x="4674221" y="2007221"/>
            <a:chExt cx="2843558" cy="284355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FAEB66E-B605-E6C8-DBF2-AF275296B29D}"/>
                </a:ext>
              </a:extLst>
            </p:cNvPr>
            <p:cNvSpPr/>
            <p:nvPr/>
          </p:nvSpPr>
          <p:spPr>
            <a:xfrm>
              <a:off x="4674221" y="2007221"/>
              <a:ext cx="2843558" cy="2843558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049718D-8DC9-9263-BBDD-E08151ACAD31}"/>
                </a:ext>
              </a:extLst>
            </p:cNvPr>
            <p:cNvSpPr/>
            <p:nvPr/>
          </p:nvSpPr>
          <p:spPr>
            <a:xfrm>
              <a:off x="4773251" y="2106251"/>
              <a:ext cx="2645498" cy="2645498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outerShdw blurRad="127000" dir="8100000" sx="105000" sy="105000" algn="tr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4B6368E-78B3-FA4D-335C-AB7DAF709B9A}"/>
                </a:ext>
              </a:extLst>
            </p:cNvPr>
            <p:cNvSpPr/>
            <p:nvPr/>
          </p:nvSpPr>
          <p:spPr>
            <a:xfrm>
              <a:off x="4773251" y="2106251"/>
              <a:ext cx="2645498" cy="2645498"/>
            </a:xfrm>
            <a:prstGeom prst="ellipse">
              <a:avLst/>
            </a:prstGeom>
            <a:gradFill>
              <a:gsLst>
                <a:gs pos="45000">
                  <a:sysClr val="window" lastClr="FFFFFF">
                    <a:lumMod val="95000"/>
                    <a:alpha val="0"/>
                  </a:sysClr>
                </a:gs>
                <a:gs pos="100000">
                  <a:sysClr val="window" lastClr="FFFFFF">
                    <a:lumMod val="95000"/>
                  </a:sysClr>
                </a:gs>
              </a:gsLst>
              <a:lin ang="18600000" scaled="0"/>
            </a:gra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innerShdw blurRad="165100" dist="50800" dir="7200000">
                <a:prstClr val="black">
                  <a:alpha val="25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3BFD435-2375-A24B-3A11-BFAFF1A82B0E}"/>
              </a:ext>
            </a:extLst>
          </p:cNvPr>
          <p:cNvSpPr/>
          <p:nvPr userDrawn="1"/>
        </p:nvSpPr>
        <p:spPr>
          <a:xfrm>
            <a:off x="7294193" y="2141737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492D50-BF58-6A90-0F3C-4236E19A182E}"/>
              </a:ext>
            </a:extLst>
          </p:cNvPr>
          <p:cNvSpPr/>
          <p:nvPr userDrawn="1"/>
        </p:nvSpPr>
        <p:spPr>
          <a:xfrm flipV="1">
            <a:off x="7292008" y="5187728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A5C88AF-56C9-2082-84D7-DB6B61452CCE}"/>
              </a:ext>
            </a:extLst>
          </p:cNvPr>
          <p:cNvCxnSpPr>
            <a:cxnSpLocks/>
            <a:stCxn id="4" idx="3"/>
          </p:cNvCxnSpPr>
          <p:nvPr userDrawn="1"/>
        </p:nvCxnSpPr>
        <p:spPr>
          <a:xfrm flipV="1">
            <a:off x="7901291" y="3830404"/>
            <a:ext cx="572310" cy="5855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solid"/>
            <a:miter/>
          </a:ln>
        </p:spPr>
      </p:cxn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49B5EEB-BC1C-80F8-1D59-2673C9B8AC8C}"/>
              </a:ext>
            </a:extLst>
          </p:cNvPr>
          <p:cNvSpPr/>
          <p:nvPr userDrawn="1"/>
        </p:nvSpPr>
        <p:spPr>
          <a:xfrm rot="10800000">
            <a:off x="4148487" y="5187728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062EB29-05BE-EB3A-1934-62BEBDAB743C}"/>
              </a:ext>
            </a:extLst>
          </p:cNvPr>
          <p:cNvSpPr/>
          <p:nvPr userDrawn="1"/>
        </p:nvSpPr>
        <p:spPr>
          <a:xfrm rot="10800000" flipV="1">
            <a:off x="4150672" y="2141737"/>
            <a:ext cx="738434" cy="333056"/>
          </a:xfrm>
          <a:custGeom>
            <a:avLst/>
            <a:gdLst>
              <a:gd name="connsiteX0" fmla="*/ 1231900 w 1231900"/>
              <a:gd name="connsiteY0" fmla="*/ 0 h 555625"/>
              <a:gd name="connsiteX1" fmla="*/ 555625 w 1231900"/>
              <a:gd name="connsiteY1" fmla="*/ 0 h 555625"/>
              <a:gd name="connsiteX2" fmla="*/ 0 w 1231900"/>
              <a:gd name="connsiteY2" fmla="*/ 555625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555625">
                <a:moveTo>
                  <a:pt x="1231900" y="0"/>
                </a:moveTo>
                <a:lnTo>
                  <a:pt x="555625" y="0"/>
                </a:lnTo>
                <a:lnTo>
                  <a:pt x="0" y="555625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pPr lvl="0"/>
            <a:endParaRPr lang="en-US" kern="0">
              <a:solidFill>
                <a:srgbClr val="005758"/>
              </a:solidFill>
              <a:latin typeface="Arial" panose="020B0604020202020204"/>
              <a:cs typeface="Arial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BFE7F12-DF2F-EE2E-AC16-3393449D5AD3}"/>
              </a:ext>
            </a:extLst>
          </p:cNvPr>
          <p:cNvCxnSpPr/>
          <p:nvPr userDrawn="1"/>
        </p:nvCxnSpPr>
        <p:spPr>
          <a:xfrm rot="10800000" flipV="1">
            <a:off x="3680077" y="3834233"/>
            <a:ext cx="596478" cy="4719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solid"/>
            <a:miter/>
          </a:ln>
        </p:spPr>
      </p:cxnSp>
      <p:sp>
        <p:nvSpPr>
          <p:cNvPr id="119" name="Rectangle 14">
            <a:extLst>
              <a:ext uri="{FF2B5EF4-FFF2-40B4-BE49-F238E27FC236}">
                <a16:creationId xmlns:a16="http://schemas.microsoft.com/office/drawing/2014/main" id="{24668050-79E3-0ADB-22EF-67852347D531}"/>
              </a:ext>
            </a:extLst>
          </p:cNvPr>
          <p:cNvSpPr/>
          <p:nvPr userDrawn="1"/>
        </p:nvSpPr>
        <p:spPr>
          <a:xfrm>
            <a:off x="8041336" y="1729320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20" name="Rectangle 14">
            <a:extLst>
              <a:ext uri="{FF2B5EF4-FFF2-40B4-BE49-F238E27FC236}">
                <a16:creationId xmlns:a16="http://schemas.microsoft.com/office/drawing/2014/main" id="{41CB8013-B60A-A4A1-6485-E3ABF38AC8D4}"/>
              </a:ext>
            </a:extLst>
          </p:cNvPr>
          <p:cNvSpPr/>
          <p:nvPr userDrawn="1"/>
        </p:nvSpPr>
        <p:spPr>
          <a:xfrm>
            <a:off x="8538803" y="3420275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21" name="Rectangle 14">
            <a:extLst>
              <a:ext uri="{FF2B5EF4-FFF2-40B4-BE49-F238E27FC236}">
                <a16:creationId xmlns:a16="http://schemas.microsoft.com/office/drawing/2014/main" id="{19CA0D14-3846-95F4-1254-8BB028DF274A}"/>
              </a:ext>
            </a:extLst>
          </p:cNvPr>
          <p:cNvSpPr/>
          <p:nvPr userDrawn="1"/>
        </p:nvSpPr>
        <p:spPr>
          <a:xfrm>
            <a:off x="8041336" y="5104395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18" name="Rectangle 14">
            <a:extLst>
              <a:ext uri="{FF2B5EF4-FFF2-40B4-BE49-F238E27FC236}">
                <a16:creationId xmlns:a16="http://schemas.microsoft.com/office/drawing/2014/main" id="{0E2D69B1-FF17-50DB-C183-CCCDD5F0F2A4}"/>
              </a:ext>
            </a:extLst>
          </p:cNvPr>
          <p:cNvSpPr/>
          <p:nvPr userDrawn="1"/>
        </p:nvSpPr>
        <p:spPr>
          <a:xfrm>
            <a:off x="3320882" y="5104395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09" name="Rectangle 14">
            <a:extLst>
              <a:ext uri="{FF2B5EF4-FFF2-40B4-BE49-F238E27FC236}">
                <a16:creationId xmlns:a16="http://schemas.microsoft.com/office/drawing/2014/main" id="{DBCFC7BB-FF5A-C21A-484D-0CF8DAD2EC9D}"/>
              </a:ext>
            </a:extLst>
          </p:cNvPr>
          <p:cNvSpPr/>
          <p:nvPr userDrawn="1"/>
        </p:nvSpPr>
        <p:spPr>
          <a:xfrm>
            <a:off x="2852474" y="3420273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06" name="Rectangle 14">
            <a:extLst>
              <a:ext uri="{FF2B5EF4-FFF2-40B4-BE49-F238E27FC236}">
                <a16:creationId xmlns:a16="http://schemas.microsoft.com/office/drawing/2014/main" id="{B329E769-B6BF-4AA4-8FEE-71DB9A2477FD}"/>
              </a:ext>
            </a:extLst>
          </p:cNvPr>
          <p:cNvSpPr/>
          <p:nvPr userDrawn="1"/>
        </p:nvSpPr>
        <p:spPr>
          <a:xfrm>
            <a:off x="3320882" y="1729320"/>
            <a:ext cx="820258" cy="8202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07" name="Picture Placeholder 62">
            <a:extLst>
              <a:ext uri="{FF2B5EF4-FFF2-40B4-BE49-F238E27FC236}">
                <a16:creationId xmlns:a16="http://schemas.microsoft.com/office/drawing/2014/main" id="{0B3514FA-CB17-7980-79C0-E77003A4D76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81879" y="179031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2" name="Picture Placeholder 62">
            <a:extLst>
              <a:ext uri="{FF2B5EF4-FFF2-40B4-BE49-F238E27FC236}">
                <a16:creationId xmlns:a16="http://schemas.microsoft.com/office/drawing/2014/main" id="{427AF889-8377-F445-73A0-11E8E688A72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02333" y="179031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3" name="Picture Placeholder 62">
            <a:extLst>
              <a:ext uri="{FF2B5EF4-FFF2-40B4-BE49-F238E27FC236}">
                <a16:creationId xmlns:a16="http://schemas.microsoft.com/office/drawing/2014/main" id="{9D529DDB-0A92-C187-457B-B4101E8F8B7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81879" y="517156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4" name="Picture Placeholder 62">
            <a:extLst>
              <a:ext uri="{FF2B5EF4-FFF2-40B4-BE49-F238E27FC236}">
                <a16:creationId xmlns:a16="http://schemas.microsoft.com/office/drawing/2014/main" id="{01CE662C-DC01-2EAD-24CE-5C51C9A9003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02333" y="5171567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5" name="Picture Placeholder 62">
            <a:extLst>
              <a:ext uri="{FF2B5EF4-FFF2-40B4-BE49-F238E27FC236}">
                <a16:creationId xmlns:a16="http://schemas.microsoft.com/office/drawing/2014/main" id="{734B1BF1-19C4-EBC0-5368-47A54053A6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99800" y="3485613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6" name="Picture Placeholder 62">
            <a:extLst>
              <a:ext uri="{FF2B5EF4-FFF2-40B4-BE49-F238E27FC236}">
                <a16:creationId xmlns:a16="http://schemas.microsoft.com/office/drawing/2014/main" id="{64537AE2-916B-039C-86E4-787E14DD98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16610" y="3485613"/>
            <a:ext cx="698264" cy="69826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28" name="Text Placeholder 127">
            <a:extLst>
              <a:ext uri="{FF2B5EF4-FFF2-40B4-BE49-F238E27FC236}">
                <a16:creationId xmlns:a16="http://schemas.microsoft.com/office/drawing/2014/main" id="{EBB16889-6268-089B-FE2D-ED6FE62BC0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6169" y="1944160"/>
            <a:ext cx="2411413" cy="390578"/>
          </a:xfrm>
        </p:spPr>
        <p:txBody>
          <a:bodyPr anchor="ctr" anchorCtr="0"/>
          <a:lstStyle>
            <a:lvl1pPr marL="0" indent="0" algn="r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9" name="Text Placeholder 127">
            <a:extLst>
              <a:ext uri="{FF2B5EF4-FFF2-40B4-BE49-F238E27FC236}">
                <a16:creationId xmlns:a16="http://schemas.microsoft.com/office/drawing/2014/main" id="{99C90E28-FB8F-8CF1-1DBE-D4B68DC945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45452" y="1944160"/>
            <a:ext cx="2411413" cy="390578"/>
          </a:xfrm>
        </p:spPr>
        <p:txBody>
          <a:bodyPr anchor="ctr" anchorCtr="0"/>
          <a:lstStyle>
            <a:lvl1pPr marL="0" indent="0" algn="l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0" name="Text Placeholder 127">
            <a:extLst>
              <a:ext uri="{FF2B5EF4-FFF2-40B4-BE49-F238E27FC236}">
                <a16:creationId xmlns:a16="http://schemas.microsoft.com/office/drawing/2014/main" id="{246FF879-BB3B-5F65-01E1-480BEB6FF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6169" y="5348673"/>
            <a:ext cx="2411413" cy="390578"/>
          </a:xfrm>
        </p:spPr>
        <p:txBody>
          <a:bodyPr anchor="ctr" anchorCtr="0"/>
          <a:lstStyle>
            <a:lvl1pPr marL="0" indent="0" algn="r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1" name="Text Placeholder 127">
            <a:extLst>
              <a:ext uri="{FF2B5EF4-FFF2-40B4-BE49-F238E27FC236}">
                <a16:creationId xmlns:a16="http://schemas.microsoft.com/office/drawing/2014/main" id="{1D50821E-DEDB-F728-3664-FA7318F6A8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45452" y="5348673"/>
            <a:ext cx="2411413" cy="390578"/>
          </a:xfrm>
        </p:spPr>
        <p:txBody>
          <a:bodyPr anchor="ctr" anchorCtr="0"/>
          <a:lstStyle>
            <a:lvl1pPr marL="0" indent="0" algn="l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2" name="Text Placeholder 127">
            <a:extLst>
              <a:ext uri="{FF2B5EF4-FFF2-40B4-BE49-F238E27FC236}">
                <a16:creationId xmlns:a16="http://schemas.microsoft.com/office/drawing/2014/main" id="{664ED8AE-20FC-73B6-6BA6-D0412956B3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3109" y="3676512"/>
            <a:ext cx="2411413" cy="390578"/>
          </a:xfrm>
        </p:spPr>
        <p:txBody>
          <a:bodyPr anchor="ctr" anchorCtr="0"/>
          <a:lstStyle>
            <a:lvl1pPr marL="0" indent="0" algn="r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3" name="Text Placeholder 127">
            <a:extLst>
              <a:ext uri="{FF2B5EF4-FFF2-40B4-BE49-F238E27FC236}">
                <a16:creationId xmlns:a16="http://schemas.microsoft.com/office/drawing/2014/main" id="{9A81104B-14E9-BFD8-C4AA-462A6EBC11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530807" y="3676512"/>
            <a:ext cx="2411413" cy="390578"/>
          </a:xfrm>
        </p:spPr>
        <p:txBody>
          <a:bodyPr anchor="ctr" anchorCtr="0"/>
          <a:lstStyle>
            <a:lvl1pPr marL="0" indent="0" algn="l">
              <a:buNone/>
              <a:defRPr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6" name="Picture Placeholder 62">
            <a:extLst>
              <a:ext uri="{FF2B5EF4-FFF2-40B4-BE49-F238E27FC236}">
                <a16:creationId xmlns:a16="http://schemas.microsoft.com/office/drawing/2014/main" id="{5C2D6B82-B636-FC5B-F498-6516CD10C24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95010" y="2936558"/>
            <a:ext cx="1801979" cy="1801979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1013627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6" name="Rectangle 14">
            <a:extLst>
              <a:ext uri="{FF2B5EF4-FFF2-40B4-BE49-F238E27FC236}">
                <a16:creationId xmlns:a16="http://schemas.microsoft.com/office/drawing/2014/main" id="{AC7D11E7-2936-736B-901F-0D940FF395F8}"/>
              </a:ext>
            </a:extLst>
          </p:cNvPr>
          <p:cNvSpPr/>
          <p:nvPr userDrawn="1"/>
        </p:nvSpPr>
        <p:spPr>
          <a:xfrm>
            <a:off x="1210949" y="3018149"/>
            <a:ext cx="1568737" cy="15687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47" name="Rectangle 14">
            <a:extLst>
              <a:ext uri="{FF2B5EF4-FFF2-40B4-BE49-F238E27FC236}">
                <a16:creationId xmlns:a16="http://schemas.microsoft.com/office/drawing/2014/main" id="{9A1E96EF-4E6C-D559-7BD0-08821BE45CE1}"/>
              </a:ext>
            </a:extLst>
          </p:cNvPr>
          <p:cNvSpPr/>
          <p:nvPr userDrawn="1"/>
        </p:nvSpPr>
        <p:spPr>
          <a:xfrm>
            <a:off x="3230391" y="3034477"/>
            <a:ext cx="1568737" cy="15687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148" name="Rectangle 14">
            <a:extLst>
              <a:ext uri="{FF2B5EF4-FFF2-40B4-BE49-F238E27FC236}">
                <a16:creationId xmlns:a16="http://schemas.microsoft.com/office/drawing/2014/main" id="{08FAFC0A-EABA-2AFA-3A84-A928F7F7C672}"/>
              </a:ext>
            </a:extLst>
          </p:cNvPr>
          <p:cNvSpPr/>
          <p:nvPr userDrawn="1"/>
        </p:nvSpPr>
        <p:spPr>
          <a:xfrm>
            <a:off x="5240179" y="3018149"/>
            <a:ext cx="1568737" cy="15687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GB"/>
          </a:p>
        </p:txBody>
      </p:sp>
      <p:sp>
        <p:nvSpPr>
          <p:cNvPr id="150" name="Rectangle 14">
            <a:extLst>
              <a:ext uri="{FF2B5EF4-FFF2-40B4-BE49-F238E27FC236}">
                <a16:creationId xmlns:a16="http://schemas.microsoft.com/office/drawing/2014/main" id="{71724B56-5AFA-07ED-CE08-D0D7A26275CE}"/>
              </a:ext>
            </a:extLst>
          </p:cNvPr>
          <p:cNvSpPr/>
          <p:nvPr userDrawn="1"/>
        </p:nvSpPr>
        <p:spPr>
          <a:xfrm>
            <a:off x="7249249" y="3034477"/>
            <a:ext cx="1568737" cy="15687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623C740-F580-C20D-C948-359A35825B6C}"/>
              </a:ext>
            </a:extLst>
          </p:cNvPr>
          <p:cNvGrpSpPr/>
          <p:nvPr userDrawn="1"/>
        </p:nvGrpSpPr>
        <p:grpSpPr>
          <a:xfrm>
            <a:off x="987953" y="2795153"/>
            <a:ext cx="10070898" cy="2031057"/>
            <a:chOff x="987953" y="2795153"/>
            <a:chExt cx="10070898" cy="2031057"/>
          </a:xfrm>
          <a:noFill/>
        </p:grpSpPr>
        <p:sp>
          <p:nvSpPr>
            <p:cNvPr id="12" name="Arc 11">
              <a:extLst>
                <a:ext uri="{FF2B5EF4-FFF2-40B4-BE49-F238E27FC236}">
                  <a16:creationId xmlns:a16="http://schemas.microsoft.com/office/drawing/2014/main" id="{19972F79-0FAC-D7A7-5168-FB4AB0E5A012}"/>
                </a:ext>
              </a:extLst>
            </p:cNvPr>
            <p:cNvSpPr/>
            <p:nvPr userDrawn="1"/>
          </p:nvSpPr>
          <p:spPr>
            <a:xfrm rot="5400000" flipV="1">
              <a:off x="987953" y="2795153"/>
              <a:ext cx="2014729" cy="2014729"/>
            </a:xfrm>
            <a:prstGeom prst="arc">
              <a:avLst>
                <a:gd name="adj1" fmla="val 5322984"/>
                <a:gd name="adj2" fmla="val 16218126"/>
              </a:avLst>
            </a:prstGeom>
            <a:grpFill/>
            <a:ln w="9525">
              <a:gradFill>
                <a:gsLst>
                  <a:gs pos="0">
                    <a:schemeClr val="tx2">
                      <a:lumMod val="65000"/>
                      <a:lumOff val="35000"/>
                      <a:alpha val="30000"/>
                    </a:schemeClr>
                  </a:gs>
                  <a:gs pos="100000">
                    <a:schemeClr val="tx2"/>
                  </a:gs>
                </a:gsLst>
                <a:lin ang="66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endParaRPr lang="en-US" noProof="0">
                <a:solidFill>
                  <a:schemeClr val="lt1"/>
                </a:solidFill>
              </a:endParaRPr>
            </a:p>
          </p:txBody>
        </p: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8335D186-6D3E-53B6-745E-87ED2146D927}"/>
                </a:ext>
              </a:extLst>
            </p:cNvPr>
            <p:cNvSpPr/>
            <p:nvPr userDrawn="1"/>
          </p:nvSpPr>
          <p:spPr>
            <a:xfrm rot="16200000">
              <a:off x="3002632" y="2806718"/>
              <a:ext cx="2014729" cy="2014729"/>
            </a:xfrm>
            <a:prstGeom prst="arc">
              <a:avLst>
                <a:gd name="adj1" fmla="val 5431883"/>
                <a:gd name="adj2" fmla="val 16166392"/>
              </a:avLst>
            </a:prstGeom>
            <a:grpFill/>
            <a:ln w="9525">
              <a:gradFill>
                <a:gsLst>
                  <a:gs pos="0">
                    <a:schemeClr val="tx2">
                      <a:lumMod val="65000"/>
                      <a:lumOff val="35000"/>
                      <a:alpha val="30000"/>
                    </a:schemeClr>
                  </a:gs>
                  <a:gs pos="100000">
                    <a:schemeClr val="tx2"/>
                  </a:gs>
                </a:gsLst>
                <a:lin ang="66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endParaRPr lang="en-US" noProof="0">
                <a:solidFill>
                  <a:schemeClr val="lt1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308E2EA1-C27C-8907-C1AE-617A9279DDF3}"/>
                </a:ext>
              </a:extLst>
            </p:cNvPr>
            <p:cNvSpPr/>
            <p:nvPr userDrawn="1"/>
          </p:nvSpPr>
          <p:spPr>
            <a:xfrm rot="5400000" flipV="1">
              <a:off x="5017183" y="2795153"/>
              <a:ext cx="2014729" cy="2014729"/>
            </a:xfrm>
            <a:prstGeom prst="arc">
              <a:avLst>
                <a:gd name="adj1" fmla="val 5321543"/>
                <a:gd name="adj2" fmla="val 16289085"/>
              </a:avLst>
            </a:prstGeom>
            <a:grpFill/>
            <a:ln w="9525">
              <a:gradFill>
                <a:gsLst>
                  <a:gs pos="0">
                    <a:schemeClr val="tx2">
                      <a:lumMod val="65000"/>
                      <a:lumOff val="35000"/>
                      <a:alpha val="30000"/>
                    </a:schemeClr>
                  </a:gs>
                  <a:gs pos="100000">
                    <a:schemeClr val="tx2"/>
                  </a:gs>
                </a:gsLst>
                <a:lin ang="66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endParaRPr lang="en-US" noProof="0">
                <a:solidFill>
                  <a:schemeClr val="lt1"/>
                </a:solidFill>
              </a:endParaRPr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2857512D-9D40-3358-DB55-4AFD2925330C}"/>
                </a:ext>
              </a:extLst>
            </p:cNvPr>
            <p:cNvSpPr/>
            <p:nvPr userDrawn="1"/>
          </p:nvSpPr>
          <p:spPr>
            <a:xfrm rot="16200000">
              <a:off x="7031016" y="2811481"/>
              <a:ext cx="2014729" cy="2014729"/>
            </a:xfrm>
            <a:prstGeom prst="arc">
              <a:avLst>
                <a:gd name="adj1" fmla="val 5431883"/>
                <a:gd name="adj2" fmla="val 16166392"/>
              </a:avLst>
            </a:prstGeom>
            <a:grpFill/>
            <a:ln w="9525">
              <a:gradFill>
                <a:gsLst>
                  <a:gs pos="0">
                    <a:schemeClr val="tx2">
                      <a:lumMod val="65000"/>
                      <a:lumOff val="35000"/>
                      <a:alpha val="30000"/>
                    </a:schemeClr>
                  </a:gs>
                  <a:gs pos="100000">
                    <a:schemeClr val="tx2"/>
                  </a:gs>
                </a:gsLst>
                <a:lin ang="66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endParaRPr lang="en-US" noProof="0">
                <a:solidFill>
                  <a:schemeClr val="lt1"/>
                </a:solidFill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846311C2-A628-681C-04F3-04FF0E1472EA}"/>
                </a:ext>
              </a:extLst>
            </p:cNvPr>
            <p:cNvSpPr/>
            <p:nvPr userDrawn="1"/>
          </p:nvSpPr>
          <p:spPr>
            <a:xfrm rot="5400000" flipV="1">
              <a:off x="9044122" y="2795153"/>
              <a:ext cx="2014729" cy="2014729"/>
            </a:xfrm>
            <a:prstGeom prst="arc">
              <a:avLst>
                <a:gd name="adj1" fmla="val 5321543"/>
                <a:gd name="adj2" fmla="val 16289085"/>
              </a:avLst>
            </a:prstGeom>
            <a:grpFill/>
            <a:ln w="9525">
              <a:gradFill>
                <a:gsLst>
                  <a:gs pos="0">
                    <a:schemeClr val="tx2">
                      <a:lumMod val="65000"/>
                      <a:lumOff val="35000"/>
                      <a:alpha val="30000"/>
                    </a:schemeClr>
                  </a:gs>
                  <a:gs pos="100000">
                    <a:schemeClr val="tx2"/>
                  </a:gs>
                </a:gsLst>
                <a:lin ang="66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lvl="0" algn="ctr"/>
              <a:endParaRPr lang="en-US" noProof="0">
                <a:solidFill>
                  <a:schemeClr val="lt1"/>
                </a:solidFill>
              </a:endParaRPr>
            </a:p>
          </p:txBody>
        </p:sp>
      </p:grpSp>
      <p:sp>
        <p:nvSpPr>
          <p:cNvPr id="149" name="Rectangle 14">
            <a:extLst>
              <a:ext uri="{FF2B5EF4-FFF2-40B4-BE49-F238E27FC236}">
                <a16:creationId xmlns:a16="http://schemas.microsoft.com/office/drawing/2014/main" id="{FE27DE72-5536-DEFC-BF2A-23AE344DAE43}"/>
              </a:ext>
            </a:extLst>
          </p:cNvPr>
          <p:cNvSpPr/>
          <p:nvPr userDrawn="1"/>
        </p:nvSpPr>
        <p:spPr>
          <a:xfrm>
            <a:off x="9278997" y="3018149"/>
            <a:ext cx="1568737" cy="15687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151" name="Picture Placeholder 62">
            <a:extLst>
              <a:ext uri="{FF2B5EF4-FFF2-40B4-BE49-F238E27FC236}">
                <a16:creationId xmlns:a16="http://schemas.microsoft.com/office/drawing/2014/main" id="{1358C025-E9DB-E8DD-C386-3857031DC8C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524687" y="3331888"/>
            <a:ext cx="941262" cy="94126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2" name="Picture Placeholder 62">
            <a:extLst>
              <a:ext uri="{FF2B5EF4-FFF2-40B4-BE49-F238E27FC236}">
                <a16:creationId xmlns:a16="http://schemas.microsoft.com/office/drawing/2014/main" id="{E701CCEF-B4ED-7EBC-36C6-8DFD9D712A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36897" y="3331888"/>
            <a:ext cx="941262" cy="94126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3" name="Picture Placeholder 62">
            <a:extLst>
              <a:ext uri="{FF2B5EF4-FFF2-40B4-BE49-F238E27FC236}">
                <a16:creationId xmlns:a16="http://schemas.microsoft.com/office/drawing/2014/main" id="{97AFD27D-6C3E-F125-2485-65B8347A439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61139" y="3331888"/>
            <a:ext cx="941262" cy="94126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4" name="Picture Placeholder 62">
            <a:extLst>
              <a:ext uri="{FF2B5EF4-FFF2-40B4-BE49-F238E27FC236}">
                <a16:creationId xmlns:a16="http://schemas.microsoft.com/office/drawing/2014/main" id="{FE29D1EA-5FAB-E367-D0C0-ED459788581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573349" y="3331888"/>
            <a:ext cx="941262" cy="94126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5" name="Picture Placeholder 62">
            <a:extLst>
              <a:ext uri="{FF2B5EF4-FFF2-40B4-BE49-F238E27FC236}">
                <a16:creationId xmlns:a16="http://schemas.microsoft.com/office/drawing/2014/main" id="{F2AF4322-4FA9-3B92-3E11-25A4F069918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735" y="3331888"/>
            <a:ext cx="941262" cy="94126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00"/>
            </a:lvl1pPr>
          </a:lstStyle>
          <a:p>
            <a:r>
              <a:rPr lang="en-US"/>
              <a:t>Icon</a:t>
            </a: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F7DD335-CB9E-7D80-FFE0-F9F24C6DD2D5}"/>
              </a:ext>
            </a:extLst>
          </p:cNvPr>
          <p:cNvCxnSpPr>
            <a:cxnSpLocks/>
          </p:cNvCxnSpPr>
          <p:nvPr userDrawn="1"/>
        </p:nvCxnSpPr>
        <p:spPr>
          <a:xfrm flipH="1">
            <a:off x="1995317" y="4591005"/>
            <a:ext cx="1" cy="442314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dash"/>
            <a:miter/>
          </a:ln>
        </p:spPr>
      </p:cxnSp>
      <p:sp>
        <p:nvSpPr>
          <p:cNvPr id="159" name="Text Placeholder 58">
            <a:extLst>
              <a:ext uri="{FF2B5EF4-FFF2-40B4-BE49-F238E27FC236}">
                <a16:creationId xmlns:a16="http://schemas.microsoft.com/office/drawing/2014/main" id="{351AE6C8-53E5-9DD2-49C4-AEE2BF7408A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3894" y="5044443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0" name="Text Placeholder 58">
            <a:extLst>
              <a:ext uri="{FF2B5EF4-FFF2-40B4-BE49-F238E27FC236}">
                <a16:creationId xmlns:a16="http://schemas.microsoft.com/office/drawing/2014/main" id="{08FD8D84-64BB-9B47-833A-8BCB5D0380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3894" y="5411924"/>
            <a:ext cx="2422845" cy="765881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B7A2EA7E-20F4-D28E-6BD7-669D77CEFC45}"/>
              </a:ext>
            </a:extLst>
          </p:cNvPr>
          <p:cNvCxnSpPr>
            <a:cxnSpLocks/>
          </p:cNvCxnSpPr>
          <p:nvPr userDrawn="1"/>
        </p:nvCxnSpPr>
        <p:spPr>
          <a:xfrm flipH="1">
            <a:off x="4028757" y="2611737"/>
            <a:ext cx="1" cy="442314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dash"/>
            <a:miter/>
          </a:ln>
        </p:spPr>
      </p:cxnSp>
      <p:sp>
        <p:nvSpPr>
          <p:cNvPr id="162" name="Text Placeholder 58">
            <a:extLst>
              <a:ext uri="{FF2B5EF4-FFF2-40B4-BE49-F238E27FC236}">
                <a16:creationId xmlns:a16="http://schemas.microsoft.com/office/drawing/2014/main" id="{2D69FA64-C2F2-E891-9D79-1EF393269C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17334" y="1431871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3" name="Text Placeholder 58">
            <a:extLst>
              <a:ext uri="{FF2B5EF4-FFF2-40B4-BE49-F238E27FC236}">
                <a16:creationId xmlns:a16="http://schemas.microsoft.com/office/drawing/2014/main" id="{9DCDC965-3A42-B967-F894-F42B7B06415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17334" y="1799352"/>
            <a:ext cx="2422845" cy="765881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B92825B0-55D2-179C-7165-310E2C73FF2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23915" y="4591005"/>
            <a:ext cx="1" cy="442314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dash"/>
            <a:miter/>
          </a:ln>
        </p:spPr>
      </p:cxnSp>
      <p:sp>
        <p:nvSpPr>
          <p:cNvPr id="165" name="Text Placeholder 58">
            <a:extLst>
              <a:ext uri="{FF2B5EF4-FFF2-40B4-BE49-F238E27FC236}">
                <a16:creationId xmlns:a16="http://schemas.microsoft.com/office/drawing/2014/main" id="{865340BA-ADD5-8032-56D6-49739A99E6E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12492" y="5044443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6" name="Text Placeholder 58">
            <a:extLst>
              <a:ext uri="{FF2B5EF4-FFF2-40B4-BE49-F238E27FC236}">
                <a16:creationId xmlns:a16="http://schemas.microsoft.com/office/drawing/2014/main" id="{ACDC4755-6AB2-370B-80EB-121F08FAE65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12492" y="5411924"/>
            <a:ext cx="2422845" cy="765881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52035FBE-45BF-F958-9C45-D9290FAEB6FD}"/>
              </a:ext>
            </a:extLst>
          </p:cNvPr>
          <p:cNvCxnSpPr>
            <a:cxnSpLocks/>
          </p:cNvCxnSpPr>
          <p:nvPr userDrawn="1"/>
        </p:nvCxnSpPr>
        <p:spPr>
          <a:xfrm flipH="1">
            <a:off x="10082027" y="4591005"/>
            <a:ext cx="1" cy="442314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dash"/>
            <a:miter/>
          </a:ln>
        </p:spPr>
      </p:cxnSp>
      <p:sp>
        <p:nvSpPr>
          <p:cNvPr id="168" name="Text Placeholder 58">
            <a:extLst>
              <a:ext uri="{FF2B5EF4-FFF2-40B4-BE49-F238E27FC236}">
                <a16:creationId xmlns:a16="http://schemas.microsoft.com/office/drawing/2014/main" id="{A4F140C6-B0E5-F052-C232-9E8B55CFC19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70604" y="5044443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69" name="Text Placeholder 58">
            <a:extLst>
              <a:ext uri="{FF2B5EF4-FFF2-40B4-BE49-F238E27FC236}">
                <a16:creationId xmlns:a16="http://schemas.microsoft.com/office/drawing/2014/main" id="{1565D2AE-2957-71D0-1E72-7C09BAFD5A2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70604" y="5411924"/>
            <a:ext cx="2422845" cy="765881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A40BA71F-A865-BC02-A778-DE76242E8771}"/>
              </a:ext>
            </a:extLst>
          </p:cNvPr>
          <p:cNvCxnSpPr>
            <a:cxnSpLocks/>
          </p:cNvCxnSpPr>
          <p:nvPr userDrawn="1"/>
        </p:nvCxnSpPr>
        <p:spPr>
          <a:xfrm flipH="1">
            <a:off x="8012618" y="2611737"/>
            <a:ext cx="1" cy="442314"/>
          </a:xfrm>
          <a:prstGeom prst="line">
            <a:avLst/>
          </a:prstGeom>
          <a:noFill/>
          <a:ln w="12700" cap="flat">
            <a:solidFill>
              <a:schemeClr val="accent3"/>
            </a:solidFill>
            <a:prstDash val="dash"/>
            <a:miter/>
          </a:ln>
        </p:spPr>
      </p:cxnSp>
      <p:sp>
        <p:nvSpPr>
          <p:cNvPr id="171" name="Text Placeholder 58">
            <a:extLst>
              <a:ext uri="{FF2B5EF4-FFF2-40B4-BE49-F238E27FC236}">
                <a16:creationId xmlns:a16="http://schemas.microsoft.com/office/drawing/2014/main" id="{D02A46F9-449E-9243-3AD3-8104F86074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01195" y="1431871"/>
            <a:ext cx="2422845" cy="244753"/>
          </a:xfrm>
        </p:spPr>
        <p:txBody>
          <a:bodyPr lIns="90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72" name="Text Placeholder 58">
            <a:extLst>
              <a:ext uri="{FF2B5EF4-FFF2-40B4-BE49-F238E27FC236}">
                <a16:creationId xmlns:a16="http://schemas.microsoft.com/office/drawing/2014/main" id="{141CE16A-96DF-E3DE-CED1-421B38FC38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01195" y="1799352"/>
            <a:ext cx="2422845" cy="765881"/>
          </a:xfrm>
        </p:spPr>
        <p:txBody>
          <a:bodyPr lIns="9000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1838159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 (Numb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1C5E8C-F18D-3C7B-59E2-A4CAC6952CB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7713" y="3265800"/>
            <a:ext cx="2160001" cy="612514"/>
          </a:xfrm>
        </p:spPr>
        <p:txBody>
          <a:bodyPr>
            <a:normAutofit/>
          </a:bodyPr>
          <a:lstStyle>
            <a:lvl1pPr marL="0" indent="0"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33" name="Text Placeholder 58">
            <a:extLst>
              <a:ext uri="{FF2B5EF4-FFF2-40B4-BE49-F238E27FC236}">
                <a16:creationId xmlns:a16="http://schemas.microsoft.com/office/drawing/2014/main" id="{98266586-C3BF-3483-0272-400A76231C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713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6E9D3C6-B805-D138-B365-D5324CD36DB9}"/>
              </a:ext>
            </a:extLst>
          </p:cNvPr>
          <p:cNvSpPr txBox="1">
            <a:spLocks/>
          </p:cNvSpPr>
          <p:nvPr/>
        </p:nvSpPr>
        <p:spPr>
          <a:xfrm>
            <a:off x="467713" y="2243421"/>
            <a:ext cx="866149" cy="86614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  <a:defRPr/>
            </a:pPr>
            <a:r>
              <a:rPr lang="en-GB" sz="480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01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B4233A3-59B4-ECB3-C5C1-45147D4AA400}"/>
              </a:ext>
            </a:extLst>
          </p:cNvPr>
          <p:cNvSpPr txBox="1">
            <a:spLocks/>
          </p:cNvSpPr>
          <p:nvPr/>
        </p:nvSpPr>
        <p:spPr>
          <a:xfrm>
            <a:off x="3512585" y="2243421"/>
            <a:ext cx="866149" cy="86614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  <a:defRPr/>
            </a:pPr>
            <a:r>
              <a:rPr lang="en-GB" sz="480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02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2B259F6-8920-E234-93EE-C6FBEADCE659}"/>
              </a:ext>
            </a:extLst>
          </p:cNvPr>
          <p:cNvSpPr txBox="1">
            <a:spLocks/>
          </p:cNvSpPr>
          <p:nvPr/>
        </p:nvSpPr>
        <p:spPr>
          <a:xfrm>
            <a:off x="6617771" y="2243421"/>
            <a:ext cx="866149" cy="86614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  <a:defRPr/>
            </a:pPr>
            <a:r>
              <a:rPr lang="en-GB" sz="480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03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D23E0101-2869-94C7-1149-3F331CE48327}"/>
              </a:ext>
            </a:extLst>
          </p:cNvPr>
          <p:cNvSpPr txBox="1">
            <a:spLocks/>
          </p:cNvSpPr>
          <p:nvPr/>
        </p:nvSpPr>
        <p:spPr>
          <a:xfrm>
            <a:off x="9574799" y="2243421"/>
            <a:ext cx="866149" cy="86614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  <a:defRPr/>
            </a:pPr>
            <a:r>
              <a:rPr lang="en-GB" sz="480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04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DF4E7CC-6FDE-12C8-76A7-D4F970FA86B1}"/>
              </a:ext>
            </a:extLst>
          </p:cNvPr>
          <p:cNvCxnSpPr>
            <a:cxnSpLocks/>
          </p:cNvCxnSpPr>
          <p:nvPr/>
        </p:nvCxnSpPr>
        <p:spPr>
          <a:xfrm>
            <a:off x="10881550" y="2690470"/>
            <a:ext cx="1310450" cy="0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B055D02-74A0-7025-E9AF-560EB575FB5F}"/>
              </a:ext>
            </a:extLst>
          </p:cNvPr>
          <p:cNvGrpSpPr/>
          <p:nvPr userDrawn="1"/>
        </p:nvGrpSpPr>
        <p:grpSpPr>
          <a:xfrm>
            <a:off x="1818386" y="2618782"/>
            <a:ext cx="1294846" cy="143376"/>
            <a:chOff x="1818386" y="2618782"/>
            <a:chExt cx="1294846" cy="143376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F4112A5-B986-798F-48B0-2E978A1A0ED7}"/>
                </a:ext>
              </a:extLst>
            </p:cNvPr>
            <p:cNvCxnSpPr>
              <a:cxnSpLocks/>
            </p:cNvCxnSpPr>
            <p:nvPr/>
          </p:nvCxnSpPr>
          <p:spPr>
            <a:xfrm>
              <a:off x="1818386" y="2690470"/>
              <a:ext cx="1209675" cy="0"/>
            </a:xfrm>
            <a:prstGeom prst="line">
              <a:avLst/>
            </a:pr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Isosceles Triangle 101">
              <a:extLst>
                <a:ext uri="{FF2B5EF4-FFF2-40B4-BE49-F238E27FC236}">
                  <a16:creationId xmlns:a16="http://schemas.microsoft.com/office/drawing/2014/main" id="{CADFE07F-BAE8-CEED-FEED-D57D71437A15}"/>
                </a:ext>
              </a:extLst>
            </p:cNvPr>
            <p:cNvSpPr/>
            <p:nvPr/>
          </p:nvSpPr>
          <p:spPr>
            <a:xfrm rot="5400000">
              <a:off x="3007761" y="2656687"/>
              <a:ext cx="143376" cy="67566"/>
            </a:xfrm>
            <a:custGeom>
              <a:avLst/>
              <a:gdLst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  <a:gd name="connsiteX3" fmla="*/ 0 w 183790"/>
                <a:gd name="connsiteY3" fmla="*/ 158438 h 158438"/>
                <a:gd name="connsiteX0" fmla="*/ 0 w 183790"/>
                <a:gd name="connsiteY0" fmla="*/ 158438 h 249878"/>
                <a:gd name="connsiteX1" fmla="*/ 91895 w 183790"/>
                <a:gd name="connsiteY1" fmla="*/ 0 h 249878"/>
                <a:gd name="connsiteX2" fmla="*/ 183790 w 183790"/>
                <a:gd name="connsiteY2" fmla="*/ 158438 h 249878"/>
                <a:gd name="connsiteX3" fmla="*/ 91440 w 183790"/>
                <a:gd name="connsiteY3" fmla="*/ 249878 h 249878"/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790" h="158438">
                  <a:moveTo>
                    <a:pt x="0" y="158438"/>
                  </a:moveTo>
                  <a:lnTo>
                    <a:pt x="91895" y="0"/>
                  </a:lnTo>
                  <a:lnTo>
                    <a:pt x="183790" y="158438"/>
                  </a:lnTo>
                </a:path>
              </a:pathLst>
            </a:cu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3C8FC23-6846-3694-F573-772E24742D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2585" y="3265800"/>
            <a:ext cx="2160001" cy="612514"/>
          </a:xfrm>
        </p:spPr>
        <p:txBody>
          <a:bodyPr>
            <a:normAutofit/>
          </a:bodyPr>
          <a:lstStyle>
            <a:lvl1pPr marL="0" indent="0"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EFD5FF6D-FAA4-79EE-1787-B8036C2D8D9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12585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824650-9E4A-B956-52B2-F60EF0C090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17771" y="3265800"/>
            <a:ext cx="2160001" cy="612514"/>
          </a:xfrm>
        </p:spPr>
        <p:txBody>
          <a:bodyPr>
            <a:normAutofit/>
          </a:bodyPr>
          <a:lstStyle>
            <a:lvl1pPr marL="0" indent="0"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39" name="Text Placeholder 58">
            <a:extLst>
              <a:ext uri="{FF2B5EF4-FFF2-40B4-BE49-F238E27FC236}">
                <a16:creationId xmlns:a16="http://schemas.microsoft.com/office/drawing/2014/main" id="{2168AD4E-8261-9A6E-5AAC-51A676549C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17771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C6775934-6B5E-CFF7-B548-3196771801B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74799" y="3265800"/>
            <a:ext cx="2160001" cy="612514"/>
          </a:xfrm>
        </p:spPr>
        <p:txBody>
          <a:bodyPr>
            <a:normAutofit/>
          </a:bodyPr>
          <a:lstStyle>
            <a:lvl1pPr marL="0" indent="0"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Segoe UI" panose="020B0502040204020203" pitchFamily="34" charset="0"/>
              <a:buNone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41" name="Text Placeholder 58">
            <a:extLst>
              <a:ext uri="{FF2B5EF4-FFF2-40B4-BE49-F238E27FC236}">
                <a16:creationId xmlns:a16="http://schemas.microsoft.com/office/drawing/2014/main" id="{7D3133C8-5EC1-DAE5-B4D0-046AD9472B9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74799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5011509-773D-296E-98BE-B24084744028}"/>
              </a:ext>
            </a:extLst>
          </p:cNvPr>
          <p:cNvGrpSpPr/>
          <p:nvPr userDrawn="1"/>
        </p:nvGrpSpPr>
        <p:grpSpPr>
          <a:xfrm>
            <a:off x="4893415" y="2618782"/>
            <a:ext cx="1294846" cy="143376"/>
            <a:chOff x="1818386" y="2618782"/>
            <a:chExt cx="1294846" cy="143376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EF7B12D-45C0-1FE5-A48F-42FF6467991E}"/>
                </a:ext>
              </a:extLst>
            </p:cNvPr>
            <p:cNvCxnSpPr>
              <a:cxnSpLocks/>
            </p:cNvCxnSpPr>
            <p:nvPr/>
          </p:nvCxnSpPr>
          <p:spPr>
            <a:xfrm>
              <a:off x="1818386" y="2690470"/>
              <a:ext cx="1209675" cy="0"/>
            </a:xfrm>
            <a:prstGeom prst="line">
              <a:avLst/>
            </a:pr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Isosceles Triangle 101">
              <a:extLst>
                <a:ext uri="{FF2B5EF4-FFF2-40B4-BE49-F238E27FC236}">
                  <a16:creationId xmlns:a16="http://schemas.microsoft.com/office/drawing/2014/main" id="{3A6B8A2E-0094-20B9-B82B-753087E6EB33}"/>
                </a:ext>
              </a:extLst>
            </p:cNvPr>
            <p:cNvSpPr/>
            <p:nvPr/>
          </p:nvSpPr>
          <p:spPr>
            <a:xfrm rot="5400000">
              <a:off x="3007761" y="2656687"/>
              <a:ext cx="143376" cy="67566"/>
            </a:xfrm>
            <a:custGeom>
              <a:avLst/>
              <a:gdLst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  <a:gd name="connsiteX3" fmla="*/ 0 w 183790"/>
                <a:gd name="connsiteY3" fmla="*/ 158438 h 158438"/>
                <a:gd name="connsiteX0" fmla="*/ 0 w 183790"/>
                <a:gd name="connsiteY0" fmla="*/ 158438 h 249878"/>
                <a:gd name="connsiteX1" fmla="*/ 91895 w 183790"/>
                <a:gd name="connsiteY1" fmla="*/ 0 h 249878"/>
                <a:gd name="connsiteX2" fmla="*/ 183790 w 183790"/>
                <a:gd name="connsiteY2" fmla="*/ 158438 h 249878"/>
                <a:gd name="connsiteX3" fmla="*/ 91440 w 183790"/>
                <a:gd name="connsiteY3" fmla="*/ 249878 h 249878"/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790" h="158438">
                  <a:moveTo>
                    <a:pt x="0" y="158438"/>
                  </a:moveTo>
                  <a:lnTo>
                    <a:pt x="91895" y="0"/>
                  </a:lnTo>
                  <a:lnTo>
                    <a:pt x="183790" y="158438"/>
                  </a:lnTo>
                </a:path>
              </a:pathLst>
            </a:cu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8D69CF-0AF4-A31D-04A5-5FFADEFA3C7F}"/>
              </a:ext>
            </a:extLst>
          </p:cNvPr>
          <p:cNvGrpSpPr/>
          <p:nvPr userDrawn="1"/>
        </p:nvGrpSpPr>
        <p:grpSpPr>
          <a:xfrm>
            <a:off x="7924522" y="2618782"/>
            <a:ext cx="1294846" cy="143376"/>
            <a:chOff x="1818386" y="2618782"/>
            <a:chExt cx="1294846" cy="143376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2AD71E62-9A31-BB4F-1E12-DDA67EBEC13E}"/>
                </a:ext>
              </a:extLst>
            </p:cNvPr>
            <p:cNvCxnSpPr>
              <a:cxnSpLocks/>
            </p:cNvCxnSpPr>
            <p:nvPr/>
          </p:nvCxnSpPr>
          <p:spPr>
            <a:xfrm>
              <a:off x="1818386" y="2690470"/>
              <a:ext cx="1209675" cy="0"/>
            </a:xfrm>
            <a:prstGeom prst="line">
              <a:avLst/>
            </a:pr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Isosceles Triangle 101">
              <a:extLst>
                <a:ext uri="{FF2B5EF4-FFF2-40B4-BE49-F238E27FC236}">
                  <a16:creationId xmlns:a16="http://schemas.microsoft.com/office/drawing/2014/main" id="{D10C552F-AE22-2D09-7A96-6BC9CCFBD6EF}"/>
                </a:ext>
              </a:extLst>
            </p:cNvPr>
            <p:cNvSpPr/>
            <p:nvPr/>
          </p:nvSpPr>
          <p:spPr>
            <a:xfrm rot="5400000">
              <a:off x="3007761" y="2656687"/>
              <a:ext cx="143376" cy="67566"/>
            </a:xfrm>
            <a:custGeom>
              <a:avLst/>
              <a:gdLst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  <a:gd name="connsiteX3" fmla="*/ 0 w 183790"/>
                <a:gd name="connsiteY3" fmla="*/ 158438 h 158438"/>
                <a:gd name="connsiteX0" fmla="*/ 0 w 183790"/>
                <a:gd name="connsiteY0" fmla="*/ 158438 h 249878"/>
                <a:gd name="connsiteX1" fmla="*/ 91895 w 183790"/>
                <a:gd name="connsiteY1" fmla="*/ 0 h 249878"/>
                <a:gd name="connsiteX2" fmla="*/ 183790 w 183790"/>
                <a:gd name="connsiteY2" fmla="*/ 158438 h 249878"/>
                <a:gd name="connsiteX3" fmla="*/ 91440 w 183790"/>
                <a:gd name="connsiteY3" fmla="*/ 249878 h 249878"/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790" h="158438">
                  <a:moveTo>
                    <a:pt x="0" y="158438"/>
                  </a:moveTo>
                  <a:lnTo>
                    <a:pt x="91895" y="0"/>
                  </a:lnTo>
                  <a:lnTo>
                    <a:pt x="183790" y="158438"/>
                  </a:lnTo>
                </a:path>
              </a:pathLst>
            </a:cu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784832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 (Ico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Picture Placeholder 64">
            <a:extLst>
              <a:ext uri="{FF2B5EF4-FFF2-40B4-BE49-F238E27FC236}">
                <a16:creationId xmlns:a16="http://schemas.microsoft.com/office/drawing/2014/main" id="{A7AC12AA-E8A1-9945-3375-33D0F9B3BFC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7713" y="2243421"/>
            <a:ext cx="866149" cy="86614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5" name="Picture Placeholder 64">
            <a:extLst>
              <a:ext uri="{FF2B5EF4-FFF2-40B4-BE49-F238E27FC236}">
                <a16:creationId xmlns:a16="http://schemas.microsoft.com/office/drawing/2014/main" id="{35AE687E-1B20-B424-EC7F-91724AFFB09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2585" y="2243421"/>
            <a:ext cx="866149" cy="86614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" name="Picture Placeholder 64">
            <a:extLst>
              <a:ext uri="{FF2B5EF4-FFF2-40B4-BE49-F238E27FC236}">
                <a16:creationId xmlns:a16="http://schemas.microsoft.com/office/drawing/2014/main" id="{552520DA-16D1-A4E6-B1A5-F30187B4087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617771" y="2243421"/>
            <a:ext cx="866149" cy="86614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8" name="Picture Placeholder 64">
            <a:extLst>
              <a:ext uri="{FF2B5EF4-FFF2-40B4-BE49-F238E27FC236}">
                <a16:creationId xmlns:a16="http://schemas.microsoft.com/office/drawing/2014/main" id="{9875E5D6-E696-22FF-BF76-35516DED42D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574799" y="2243421"/>
            <a:ext cx="866149" cy="86614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DF4E7CC-6FDE-12C8-76A7-D4F970FA86B1}"/>
              </a:ext>
            </a:extLst>
          </p:cNvPr>
          <p:cNvCxnSpPr>
            <a:cxnSpLocks/>
          </p:cNvCxnSpPr>
          <p:nvPr/>
        </p:nvCxnSpPr>
        <p:spPr>
          <a:xfrm>
            <a:off x="10881550" y="2690470"/>
            <a:ext cx="1310450" cy="0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B055D02-74A0-7025-E9AF-560EB575FB5F}"/>
              </a:ext>
            </a:extLst>
          </p:cNvPr>
          <p:cNvGrpSpPr/>
          <p:nvPr userDrawn="1"/>
        </p:nvGrpSpPr>
        <p:grpSpPr>
          <a:xfrm>
            <a:off x="1818386" y="2618782"/>
            <a:ext cx="1294846" cy="143376"/>
            <a:chOff x="1818386" y="2618782"/>
            <a:chExt cx="1294846" cy="143376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F4112A5-B986-798F-48B0-2E978A1A0ED7}"/>
                </a:ext>
              </a:extLst>
            </p:cNvPr>
            <p:cNvCxnSpPr>
              <a:cxnSpLocks/>
            </p:cNvCxnSpPr>
            <p:nvPr/>
          </p:nvCxnSpPr>
          <p:spPr>
            <a:xfrm>
              <a:off x="1818386" y="2690470"/>
              <a:ext cx="1209675" cy="0"/>
            </a:xfrm>
            <a:prstGeom prst="line">
              <a:avLst/>
            </a:pr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Isosceles Triangle 101">
              <a:extLst>
                <a:ext uri="{FF2B5EF4-FFF2-40B4-BE49-F238E27FC236}">
                  <a16:creationId xmlns:a16="http://schemas.microsoft.com/office/drawing/2014/main" id="{CADFE07F-BAE8-CEED-FEED-D57D71437A15}"/>
                </a:ext>
              </a:extLst>
            </p:cNvPr>
            <p:cNvSpPr/>
            <p:nvPr/>
          </p:nvSpPr>
          <p:spPr>
            <a:xfrm rot="5400000">
              <a:off x="3007761" y="2656687"/>
              <a:ext cx="143376" cy="67566"/>
            </a:xfrm>
            <a:custGeom>
              <a:avLst/>
              <a:gdLst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  <a:gd name="connsiteX3" fmla="*/ 0 w 183790"/>
                <a:gd name="connsiteY3" fmla="*/ 158438 h 158438"/>
                <a:gd name="connsiteX0" fmla="*/ 0 w 183790"/>
                <a:gd name="connsiteY0" fmla="*/ 158438 h 249878"/>
                <a:gd name="connsiteX1" fmla="*/ 91895 w 183790"/>
                <a:gd name="connsiteY1" fmla="*/ 0 h 249878"/>
                <a:gd name="connsiteX2" fmla="*/ 183790 w 183790"/>
                <a:gd name="connsiteY2" fmla="*/ 158438 h 249878"/>
                <a:gd name="connsiteX3" fmla="*/ 91440 w 183790"/>
                <a:gd name="connsiteY3" fmla="*/ 249878 h 249878"/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790" h="158438">
                  <a:moveTo>
                    <a:pt x="0" y="158438"/>
                  </a:moveTo>
                  <a:lnTo>
                    <a:pt x="91895" y="0"/>
                  </a:lnTo>
                  <a:lnTo>
                    <a:pt x="183790" y="158438"/>
                  </a:lnTo>
                </a:path>
              </a:pathLst>
            </a:cu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5011509-773D-296E-98BE-B24084744028}"/>
              </a:ext>
            </a:extLst>
          </p:cNvPr>
          <p:cNvGrpSpPr/>
          <p:nvPr userDrawn="1"/>
        </p:nvGrpSpPr>
        <p:grpSpPr>
          <a:xfrm>
            <a:off x="4893415" y="2618782"/>
            <a:ext cx="1294846" cy="143376"/>
            <a:chOff x="1818386" y="2618782"/>
            <a:chExt cx="1294846" cy="143376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EF7B12D-45C0-1FE5-A48F-42FF6467991E}"/>
                </a:ext>
              </a:extLst>
            </p:cNvPr>
            <p:cNvCxnSpPr>
              <a:cxnSpLocks/>
            </p:cNvCxnSpPr>
            <p:nvPr/>
          </p:nvCxnSpPr>
          <p:spPr>
            <a:xfrm>
              <a:off x="1818386" y="2690470"/>
              <a:ext cx="1209675" cy="0"/>
            </a:xfrm>
            <a:prstGeom prst="line">
              <a:avLst/>
            </a:pr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Isosceles Triangle 101">
              <a:extLst>
                <a:ext uri="{FF2B5EF4-FFF2-40B4-BE49-F238E27FC236}">
                  <a16:creationId xmlns:a16="http://schemas.microsoft.com/office/drawing/2014/main" id="{3A6B8A2E-0094-20B9-B82B-753087E6EB33}"/>
                </a:ext>
              </a:extLst>
            </p:cNvPr>
            <p:cNvSpPr/>
            <p:nvPr/>
          </p:nvSpPr>
          <p:spPr>
            <a:xfrm rot="5400000">
              <a:off x="3007761" y="2656687"/>
              <a:ext cx="143376" cy="67566"/>
            </a:xfrm>
            <a:custGeom>
              <a:avLst/>
              <a:gdLst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  <a:gd name="connsiteX3" fmla="*/ 0 w 183790"/>
                <a:gd name="connsiteY3" fmla="*/ 158438 h 158438"/>
                <a:gd name="connsiteX0" fmla="*/ 0 w 183790"/>
                <a:gd name="connsiteY0" fmla="*/ 158438 h 249878"/>
                <a:gd name="connsiteX1" fmla="*/ 91895 w 183790"/>
                <a:gd name="connsiteY1" fmla="*/ 0 h 249878"/>
                <a:gd name="connsiteX2" fmla="*/ 183790 w 183790"/>
                <a:gd name="connsiteY2" fmla="*/ 158438 h 249878"/>
                <a:gd name="connsiteX3" fmla="*/ 91440 w 183790"/>
                <a:gd name="connsiteY3" fmla="*/ 249878 h 249878"/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790" h="158438">
                  <a:moveTo>
                    <a:pt x="0" y="158438"/>
                  </a:moveTo>
                  <a:lnTo>
                    <a:pt x="91895" y="0"/>
                  </a:lnTo>
                  <a:lnTo>
                    <a:pt x="183790" y="158438"/>
                  </a:lnTo>
                </a:path>
              </a:pathLst>
            </a:cu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8D69CF-0AF4-A31D-04A5-5FFADEFA3C7F}"/>
              </a:ext>
            </a:extLst>
          </p:cNvPr>
          <p:cNvGrpSpPr/>
          <p:nvPr userDrawn="1"/>
        </p:nvGrpSpPr>
        <p:grpSpPr>
          <a:xfrm>
            <a:off x="7924522" y="2618782"/>
            <a:ext cx="1294846" cy="143376"/>
            <a:chOff x="1818386" y="2618782"/>
            <a:chExt cx="1294846" cy="143376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2AD71E62-9A31-BB4F-1E12-DDA67EBEC13E}"/>
                </a:ext>
              </a:extLst>
            </p:cNvPr>
            <p:cNvCxnSpPr>
              <a:cxnSpLocks/>
            </p:cNvCxnSpPr>
            <p:nvPr/>
          </p:nvCxnSpPr>
          <p:spPr>
            <a:xfrm>
              <a:off x="1818386" y="2690470"/>
              <a:ext cx="1209675" cy="0"/>
            </a:xfrm>
            <a:prstGeom prst="line">
              <a:avLst/>
            </a:pr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Isosceles Triangle 101">
              <a:extLst>
                <a:ext uri="{FF2B5EF4-FFF2-40B4-BE49-F238E27FC236}">
                  <a16:creationId xmlns:a16="http://schemas.microsoft.com/office/drawing/2014/main" id="{D10C552F-AE22-2D09-7A96-6BC9CCFBD6EF}"/>
                </a:ext>
              </a:extLst>
            </p:cNvPr>
            <p:cNvSpPr/>
            <p:nvPr/>
          </p:nvSpPr>
          <p:spPr>
            <a:xfrm rot="5400000">
              <a:off x="3007761" y="2656687"/>
              <a:ext cx="143376" cy="67566"/>
            </a:xfrm>
            <a:custGeom>
              <a:avLst/>
              <a:gdLst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  <a:gd name="connsiteX3" fmla="*/ 0 w 183790"/>
                <a:gd name="connsiteY3" fmla="*/ 158438 h 158438"/>
                <a:gd name="connsiteX0" fmla="*/ 0 w 183790"/>
                <a:gd name="connsiteY0" fmla="*/ 158438 h 249878"/>
                <a:gd name="connsiteX1" fmla="*/ 91895 w 183790"/>
                <a:gd name="connsiteY1" fmla="*/ 0 h 249878"/>
                <a:gd name="connsiteX2" fmla="*/ 183790 w 183790"/>
                <a:gd name="connsiteY2" fmla="*/ 158438 h 249878"/>
                <a:gd name="connsiteX3" fmla="*/ 91440 w 183790"/>
                <a:gd name="connsiteY3" fmla="*/ 249878 h 249878"/>
                <a:gd name="connsiteX0" fmla="*/ 0 w 183790"/>
                <a:gd name="connsiteY0" fmla="*/ 158438 h 158438"/>
                <a:gd name="connsiteX1" fmla="*/ 91895 w 183790"/>
                <a:gd name="connsiteY1" fmla="*/ 0 h 158438"/>
                <a:gd name="connsiteX2" fmla="*/ 183790 w 183790"/>
                <a:gd name="connsiteY2" fmla="*/ 158438 h 1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790" h="158438">
                  <a:moveTo>
                    <a:pt x="0" y="158438"/>
                  </a:moveTo>
                  <a:lnTo>
                    <a:pt x="91895" y="0"/>
                  </a:lnTo>
                  <a:lnTo>
                    <a:pt x="183790" y="158438"/>
                  </a:lnTo>
                </a:path>
              </a:pathLst>
            </a:custGeom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BCFEF58-02E2-8301-768C-8EE8D8A93F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7713" y="3265800"/>
            <a:ext cx="2160001" cy="612514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3A0A3F75-5A7E-CBB6-13D2-3EA12B26B8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713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DA69EB5-08BB-FC14-767B-96A4B7B14FF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12585" y="3265800"/>
            <a:ext cx="2160001" cy="612514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16" name="Text Placeholder 58">
            <a:extLst>
              <a:ext uri="{FF2B5EF4-FFF2-40B4-BE49-F238E27FC236}">
                <a16:creationId xmlns:a16="http://schemas.microsoft.com/office/drawing/2014/main" id="{E22AB536-F9D8-C69F-5F58-7094827C6A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12585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FFBFBF6-E529-7987-E63D-04D2DAD7774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17771" y="3265800"/>
            <a:ext cx="2160001" cy="612514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18" name="Text Placeholder 58">
            <a:extLst>
              <a:ext uri="{FF2B5EF4-FFF2-40B4-BE49-F238E27FC236}">
                <a16:creationId xmlns:a16="http://schemas.microsoft.com/office/drawing/2014/main" id="{F34D97CB-8D02-4076-E85C-0F70A26970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17771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4B96E93-1274-A36A-120A-6F70C5793A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74799" y="3265800"/>
            <a:ext cx="2160001" cy="612514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lang="en-GB"/>
              <a:t>Add Title</a:t>
            </a:r>
          </a:p>
        </p:txBody>
      </p:sp>
      <p:sp>
        <p:nvSpPr>
          <p:cNvPr id="20" name="Text Placeholder 58">
            <a:extLst>
              <a:ext uri="{FF2B5EF4-FFF2-40B4-BE49-F238E27FC236}">
                <a16:creationId xmlns:a16="http://schemas.microsoft.com/office/drawing/2014/main" id="{B41B167D-898B-06BE-7DCE-32A5650BED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74799" y="3968750"/>
            <a:ext cx="2160001" cy="2192391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019996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oin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Picture Placeholder 64">
            <a:extLst>
              <a:ext uri="{FF2B5EF4-FFF2-40B4-BE49-F238E27FC236}">
                <a16:creationId xmlns:a16="http://schemas.microsoft.com/office/drawing/2014/main" id="{A7AC12AA-E8A1-9945-3375-33D0F9B3BFC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57200" y="1635410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5" name="Picture Placeholder 64">
            <a:extLst>
              <a:ext uri="{FF2B5EF4-FFF2-40B4-BE49-F238E27FC236}">
                <a16:creationId xmlns:a16="http://schemas.microsoft.com/office/drawing/2014/main" id="{35AE687E-1B20-B424-EC7F-91724AFFB09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381057" y="1635410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6" name="Picture Placeholder 64">
            <a:extLst>
              <a:ext uri="{FF2B5EF4-FFF2-40B4-BE49-F238E27FC236}">
                <a16:creationId xmlns:a16="http://schemas.microsoft.com/office/drawing/2014/main" id="{552520DA-16D1-A4E6-B1A5-F30187B4087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304914" y="1635410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8" name="Picture Placeholder 64">
            <a:extLst>
              <a:ext uri="{FF2B5EF4-FFF2-40B4-BE49-F238E27FC236}">
                <a16:creationId xmlns:a16="http://schemas.microsoft.com/office/drawing/2014/main" id="{9875E5D6-E696-22FF-BF76-35516DED42D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28772" y="1635410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12" name="Text Placeholder 58">
            <a:extLst>
              <a:ext uri="{FF2B5EF4-FFF2-40B4-BE49-F238E27FC236}">
                <a16:creationId xmlns:a16="http://schemas.microsoft.com/office/drawing/2014/main" id="{DABBC409-DE0C-F00D-37C5-F2C3387DE0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2501446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82253BAA-6345-076B-6F96-7BB3EC194CF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81057" y="2501446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7" name="Text Placeholder 58">
            <a:extLst>
              <a:ext uri="{FF2B5EF4-FFF2-40B4-BE49-F238E27FC236}">
                <a16:creationId xmlns:a16="http://schemas.microsoft.com/office/drawing/2014/main" id="{08A08875-CBF4-F668-16E6-F36D0E9E4B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04914" y="2501446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0" name="Text Placeholder 58">
            <a:extLst>
              <a:ext uri="{FF2B5EF4-FFF2-40B4-BE49-F238E27FC236}">
                <a16:creationId xmlns:a16="http://schemas.microsoft.com/office/drawing/2014/main" id="{AFDC2FF1-B19F-048A-5B4A-A3C0C1AEF2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8772" y="2501446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0" name="Picture Placeholder 64">
            <a:extLst>
              <a:ext uri="{FF2B5EF4-FFF2-40B4-BE49-F238E27FC236}">
                <a16:creationId xmlns:a16="http://schemas.microsoft.com/office/drawing/2014/main" id="{67466760-6714-44F3-1F41-0DC89010500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57200" y="4095818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51" name="Picture Placeholder 64">
            <a:extLst>
              <a:ext uri="{FF2B5EF4-FFF2-40B4-BE49-F238E27FC236}">
                <a16:creationId xmlns:a16="http://schemas.microsoft.com/office/drawing/2014/main" id="{1852B965-BEC6-5398-FBFE-F1D5FCCD233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381057" y="4095818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52" name="Picture Placeholder 64">
            <a:extLst>
              <a:ext uri="{FF2B5EF4-FFF2-40B4-BE49-F238E27FC236}">
                <a16:creationId xmlns:a16="http://schemas.microsoft.com/office/drawing/2014/main" id="{D2F11B52-B287-0BE0-E679-DD96710B5A4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304914" y="4095818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53" name="Picture Placeholder 64">
            <a:extLst>
              <a:ext uri="{FF2B5EF4-FFF2-40B4-BE49-F238E27FC236}">
                <a16:creationId xmlns:a16="http://schemas.microsoft.com/office/drawing/2014/main" id="{EB4A1602-549F-B13E-C2EC-F40BF518740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28772" y="4095818"/>
            <a:ext cx="670848" cy="67084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GB"/>
              <a:t>Click to </a:t>
            </a:r>
            <a:br>
              <a:rPr lang="en-GB"/>
            </a:br>
            <a:r>
              <a:rPr lang="en-GB"/>
              <a:t>add icon</a:t>
            </a:r>
          </a:p>
        </p:txBody>
      </p:sp>
      <p:sp>
        <p:nvSpPr>
          <p:cNvPr id="54" name="Text Placeholder 58">
            <a:extLst>
              <a:ext uri="{FF2B5EF4-FFF2-40B4-BE49-F238E27FC236}">
                <a16:creationId xmlns:a16="http://schemas.microsoft.com/office/drawing/2014/main" id="{D71D48FC-DA7A-6272-70D1-F3CE7C78A48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7200" y="4961854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5" name="Text Placeholder 58">
            <a:extLst>
              <a:ext uri="{FF2B5EF4-FFF2-40B4-BE49-F238E27FC236}">
                <a16:creationId xmlns:a16="http://schemas.microsoft.com/office/drawing/2014/main" id="{F6DC43AC-C409-260A-02B4-96CB3E7D46C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81057" y="4961854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6" name="Text Placeholder 58">
            <a:extLst>
              <a:ext uri="{FF2B5EF4-FFF2-40B4-BE49-F238E27FC236}">
                <a16:creationId xmlns:a16="http://schemas.microsoft.com/office/drawing/2014/main" id="{BDC62A3E-C446-F594-1F78-3B2845A30E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04914" y="4961854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FEC98DC8-6682-8BF8-4E84-25CBBC42560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28772" y="4961854"/>
            <a:ext cx="1703301" cy="120399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5B0F7B4F-EAAC-E43F-CB30-2BC5FA1D45B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8051800" y="1628775"/>
            <a:ext cx="3683000" cy="453707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496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13937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fore and Af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5CF56BB4-457D-9621-8ED0-4575F437AA6F}"/>
              </a:ext>
            </a:extLst>
          </p:cNvPr>
          <p:cNvSpPr/>
          <p:nvPr userDrawn="1"/>
        </p:nvSpPr>
        <p:spPr>
          <a:xfrm>
            <a:off x="-317500" y="1628775"/>
            <a:ext cx="6553200" cy="4537075"/>
          </a:xfrm>
          <a:prstGeom prst="rightArrow">
            <a:avLst>
              <a:gd name="adj1" fmla="val 100000"/>
              <a:gd name="adj2" fmla="val 19966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45720" rIns="91440" bIns="45720" rtlCol="0" anchor="ctr">
            <a:normAutofit/>
          </a:bodyPr>
          <a:lstStyle/>
          <a:p>
            <a:pPr lvl="0" indent="-228600" algn="ctr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•"/>
            </a:pPr>
            <a:endParaRPr lang="en-GB"/>
          </a:p>
        </p:txBody>
      </p:sp>
      <p:sp>
        <p:nvSpPr>
          <p:cNvPr id="7" name="Text Placeholder 52">
            <a:extLst>
              <a:ext uri="{FF2B5EF4-FFF2-40B4-BE49-F238E27FC236}">
                <a16:creationId xmlns:a16="http://schemas.microsoft.com/office/drawing/2014/main" id="{971361A6-F566-6AC1-14F6-B681CA69993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7713" y="2041526"/>
            <a:ext cx="4694837" cy="612514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9" name="Text Placeholder 58">
            <a:extLst>
              <a:ext uri="{FF2B5EF4-FFF2-40B4-BE49-F238E27FC236}">
                <a16:creationId xmlns:a16="http://schemas.microsoft.com/office/drawing/2014/main" id="{D660C26B-596E-33BC-E21B-EBA502040F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713" y="2744477"/>
            <a:ext cx="4694837" cy="302132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0" name="Text Placeholder 52">
            <a:extLst>
              <a:ext uri="{FF2B5EF4-FFF2-40B4-BE49-F238E27FC236}">
                <a16:creationId xmlns:a16="http://schemas.microsoft.com/office/drawing/2014/main" id="{65EA0664-CCD5-F767-86EA-B7522C0E71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39963" y="2041526"/>
            <a:ext cx="4694837" cy="612514"/>
          </a:xfrm>
        </p:spPr>
        <p:txBody>
          <a:bodyPr>
            <a:normAutofit/>
          </a:bodyPr>
          <a:lstStyle>
            <a:lvl1pPr marL="0" indent="0">
              <a:buNone/>
              <a:def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79C5FD"/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Add Title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tabLst/>
              <a:defRPr/>
            </a:pPr>
            <a:endParaRPr lang="en-GB"/>
          </a:p>
        </p:txBody>
      </p:sp>
      <p:sp>
        <p:nvSpPr>
          <p:cNvPr id="13" name="Text Placeholder 58">
            <a:extLst>
              <a:ext uri="{FF2B5EF4-FFF2-40B4-BE49-F238E27FC236}">
                <a16:creationId xmlns:a16="http://schemas.microsoft.com/office/drawing/2014/main" id="{0671A05F-C3B7-1E64-78C5-C9FCEEA035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39963" y="2744477"/>
            <a:ext cx="4694837" cy="302132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969901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50E471D-2DF5-43F2-6896-DA923E380E05}"/>
              </a:ext>
            </a:extLst>
          </p:cNvPr>
          <p:cNvGrpSpPr/>
          <p:nvPr userDrawn="1"/>
        </p:nvGrpSpPr>
        <p:grpSpPr>
          <a:xfrm>
            <a:off x="1485394" y="1782310"/>
            <a:ext cx="8698698" cy="4056742"/>
            <a:chOff x="279495" y="1716185"/>
            <a:chExt cx="8693171" cy="4076055"/>
          </a:xfrm>
          <a:noFill/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054ECA80-D6FD-84D5-9D59-5F661CB8D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2154" y="2315246"/>
              <a:ext cx="114325" cy="451201"/>
            </a:xfrm>
            <a:custGeom>
              <a:avLst/>
              <a:gdLst>
                <a:gd name="T0" fmla="*/ 0 w 199"/>
                <a:gd name="T1" fmla="*/ 2147483647 h 794"/>
                <a:gd name="T2" fmla="*/ 1927671859 w 199"/>
                <a:gd name="T3" fmla="*/ 2147483647 h 794"/>
                <a:gd name="T4" fmla="*/ 2147483647 w 199"/>
                <a:gd name="T5" fmla="*/ 2147483647 h 794"/>
                <a:gd name="T6" fmla="*/ 2147483647 w 199"/>
                <a:gd name="T7" fmla="*/ 2147483647 h 794"/>
                <a:gd name="T8" fmla="*/ 0 w 199"/>
                <a:gd name="T9" fmla="*/ 2147483647 h 794"/>
                <a:gd name="T10" fmla="*/ 2147483647 w 199"/>
                <a:gd name="T11" fmla="*/ 2147483647 h 794"/>
                <a:gd name="T12" fmla="*/ 2147483647 w 199"/>
                <a:gd name="T13" fmla="*/ 2147483647 h 794"/>
                <a:gd name="T14" fmla="*/ 2147483647 w 199"/>
                <a:gd name="T15" fmla="*/ 2147483647 h 794"/>
                <a:gd name="T16" fmla="*/ 2147483647 w 199"/>
                <a:gd name="T17" fmla="*/ 2147483647 h 794"/>
                <a:gd name="T18" fmla="*/ 2147483647 w 199"/>
                <a:gd name="T19" fmla="*/ 2147483647 h 794"/>
                <a:gd name="T20" fmla="*/ 2147483647 w 199"/>
                <a:gd name="T21" fmla="*/ 2147483647 h 794"/>
                <a:gd name="T22" fmla="*/ 2147483647 w 199"/>
                <a:gd name="T23" fmla="*/ 2147483647 h 794"/>
                <a:gd name="T24" fmla="*/ 2147483647 w 199"/>
                <a:gd name="T25" fmla="*/ 2147483647 h 794"/>
                <a:gd name="T26" fmla="*/ 2147483647 w 199"/>
                <a:gd name="T27" fmla="*/ 2147483647 h 794"/>
                <a:gd name="T28" fmla="*/ 2147483647 w 199"/>
                <a:gd name="T29" fmla="*/ 2147483647 h 794"/>
                <a:gd name="T30" fmla="*/ 2147483647 w 199"/>
                <a:gd name="T31" fmla="*/ 2147483647 h 794"/>
                <a:gd name="T32" fmla="*/ 2147483647 w 199"/>
                <a:gd name="T33" fmla="*/ 2147483647 h 794"/>
                <a:gd name="T34" fmla="*/ 2147483647 w 199"/>
                <a:gd name="T35" fmla="*/ 2147483647 h 794"/>
                <a:gd name="T36" fmla="*/ 2147483647 w 199"/>
                <a:gd name="T37" fmla="*/ 2147483647 h 794"/>
                <a:gd name="T38" fmla="*/ 2147483647 w 199"/>
                <a:gd name="T39" fmla="*/ 2147483647 h 794"/>
                <a:gd name="T40" fmla="*/ 2147483647 w 199"/>
                <a:gd name="T41" fmla="*/ 2147483647 h 794"/>
                <a:gd name="T42" fmla="*/ 2147483647 w 199"/>
                <a:gd name="T43" fmla="*/ 2147483647 h 794"/>
                <a:gd name="T44" fmla="*/ 2147483647 w 199"/>
                <a:gd name="T45" fmla="*/ 2147483647 h 794"/>
                <a:gd name="T46" fmla="*/ 2147483647 w 199"/>
                <a:gd name="T47" fmla="*/ 2147483647 h 794"/>
                <a:gd name="T48" fmla="*/ 2147483647 w 199"/>
                <a:gd name="T49" fmla="*/ 2147483647 h 794"/>
                <a:gd name="T50" fmla="*/ 2147483647 w 199"/>
                <a:gd name="T51" fmla="*/ 2147483647 h 794"/>
                <a:gd name="T52" fmla="*/ 2147483647 w 199"/>
                <a:gd name="T53" fmla="*/ 2147483647 h 794"/>
                <a:gd name="T54" fmla="*/ 2147483647 w 199"/>
                <a:gd name="T55" fmla="*/ 2147483647 h 794"/>
                <a:gd name="T56" fmla="*/ 2147483647 w 199"/>
                <a:gd name="T57" fmla="*/ 2147483647 h 794"/>
                <a:gd name="T58" fmla="*/ 2147483647 w 199"/>
                <a:gd name="T59" fmla="*/ 2147483647 h 794"/>
                <a:gd name="T60" fmla="*/ 2147483647 w 199"/>
                <a:gd name="T61" fmla="*/ 2147483647 h 794"/>
                <a:gd name="T62" fmla="*/ 2147483647 w 199"/>
                <a:gd name="T63" fmla="*/ 2147483647 h 794"/>
                <a:gd name="T64" fmla="*/ 2147483647 w 199"/>
                <a:gd name="T65" fmla="*/ 2147483647 h 794"/>
                <a:gd name="T66" fmla="*/ 2147483647 w 199"/>
                <a:gd name="T67" fmla="*/ 2147483647 h 794"/>
                <a:gd name="T68" fmla="*/ 2147483647 w 199"/>
                <a:gd name="T69" fmla="*/ 2147483647 h 794"/>
                <a:gd name="T70" fmla="*/ 2147483647 w 199"/>
                <a:gd name="T71" fmla="*/ 2147483647 h 794"/>
                <a:gd name="T72" fmla="*/ 2147483647 w 199"/>
                <a:gd name="T73" fmla="*/ 2147483647 h 794"/>
                <a:gd name="T74" fmla="*/ 2147483647 w 199"/>
                <a:gd name="T75" fmla="*/ 2147483647 h 794"/>
                <a:gd name="T76" fmla="*/ 2147483647 w 199"/>
                <a:gd name="T77" fmla="*/ 2147483647 h 794"/>
                <a:gd name="T78" fmla="*/ 2147483647 w 199"/>
                <a:gd name="T79" fmla="*/ 2147483647 h 794"/>
                <a:gd name="T80" fmla="*/ 2147483647 w 199"/>
                <a:gd name="T81" fmla="*/ 2147483647 h 794"/>
                <a:gd name="T82" fmla="*/ 2147483647 w 199"/>
                <a:gd name="T83" fmla="*/ 0 h 794"/>
                <a:gd name="T84" fmla="*/ 2147483647 w 199"/>
                <a:gd name="T85" fmla="*/ 2147483647 h 79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9"/>
                <a:gd name="T130" fmla="*/ 0 h 794"/>
                <a:gd name="T131" fmla="*/ 199 w 199"/>
                <a:gd name="T132" fmla="*/ 794 h 79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9" h="794">
                  <a:moveTo>
                    <a:pt x="0" y="794"/>
                  </a:moveTo>
                  <a:cubicBezTo>
                    <a:pt x="9" y="791"/>
                    <a:pt x="9" y="791"/>
                    <a:pt x="9" y="791"/>
                  </a:cubicBezTo>
                  <a:cubicBezTo>
                    <a:pt x="25" y="764"/>
                    <a:pt x="25" y="764"/>
                    <a:pt x="25" y="764"/>
                  </a:cubicBezTo>
                  <a:cubicBezTo>
                    <a:pt x="12" y="755"/>
                    <a:pt x="12" y="755"/>
                    <a:pt x="12" y="755"/>
                  </a:cubicBezTo>
                  <a:lnTo>
                    <a:pt x="0" y="794"/>
                  </a:lnTo>
                  <a:close/>
                  <a:moveTo>
                    <a:pt x="76" y="712"/>
                  </a:moveTo>
                  <a:cubicBezTo>
                    <a:pt x="49" y="708"/>
                    <a:pt x="49" y="708"/>
                    <a:pt x="49" y="708"/>
                  </a:cubicBezTo>
                  <a:cubicBezTo>
                    <a:pt x="36" y="755"/>
                    <a:pt x="36" y="755"/>
                    <a:pt x="36" y="755"/>
                  </a:cubicBezTo>
                  <a:cubicBezTo>
                    <a:pt x="43" y="757"/>
                    <a:pt x="43" y="757"/>
                    <a:pt x="43" y="757"/>
                  </a:cubicBezTo>
                  <a:cubicBezTo>
                    <a:pt x="55" y="733"/>
                    <a:pt x="55" y="733"/>
                    <a:pt x="55" y="733"/>
                  </a:cubicBezTo>
                  <a:cubicBezTo>
                    <a:pt x="88" y="715"/>
                    <a:pt x="88" y="715"/>
                    <a:pt x="88" y="715"/>
                  </a:cubicBezTo>
                  <a:cubicBezTo>
                    <a:pt x="79" y="699"/>
                    <a:pt x="79" y="699"/>
                    <a:pt x="79" y="699"/>
                  </a:cubicBezTo>
                  <a:lnTo>
                    <a:pt x="76" y="712"/>
                  </a:lnTo>
                  <a:close/>
                  <a:moveTo>
                    <a:pt x="128" y="672"/>
                  </a:moveTo>
                  <a:cubicBezTo>
                    <a:pt x="119" y="670"/>
                    <a:pt x="109" y="694"/>
                    <a:pt x="117" y="697"/>
                  </a:cubicBezTo>
                  <a:cubicBezTo>
                    <a:pt x="128" y="701"/>
                    <a:pt x="138" y="675"/>
                    <a:pt x="128" y="672"/>
                  </a:cubicBezTo>
                  <a:close/>
                  <a:moveTo>
                    <a:pt x="189" y="423"/>
                  </a:moveTo>
                  <a:cubicBezTo>
                    <a:pt x="177" y="434"/>
                    <a:pt x="177" y="434"/>
                    <a:pt x="177" y="434"/>
                  </a:cubicBezTo>
                  <a:cubicBezTo>
                    <a:pt x="185" y="449"/>
                    <a:pt x="185" y="449"/>
                    <a:pt x="185" y="449"/>
                  </a:cubicBezTo>
                  <a:cubicBezTo>
                    <a:pt x="173" y="449"/>
                    <a:pt x="173" y="449"/>
                    <a:pt x="173" y="44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89" y="467"/>
                    <a:pt x="189" y="467"/>
                    <a:pt x="18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89" y="437"/>
                    <a:pt x="189" y="437"/>
                    <a:pt x="189" y="437"/>
                  </a:cubicBezTo>
                  <a:cubicBezTo>
                    <a:pt x="199" y="435"/>
                    <a:pt x="199" y="435"/>
                    <a:pt x="199" y="435"/>
                  </a:cubicBezTo>
                  <a:lnTo>
                    <a:pt x="189" y="423"/>
                  </a:lnTo>
                  <a:close/>
                  <a:moveTo>
                    <a:pt x="184" y="513"/>
                  </a:moveTo>
                  <a:cubicBezTo>
                    <a:pt x="195" y="499"/>
                    <a:pt x="195" y="499"/>
                    <a:pt x="195" y="499"/>
                  </a:cubicBezTo>
                  <a:cubicBezTo>
                    <a:pt x="178" y="485"/>
                    <a:pt x="178" y="485"/>
                    <a:pt x="178" y="485"/>
                  </a:cubicBezTo>
                  <a:lnTo>
                    <a:pt x="184" y="513"/>
                  </a:lnTo>
                  <a:close/>
                  <a:moveTo>
                    <a:pt x="170" y="636"/>
                  </a:moveTo>
                  <a:cubicBezTo>
                    <a:pt x="171" y="615"/>
                    <a:pt x="171" y="615"/>
                    <a:pt x="171" y="615"/>
                  </a:cubicBezTo>
                  <a:cubicBezTo>
                    <a:pt x="162" y="632"/>
                    <a:pt x="162" y="632"/>
                    <a:pt x="162" y="632"/>
                  </a:cubicBezTo>
                  <a:lnTo>
                    <a:pt x="170" y="636"/>
                  </a:lnTo>
                  <a:close/>
                  <a:moveTo>
                    <a:pt x="169" y="573"/>
                  </a:moveTo>
                  <a:cubicBezTo>
                    <a:pt x="181" y="571"/>
                    <a:pt x="181" y="571"/>
                    <a:pt x="181" y="571"/>
                  </a:cubicBezTo>
                  <a:cubicBezTo>
                    <a:pt x="169" y="559"/>
                    <a:pt x="169" y="559"/>
                    <a:pt x="169" y="559"/>
                  </a:cubicBezTo>
                  <a:lnTo>
                    <a:pt x="169" y="573"/>
                  </a:lnTo>
                  <a:close/>
                  <a:moveTo>
                    <a:pt x="82" y="14"/>
                  </a:moveTo>
                  <a:cubicBezTo>
                    <a:pt x="94" y="38"/>
                    <a:pt x="94" y="38"/>
                    <a:pt x="94" y="3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82" y="1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AAE3830A-241F-A5B0-840E-6AFD0C939A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640" y="2799983"/>
              <a:ext cx="10670" cy="12195"/>
            </a:xfrm>
            <a:custGeom>
              <a:avLst/>
              <a:gdLst>
                <a:gd name="T0" fmla="*/ 0 w 22"/>
                <a:gd name="T1" fmla="*/ 1966447588 h 25"/>
                <a:gd name="T2" fmla="*/ 1546263054 w 22"/>
                <a:gd name="T3" fmla="*/ 2147483647 h 25"/>
                <a:gd name="T4" fmla="*/ 1932764545 w 22"/>
                <a:gd name="T5" fmla="*/ 1179868756 h 25"/>
                <a:gd name="T6" fmla="*/ 0 w 22"/>
                <a:gd name="T7" fmla="*/ 1966447588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5"/>
                <a:gd name="T14" fmla="*/ 22 w 22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5">
                  <a:moveTo>
                    <a:pt x="0" y="15"/>
                  </a:moveTo>
                  <a:cubicBezTo>
                    <a:pt x="0" y="15"/>
                    <a:pt x="2" y="25"/>
                    <a:pt x="12" y="22"/>
                  </a:cubicBezTo>
                  <a:cubicBezTo>
                    <a:pt x="22" y="19"/>
                    <a:pt x="18" y="18"/>
                    <a:pt x="15" y="9"/>
                  </a:cubicBezTo>
                  <a:cubicBezTo>
                    <a:pt x="12" y="0"/>
                    <a:pt x="0" y="4"/>
                    <a:pt x="0" y="1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22570039-3B95-A8D9-5629-ADF4574F4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1487" y="1751245"/>
              <a:ext cx="3438884" cy="1094467"/>
            </a:xfrm>
            <a:custGeom>
              <a:avLst/>
              <a:gdLst>
                <a:gd name="T0" fmla="*/ 84 w 6045"/>
                <a:gd name="T1" fmla="*/ 16 h 1923"/>
                <a:gd name="T2" fmla="*/ 59 w 6045"/>
                <a:gd name="T3" fmla="*/ 2 h 1923"/>
                <a:gd name="T4" fmla="*/ 58 w 6045"/>
                <a:gd name="T5" fmla="*/ 18 h 1923"/>
                <a:gd name="T6" fmla="*/ 59 w 6045"/>
                <a:gd name="T7" fmla="*/ 12 h 1923"/>
                <a:gd name="T8" fmla="*/ 54 w 6045"/>
                <a:gd name="T9" fmla="*/ 18 h 1923"/>
                <a:gd name="T10" fmla="*/ 209 w 6045"/>
                <a:gd name="T11" fmla="*/ 13 h 1923"/>
                <a:gd name="T12" fmla="*/ 124 w 6045"/>
                <a:gd name="T13" fmla="*/ 5 h 1923"/>
                <a:gd name="T14" fmla="*/ 188 w 6045"/>
                <a:gd name="T15" fmla="*/ 12 h 1923"/>
                <a:gd name="T16" fmla="*/ 6 w 6045"/>
                <a:gd name="T17" fmla="*/ 64 h 1923"/>
                <a:gd name="T18" fmla="*/ 39 w 6045"/>
                <a:gd name="T19" fmla="*/ 2 h 1923"/>
                <a:gd name="T20" fmla="*/ 262 w 6045"/>
                <a:gd name="T21" fmla="*/ 71 h 1923"/>
                <a:gd name="T22" fmla="*/ 270 w 6045"/>
                <a:gd name="T23" fmla="*/ 85 h 1923"/>
                <a:gd name="T24" fmla="*/ 309 w 6045"/>
                <a:gd name="T25" fmla="*/ 33 h 1923"/>
                <a:gd name="T26" fmla="*/ 263 w 6045"/>
                <a:gd name="T27" fmla="*/ 27 h 1923"/>
                <a:gd name="T28" fmla="*/ 225 w 6045"/>
                <a:gd name="T29" fmla="*/ 21 h 1923"/>
                <a:gd name="T30" fmla="*/ 205 w 6045"/>
                <a:gd name="T31" fmla="*/ 19 h 1923"/>
                <a:gd name="T32" fmla="*/ 186 w 6045"/>
                <a:gd name="T33" fmla="*/ 20 h 1923"/>
                <a:gd name="T34" fmla="*/ 169 w 6045"/>
                <a:gd name="T35" fmla="*/ 18 h 1923"/>
                <a:gd name="T36" fmla="*/ 152 w 6045"/>
                <a:gd name="T37" fmla="*/ 16 h 1923"/>
                <a:gd name="T38" fmla="*/ 151 w 6045"/>
                <a:gd name="T39" fmla="*/ 13 h 1923"/>
                <a:gd name="T40" fmla="*/ 126 w 6045"/>
                <a:gd name="T41" fmla="*/ 11 h 1923"/>
                <a:gd name="T42" fmla="*/ 106 w 6045"/>
                <a:gd name="T43" fmla="*/ 21 h 1923"/>
                <a:gd name="T44" fmla="*/ 90 w 6045"/>
                <a:gd name="T45" fmla="*/ 20 h 1923"/>
                <a:gd name="T46" fmla="*/ 96 w 6045"/>
                <a:gd name="T47" fmla="*/ 28 h 1923"/>
                <a:gd name="T48" fmla="*/ 87 w 6045"/>
                <a:gd name="T49" fmla="*/ 22 h 1923"/>
                <a:gd name="T50" fmla="*/ 78 w 6045"/>
                <a:gd name="T51" fmla="*/ 27 h 1923"/>
                <a:gd name="T52" fmla="*/ 55 w 6045"/>
                <a:gd name="T53" fmla="*/ 28 h 1923"/>
                <a:gd name="T54" fmla="*/ 41 w 6045"/>
                <a:gd name="T55" fmla="*/ 34 h 1923"/>
                <a:gd name="T56" fmla="*/ 26 w 6045"/>
                <a:gd name="T57" fmla="*/ 35 h 1923"/>
                <a:gd name="T58" fmla="*/ 19 w 6045"/>
                <a:gd name="T59" fmla="*/ 25 h 1923"/>
                <a:gd name="T60" fmla="*/ 17 w 6045"/>
                <a:gd name="T61" fmla="*/ 37 h 1923"/>
                <a:gd name="T62" fmla="*/ 16 w 6045"/>
                <a:gd name="T63" fmla="*/ 51 h 1923"/>
                <a:gd name="T64" fmla="*/ 20 w 6045"/>
                <a:gd name="T65" fmla="*/ 60 h 1923"/>
                <a:gd name="T66" fmla="*/ 28 w 6045"/>
                <a:gd name="T67" fmla="*/ 70 h 1923"/>
                <a:gd name="T68" fmla="*/ 43 w 6045"/>
                <a:gd name="T69" fmla="*/ 77 h 1923"/>
                <a:gd name="T70" fmla="*/ 39 w 6045"/>
                <a:gd name="T71" fmla="*/ 88 h 1923"/>
                <a:gd name="T72" fmla="*/ 63 w 6045"/>
                <a:gd name="T73" fmla="*/ 99 h 1923"/>
                <a:gd name="T74" fmla="*/ 64 w 6045"/>
                <a:gd name="T75" fmla="*/ 85 h 1923"/>
                <a:gd name="T76" fmla="*/ 74 w 6045"/>
                <a:gd name="T77" fmla="*/ 73 h 1923"/>
                <a:gd name="T78" fmla="*/ 92 w 6045"/>
                <a:gd name="T79" fmla="*/ 65 h 1923"/>
                <a:gd name="T80" fmla="*/ 115 w 6045"/>
                <a:gd name="T81" fmla="*/ 65 h 1923"/>
                <a:gd name="T82" fmla="*/ 148 w 6045"/>
                <a:gd name="T83" fmla="*/ 78 h 1923"/>
                <a:gd name="T84" fmla="*/ 164 w 6045"/>
                <a:gd name="T85" fmla="*/ 76 h 1923"/>
                <a:gd name="T86" fmla="*/ 178 w 6045"/>
                <a:gd name="T87" fmla="*/ 75 h 1923"/>
                <a:gd name="T88" fmla="*/ 204 w 6045"/>
                <a:gd name="T89" fmla="*/ 75 h 1923"/>
                <a:gd name="T90" fmla="*/ 217 w 6045"/>
                <a:gd name="T91" fmla="*/ 66 h 1923"/>
                <a:gd name="T92" fmla="*/ 241 w 6045"/>
                <a:gd name="T93" fmla="*/ 80 h 1923"/>
                <a:gd name="T94" fmla="*/ 252 w 6045"/>
                <a:gd name="T95" fmla="*/ 87 h 1923"/>
                <a:gd name="T96" fmla="*/ 259 w 6045"/>
                <a:gd name="T97" fmla="*/ 91 h 1923"/>
                <a:gd name="T98" fmla="*/ 255 w 6045"/>
                <a:gd name="T99" fmla="*/ 68 h 1923"/>
                <a:gd name="T100" fmla="*/ 238 w 6045"/>
                <a:gd name="T101" fmla="*/ 63 h 1923"/>
                <a:gd name="T102" fmla="*/ 254 w 6045"/>
                <a:gd name="T103" fmla="*/ 51 h 1923"/>
                <a:gd name="T104" fmla="*/ 266 w 6045"/>
                <a:gd name="T105" fmla="*/ 46 h 1923"/>
                <a:gd name="T106" fmla="*/ 280 w 6045"/>
                <a:gd name="T107" fmla="*/ 47 h 1923"/>
                <a:gd name="T108" fmla="*/ 293 w 6045"/>
                <a:gd name="T109" fmla="*/ 72 h 1923"/>
                <a:gd name="T110" fmla="*/ 284 w 6045"/>
                <a:gd name="T111" fmla="*/ 52 h 1923"/>
                <a:gd name="T112" fmla="*/ 301 w 6045"/>
                <a:gd name="T113" fmla="*/ 43 h 1923"/>
                <a:gd name="T114" fmla="*/ 297 w 6045"/>
                <a:gd name="T115" fmla="*/ 34 h 1923"/>
                <a:gd name="T116" fmla="*/ 182 w 6045"/>
                <a:gd name="T117" fmla="*/ 71 h 1923"/>
                <a:gd name="T118" fmla="*/ 186 w 6045"/>
                <a:gd name="T119" fmla="*/ 65 h 1923"/>
                <a:gd name="T120" fmla="*/ 49 w 6045"/>
                <a:gd name="T121" fmla="*/ 28 h 1923"/>
                <a:gd name="T122" fmla="*/ 48 w 6045"/>
                <a:gd name="T123" fmla="*/ 1 h 192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45"/>
                <a:gd name="T187" fmla="*/ 0 h 1923"/>
                <a:gd name="T188" fmla="*/ 6045 w 6045"/>
                <a:gd name="T189" fmla="*/ 1923 h 192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45" h="1923">
                  <a:moveTo>
                    <a:pt x="1866" y="364"/>
                  </a:moveTo>
                  <a:cubicBezTo>
                    <a:pt x="1845" y="359"/>
                    <a:pt x="1845" y="359"/>
                    <a:pt x="1845" y="359"/>
                  </a:cubicBezTo>
                  <a:cubicBezTo>
                    <a:pt x="1828" y="373"/>
                    <a:pt x="1828" y="373"/>
                    <a:pt x="1828" y="373"/>
                  </a:cubicBezTo>
                  <a:cubicBezTo>
                    <a:pt x="1854" y="380"/>
                    <a:pt x="1854" y="380"/>
                    <a:pt x="1854" y="380"/>
                  </a:cubicBezTo>
                  <a:lnTo>
                    <a:pt x="1866" y="364"/>
                  </a:lnTo>
                  <a:close/>
                  <a:moveTo>
                    <a:pt x="1894" y="346"/>
                  </a:moveTo>
                  <a:cubicBezTo>
                    <a:pt x="1869" y="329"/>
                    <a:pt x="1876" y="352"/>
                    <a:pt x="1876" y="352"/>
                  </a:cubicBezTo>
                  <a:cubicBezTo>
                    <a:pt x="1901" y="362"/>
                    <a:pt x="1919" y="363"/>
                    <a:pt x="1894" y="346"/>
                  </a:cubicBezTo>
                  <a:close/>
                  <a:moveTo>
                    <a:pt x="1138" y="13"/>
                  </a:moveTo>
                  <a:cubicBezTo>
                    <a:pt x="1148" y="11"/>
                    <a:pt x="1162" y="1"/>
                    <a:pt x="1155" y="1"/>
                  </a:cubicBezTo>
                  <a:cubicBezTo>
                    <a:pt x="1148" y="1"/>
                    <a:pt x="1100" y="1"/>
                    <a:pt x="1100" y="1"/>
                  </a:cubicBezTo>
                  <a:cubicBezTo>
                    <a:pt x="1097" y="10"/>
                    <a:pt x="1097" y="10"/>
                    <a:pt x="1097" y="10"/>
                  </a:cubicBezTo>
                  <a:cubicBezTo>
                    <a:pt x="1124" y="7"/>
                    <a:pt x="1124" y="7"/>
                    <a:pt x="1124" y="7"/>
                  </a:cubicBezTo>
                  <a:cubicBezTo>
                    <a:pt x="1124" y="7"/>
                    <a:pt x="1128" y="14"/>
                    <a:pt x="1138" y="13"/>
                  </a:cubicBezTo>
                  <a:close/>
                  <a:moveTo>
                    <a:pt x="1163" y="39"/>
                  </a:moveTo>
                  <a:cubicBezTo>
                    <a:pt x="1168" y="39"/>
                    <a:pt x="1176" y="34"/>
                    <a:pt x="1176" y="34"/>
                  </a:cubicBezTo>
                  <a:cubicBezTo>
                    <a:pt x="1176" y="34"/>
                    <a:pt x="1203" y="42"/>
                    <a:pt x="1210" y="35"/>
                  </a:cubicBezTo>
                  <a:cubicBezTo>
                    <a:pt x="1217" y="28"/>
                    <a:pt x="1211" y="17"/>
                    <a:pt x="1189" y="17"/>
                  </a:cubicBezTo>
                  <a:cubicBezTo>
                    <a:pt x="1166" y="17"/>
                    <a:pt x="1145" y="34"/>
                    <a:pt x="1145" y="34"/>
                  </a:cubicBezTo>
                  <a:cubicBezTo>
                    <a:pt x="1149" y="39"/>
                    <a:pt x="1159" y="39"/>
                    <a:pt x="1163" y="39"/>
                  </a:cubicBezTo>
                  <a:close/>
                  <a:moveTo>
                    <a:pt x="1590" y="341"/>
                  </a:moveTo>
                  <a:cubicBezTo>
                    <a:pt x="1623" y="333"/>
                    <a:pt x="1612" y="323"/>
                    <a:pt x="1604" y="319"/>
                  </a:cubicBezTo>
                  <a:cubicBezTo>
                    <a:pt x="1596" y="315"/>
                    <a:pt x="1566" y="319"/>
                    <a:pt x="1566" y="319"/>
                  </a:cubicBezTo>
                  <a:cubicBezTo>
                    <a:pt x="1566" y="319"/>
                    <a:pt x="1572" y="345"/>
                    <a:pt x="1590" y="341"/>
                  </a:cubicBezTo>
                  <a:close/>
                  <a:moveTo>
                    <a:pt x="1062" y="20"/>
                  </a:moveTo>
                  <a:cubicBezTo>
                    <a:pt x="1034" y="17"/>
                    <a:pt x="1034" y="17"/>
                    <a:pt x="1034" y="17"/>
                  </a:cubicBezTo>
                  <a:cubicBezTo>
                    <a:pt x="1041" y="25"/>
                    <a:pt x="1041" y="25"/>
                    <a:pt x="1041" y="25"/>
                  </a:cubicBezTo>
                  <a:lnTo>
                    <a:pt x="1062" y="20"/>
                  </a:lnTo>
                  <a:close/>
                  <a:moveTo>
                    <a:pt x="1264" y="465"/>
                  </a:moveTo>
                  <a:cubicBezTo>
                    <a:pt x="1259" y="473"/>
                    <a:pt x="1324" y="507"/>
                    <a:pt x="1330" y="491"/>
                  </a:cubicBezTo>
                  <a:cubicBezTo>
                    <a:pt x="1336" y="475"/>
                    <a:pt x="1270" y="455"/>
                    <a:pt x="1264" y="465"/>
                  </a:cubicBezTo>
                  <a:close/>
                  <a:moveTo>
                    <a:pt x="2074" y="83"/>
                  </a:moveTo>
                  <a:cubicBezTo>
                    <a:pt x="2084" y="73"/>
                    <a:pt x="2084" y="73"/>
                    <a:pt x="2084" y="73"/>
                  </a:cubicBezTo>
                  <a:cubicBezTo>
                    <a:pt x="2024" y="73"/>
                    <a:pt x="2024" y="73"/>
                    <a:pt x="2024" y="73"/>
                  </a:cubicBezTo>
                  <a:lnTo>
                    <a:pt x="2074" y="83"/>
                  </a:lnTo>
                  <a:close/>
                  <a:moveTo>
                    <a:pt x="1044" y="68"/>
                  </a:moveTo>
                  <a:cubicBezTo>
                    <a:pt x="1090" y="66"/>
                    <a:pt x="1090" y="66"/>
                    <a:pt x="1090" y="66"/>
                  </a:cubicBezTo>
                  <a:cubicBezTo>
                    <a:pt x="1075" y="56"/>
                    <a:pt x="1075" y="56"/>
                    <a:pt x="1075" y="56"/>
                  </a:cubicBezTo>
                  <a:lnTo>
                    <a:pt x="1044" y="68"/>
                  </a:lnTo>
                  <a:close/>
                  <a:moveTo>
                    <a:pt x="1051" y="39"/>
                  </a:moveTo>
                  <a:cubicBezTo>
                    <a:pt x="1064" y="48"/>
                    <a:pt x="1066" y="52"/>
                    <a:pt x="1066" y="52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76" y="49"/>
                    <a:pt x="1090" y="49"/>
                  </a:cubicBezTo>
                  <a:cubicBezTo>
                    <a:pt x="1104" y="49"/>
                    <a:pt x="1125" y="38"/>
                    <a:pt x="1125" y="38"/>
                  </a:cubicBezTo>
                  <a:cubicBezTo>
                    <a:pt x="1089" y="32"/>
                    <a:pt x="1089" y="32"/>
                    <a:pt x="1089" y="32"/>
                  </a:cubicBezTo>
                  <a:cubicBezTo>
                    <a:pt x="1079" y="38"/>
                    <a:pt x="1079" y="38"/>
                    <a:pt x="1079" y="38"/>
                  </a:cubicBezTo>
                  <a:cubicBezTo>
                    <a:pt x="1079" y="38"/>
                    <a:pt x="1065" y="32"/>
                    <a:pt x="1061" y="34"/>
                  </a:cubicBezTo>
                  <a:cubicBezTo>
                    <a:pt x="1057" y="35"/>
                    <a:pt x="1051" y="39"/>
                    <a:pt x="1051" y="39"/>
                  </a:cubicBezTo>
                  <a:close/>
                  <a:moveTo>
                    <a:pt x="1113" y="23"/>
                  </a:moveTo>
                  <a:cubicBezTo>
                    <a:pt x="1071" y="23"/>
                    <a:pt x="1071" y="23"/>
                    <a:pt x="1071" y="23"/>
                  </a:cubicBezTo>
                  <a:cubicBezTo>
                    <a:pt x="1106" y="31"/>
                    <a:pt x="1106" y="31"/>
                    <a:pt x="1106" y="31"/>
                  </a:cubicBezTo>
                  <a:lnTo>
                    <a:pt x="1113" y="23"/>
                  </a:lnTo>
                  <a:close/>
                  <a:moveTo>
                    <a:pt x="1032" y="349"/>
                  </a:moveTo>
                  <a:cubicBezTo>
                    <a:pt x="1002" y="354"/>
                    <a:pt x="1002" y="354"/>
                    <a:pt x="1002" y="354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30" y="357"/>
                    <a:pt x="1030" y="357"/>
                    <a:pt x="1030" y="357"/>
                  </a:cubicBezTo>
                  <a:cubicBezTo>
                    <a:pt x="1020" y="373"/>
                    <a:pt x="1020" y="373"/>
                    <a:pt x="1020" y="373"/>
                  </a:cubicBezTo>
                  <a:cubicBezTo>
                    <a:pt x="1020" y="373"/>
                    <a:pt x="992" y="379"/>
                    <a:pt x="994" y="390"/>
                  </a:cubicBezTo>
                  <a:cubicBezTo>
                    <a:pt x="996" y="401"/>
                    <a:pt x="1023" y="405"/>
                    <a:pt x="1035" y="405"/>
                  </a:cubicBezTo>
                  <a:cubicBezTo>
                    <a:pt x="1048" y="405"/>
                    <a:pt x="1065" y="408"/>
                    <a:pt x="1076" y="414"/>
                  </a:cubicBezTo>
                  <a:cubicBezTo>
                    <a:pt x="1086" y="420"/>
                    <a:pt x="1085" y="437"/>
                    <a:pt x="1088" y="438"/>
                  </a:cubicBezTo>
                  <a:cubicBezTo>
                    <a:pt x="1091" y="440"/>
                    <a:pt x="1140" y="447"/>
                    <a:pt x="1140" y="447"/>
                  </a:cubicBezTo>
                  <a:cubicBezTo>
                    <a:pt x="1214" y="443"/>
                    <a:pt x="1214" y="443"/>
                    <a:pt x="1214" y="443"/>
                  </a:cubicBezTo>
                  <a:cubicBezTo>
                    <a:pt x="1214" y="443"/>
                    <a:pt x="1154" y="437"/>
                    <a:pt x="1138" y="411"/>
                  </a:cubicBezTo>
                  <a:cubicBezTo>
                    <a:pt x="1122" y="385"/>
                    <a:pt x="1106" y="385"/>
                    <a:pt x="1122" y="361"/>
                  </a:cubicBezTo>
                  <a:cubicBezTo>
                    <a:pt x="1138" y="337"/>
                    <a:pt x="1119" y="335"/>
                    <a:pt x="1119" y="335"/>
                  </a:cubicBezTo>
                  <a:cubicBezTo>
                    <a:pt x="1146" y="331"/>
                    <a:pt x="1146" y="331"/>
                    <a:pt x="1146" y="331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1158" y="322"/>
                    <a:pt x="1158" y="322"/>
                    <a:pt x="1158" y="322"/>
                  </a:cubicBezTo>
                  <a:cubicBezTo>
                    <a:pt x="1145" y="314"/>
                    <a:pt x="1145" y="314"/>
                    <a:pt x="1145" y="314"/>
                  </a:cubicBezTo>
                  <a:cubicBezTo>
                    <a:pt x="1161" y="316"/>
                    <a:pt x="1161" y="316"/>
                    <a:pt x="1161" y="316"/>
                  </a:cubicBezTo>
                  <a:cubicBezTo>
                    <a:pt x="1165" y="306"/>
                    <a:pt x="1165" y="306"/>
                    <a:pt x="1165" y="306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78" y="303"/>
                    <a:pt x="1182" y="299"/>
                  </a:cubicBezTo>
                  <a:cubicBezTo>
                    <a:pt x="1186" y="295"/>
                    <a:pt x="1171" y="285"/>
                    <a:pt x="1171" y="285"/>
                  </a:cubicBezTo>
                  <a:cubicBezTo>
                    <a:pt x="1193" y="287"/>
                    <a:pt x="1193" y="287"/>
                    <a:pt x="1193" y="287"/>
                  </a:cubicBezTo>
                  <a:cubicBezTo>
                    <a:pt x="1191" y="268"/>
                    <a:pt x="1191" y="268"/>
                    <a:pt x="1191" y="268"/>
                  </a:cubicBezTo>
                  <a:cubicBezTo>
                    <a:pt x="1191" y="268"/>
                    <a:pt x="1205" y="279"/>
                    <a:pt x="1223" y="271"/>
                  </a:cubicBezTo>
                  <a:cubicBezTo>
                    <a:pt x="1242" y="264"/>
                    <a:pt x="1254" y="250"/>
                    <a:pt x="1254" y="250"/>
                  </a:cubicBezTo>
                  <a:cubicBezTo>
                    <a:pt x="1254" y="250"/>
                    <a:pt x="1399" y="229"/>
                    <a:pt x="1420" y="220"/>
                  </a:cubicBezTo>
                  <a:cubicBezTo>
                    <a:pt x="1442" y="210"/>
                    <a:pt x="1463" y="195"/>
                    <a:pt x="1430" y="184"/>
                  </a:cubicBezTo>
                  <a:cubicBezTo>
                    <a:pt x="1397" y="172"/>
                    <a:pt x="1363" y="188"/>
                    <a:pt x="1348" y="194"/>
                  </a:cubicBezTo>
                  <a:cubicBezTo>
                    <a:pt x="1334" y="200"/>
                    <a:pt x="1290" y="215"/>
                    <a:pt x="1270" y="212"/>
                  </a:cubicBezTo>
                  <a:cubicBezTo>
                    <a:pt x="1249" y="210"/>
                    <a:pt x="1218" y="206"/>
                    <a:pt x="1218" y="206"/>
                  </a:cubicBezTo>
                  <a:cubicBezTo>
                    <a:pt x="1207" y="223"/>
                    <a:pt x="1207" y="223"/>
                    <a:pt x="1207" y="223"/>
                  </a:cubicBezTo>
                  <a:cubicBezTo>
                    <a:pt x="1190" y="214"/>
                    <a:pt x="1190" y="214"/>
                    <a:pt x="1190" y="214"/>
                  </a:cubicBezTo>
                  <a:cubicBezTo>
                    <a:pt x="1155" y="228"/>
                    <a:pt x="1155" y="228"/>
                    <a:pt x="1155" y="228"/>
                  </a:cubicBezTo>
                  <a:cubicBezTo>
                    <a:pt x="1136" y="227"/>
                    <a:pt x="1136" y="227"/>
                    <a:pt x="1136" y="227"/>
                  </a:cubicBezTo>
                  <a:cubicBezTo>
                    <a:pt x="1117" y="242"/>
                    <a:pt x="1117" y="242"/>
                    <a:pt x="1117" y="242"/>
                  </a:cubicBezTo>
                  <a:cubicBezTo>
                    <a:pt x="1131" y="247"/>
                    <a:pt x="1131" y="247"/>
                    <a:pt x="1131" y="247"/>
                  </a:cubicBezTo>
                  <a:cubicBezTo>
                    <a:pt x="1098" y="248"/>
                    <a:pt x="1098" y="248"/>
                    <a:pt x="1098" y="248"/>
                  </a:cubicBezTo>
                  <a:cubicBezTo>
                    <a:pt x="1079" y="254"/>
                    <a:pt x="1079" y="254"/>
                    <a:pt x="1079" y="254"/>
                  </a:cubicBezTo>
                  <a:cubicBezTo>
                    <a:pt x="1080" y="263"/>
                    <a:pt x="1080" y="263"/>
                    <a:pt x="1080" y="263"/>
                  </a:cubicBezTo>
                  <a:cubicBezTo>
                    <a:pt x="1097" y="254"/>
                    <a:pt x="1097" y="254"/>
                    <a:pt x="1097" y="254"/>
                  </a:cubicBezTo>
                  <a:cubicBezTo>
                    <a:pt x="1098" y="263"/>
                    <a:pt x="1098" y="263"/>
                    <a:pt x="1098" y="263"/>
                  </a:cubicBezTo>
                  <a:cubicBezTo>
                    <a:pt x="1117" y="265"/>
                    <a:pt x="1117" y="265"/>
                    <a:pt x="1117" y="265"/>
                  </a:cubicBezTo>
                  <a:cubicBezTo>
                    <a:pt x="1111" y="273"/>
                    <a:pt x="1111" y="273"/>
                    <a:pt x="1111" y="273"/>
                  </a:cubicBezTo>
                  <a:cubicBezTo>
                    <a:pt x="1085" y="273"/>
                    <a:pt x="1085" y="273"/>
                    <a:pt x="1085" y="273"/>
                  </a:cubicBezTo>
                  <a:cubicBezTo>
                    <a:pt x="1081" y="282"/>
                    <a:pt x="1081" y="282"/>
                    <a:pt x="1081" y="282"/>
                  </a:cubicBezTo>
                  <a:cubicBezTo>
                    <a:pt x="1099" y="285"/>
                    <a:pt x="1099" y="285"/>
                    <a:pt x="1099" y="285"/>
                  </a:cubicBezTo>
                  <a:cubicBezTo>
                    <a:pt x="1068" y="287"/>
                    <a:pt x="1068" y="287"/>
                    <a:pt x="1068" y="287"/>
                  </a:cubicBezTo>
                  <a:cubicBezTo>
                    <a:pt x="1090" y="293"/>
                    <a:pt x="1090" y="293"/>
                    <a:pt x="1090" y="293"/>
                  </a:cubicBezTo>
                  <a:cubicBezTo>
                    <a:pt x="1061" y="295"/>
                    <a:pt x="1061" y="295"/>
                    <a:pt x="1061" y="295"/>
                  </a:cubicBezTo>
                  <a:cubicBezTo>
                    <a:pt x="1059" y="309"/>
                    <a:pt x="1059" y="309"/>
                    <a:pt x="1059" y="309"/>
                  </a:cubicBezTo>
                  <a:cubicBezTo>
                    <a:pt x="1039" y="316"/>
                    <a:pt x="1039" y="316"/>
                    <a:pt x="1039" y="316"/>
                  </a:cubicBezTo>
                  <a:cubicBezTo>
                    <a:pt x="1046" y="326"/>
                    <a:pt x="1046" y="326"/>
                    <a:pt x="1046" y="326"/>
                  </a:cubicBezTo>
                  <a:cubicBezTo>
                    <a:pt x="1073" y="314"/>
                    <a:pt x="1073" y="314"/>
                    <a:pt x="1073" y="314"/>
                  </a:cubicBezTo>
                  <a:cubicBezTo>
                    <a:pt x="1062" y="332"/>
                    <a:pt x="1062" y="332"/>
                    <a:pt x="1062" y="332"/>
                  </a:cubicBezTo>
                  <a:cubicBezTo>
                    <a:pt x="1062" y="332"/>
                    <a:pt x="1041" y="327"/>
                    <a:pt x="1033" y="334"/>
                  </a:cubicBezTo>
                  <a:cubicBezTo>
                    <a:pt x="1026" y="341"/>
                    <a:pt x="1032" y="349"/>
                    <a:pt x="1032" y="349"/>
                  </a:cubicBezTo>
                  <a:close/>
                  <a:moveTo>
                    <a:pt x="3856" y="331"/>
                  </a:moveTo>
                  <a:cubicBezTo>
                    <a:pt x="3904" y="325"/>
                    <a:pt x="3904" y="325"/>
                    <a:pt x="3904" y="325"/>
                  </a:cubicBezTo>
                  <a:cubicBezTo>
                    <a:pt x="3976" y="335"/>
                    <a:pt x="3976" y="335"/>
                    <a:pt x="3976" y="335"/>
                  </a:cubicBezTo>
                  <a:cubicBezTo>
                    <a:pt x="3976" y="335"/>
                    <a:pt x="3954" y="311"/>
                    <a:pt x="3938" y="307"/>
                  </a:cubicBezTo>
                  <a:cubicBezTo>
                    <a:pt x="3922" y="303"/>
                    <a:pt x="3866" y="311"/>
                    <a:pt x="3866" y="311"/>
                  </a:cubicBezTo>
                  <a:lnTo>
                    <a:pt x="3856" y="331"/>
                  </a:lnTo>
                  <a:close/>
                  <a:moveTo>
                    <a:pt x="3858" y="253"/>
                  </a:moveTo>
                  <a:cubicBezTo>
                    <a:pt x="3896" y="257"/>
                    <a:pt x="3896" y="257"/>
                    <a:pt x="3896" y="257"/>
                  </a:cubicBezTo>
                  <a:cubicBezTo>
                    <a:pt x="3906" y="247"/>
                    <a:pt x="3904" y="235"/>
                    <a:pt x="3886" y="235"/>
                  </a:cubicBezTo>
                  <a:cubicBezTo>
                    <a:pt x="3868" y="235"/>
                    <a:pt x="3808" y="221"/>
                    <a:pt x="3816" y="233"/>
                  </a:cubicBezTo>
                  <a:cubicBezTo>
                    <a:pt x="3824" y="245"/>
                    <a:pt x="3858" y="253"/>
                    <a:pt x="3858" y="253"/>
                  </a:cubicBezTo>
                  <a:close/>
                  <a:moveTo>
                    <a:pt x="3818" y="289"/>
                  </a:moveTo>
                  <a:cubicBezTo>
                    <a:pt x="3792" y="315"/>
                    <a:pt x="3848" y="313"/>
                    <a:pt x="3856" y="303"/>
                  </a:cubicBezTo>
                  <a:cubicBezTo>
                    <a:pt x="3864" y="293"/>
                    <a:pt x="3825" y="282"/>
                    <a:pt x="3818" y="289"/>
                  </a:cubicBezTo>
                  <a:close/>
                  <a:moveTo>
                    <a:pt x="2050" y="65"/>
                  </a:moveTo>
                  <a:cubicBezTo>
                    <a:pt x="2050" y="65"/>
                    <a:pt x="2106" y="69"/>
                    <a:pt x="2118" y="65"/>
                  </a:cubicBezTo>
                  <a:cubicBezTo>
                    <a:pt x="2130" y="61"/>
                    <a:pt x="2172" y="65"/>
                    <a:pt x="2164" y="49"/>
                  </a:cubicBezTo>
                  <a:cubicBezTo>
                    <a:pt x="2156" y="33"/>
                    <a:pt x="2082" y="11"/>
                    <a:pt x="2082" y="11"/>
                  </a:cubicBezTo>
                  <a:cubicBezTo>
                    <a:pt x="2082" y="11"/>
                    <a:pt x="2026" y="1"/>
                    <a:pt x="2024" y="21"/>
                  </a:cubicBezTo>
                  <a:cubicBezTo>
                    <a:pt x="2022" y="41"/>
                    <a:pt x="2050" y="65"/>
                    <a:pt x="2050" y="65"/>
                  </a:cubicBezTo>
                  <a:close/>
                  <a:moveTo>
                    <a:pt x="4094" y="273"/>
                  </a:moveTo>
                  <a:cubicBezTo>
                    <a:pt x="4122" y="259"/>
                    <a:pt x="4026" y="259"/>
                    <a:pt x="4026" y="259"/>
                  </a:cubicBezTo>
                  <a:cubicBezTo>
                    <a:pt x="4026" y="259"/>
                    <a:pt x="4006" y="241"/>
                    <a:pt x="3998" y="241"/>
                  </a:cubicBezTo>
                  <a:cubicBezTo>
                    <a:pt x="3990" y="241"/>
                    <a:pt x="3966" y="245"/>
                    <a:pt x="3966" y="245"/>
                  </a:cubicBezTo>
                  <a:cubicBezTo>
                    <a:pt x="3942" y="243"/>
                    <a:pt x="3942" y="243"/>
                    <a:pt x="3942" y="243"/>
                  </a:cubicBezTo>
                  <a:cubicBezTo>
                    <a:pt x="3966" y="259"/>
                    <a:pt x="3966" y="259"/>
                    <a:pt x="3966" y="259"/>
                  </a:cubicBezTo>
                  <a:cubicBezTo>
                    <a:pt x="3966" y="259"/>
                    <a:pt x="4066" y="287"/>
                    <a:pt x="4094" y="273"/>
                  </a:cubicBezTo>
                  <a:close/>
                  <a:moveTo>
                    <a:pt x="5070" y="495"/>
                  </a:moveTo>
                  <a:cubicBezTo>
                    <a:pt x="5078" y="485"/>
                    <a:pt x="5004" y="475"/>
                    <a:pt x="5004" y="475"/>
                  </a:cubicBezTo>
                  <a:cubicBezTo>
                    <a:pt x="5004" y="483"/>
                    <a:pt x="5062" y="505"/>
                    <a:pt x="5070" y="495"/>
                  </a:cubicBezTo>
                  <a:close/>
                  <a:moveTo>
                    <a:pt x="2112" y="81"/>
                  </a:moveTo>
                  <a:cubicBezTo>
                    <a:pt x="2112" y="89"/>
                    <a:pt x="2178" y="95"/>
                    <a:pt x="2178" y="95"/>
                  </a:cubicBezTo>
                  <a:cubicBezTo>
                    <a:pt x="2212" y="91"/>
                    <a:pt x="2212" y="91"/>
                    <a:pt x="2212" y="91"/>
                  </a:cubicBezTo>
                  <a:cubicBezTo>
                    <a:pt x="2250" y="105"/>
                    <a:pt x="2250" y="105"/>
                    <a:pt x="2250" y="105"/>
                  </a:cubicBezTo>
                  <a:cubicBezTo>
                    <a:pt x="2292" y="103"/>
                    <a:pt x="2292" y="103"/>
                    <a:pt x="2292" y="103"/>
                  </a:cubicBezTo>
                  <a:cubicBezTo>
                    <a:pt x="2286" y="85"/>
                    <a:pt x="2268" y="59"/>
                    <a:pt x="2250" y="61"/>
                  </a:cubicBezTo>
                  <a:cubicBezTo>
                    <a:pt x="2232" y="63"/>
                    <a:pt x="2214" y="75"/>
                    <a:pt x="2214" y="75"/>
                  </a:cubicBezTo>
                  <a:cubicBezTo>
                    <a:pt x="2200" y="59"/>
                    <a:pt x="2200" y="59"/>
                    <a:pt x="2200" y="59"/>
                  </a:cubicBezTo>
                  <a:cubicBezTo>
                    <a:pt x="2200" y="59"/>
                    <a:pt x="2112" y="73"/>
                    <a:pt x="2112" y="81"/>
                  </a:cubicBezTo>
                  <a:close/>
                  <a:moveTo>
                    <a:pt x="2392" y="133"/>
                  </a:moveTo>
                  <a:cubicBezTo>
                    <a:pt x="2498" y="127"/>
                    <a:pt x="2498" y="127"/>
                    <a:pt x="2498" y="127"/>
                  </a:cubicBezTo>
                  <a:cubicBezTo>
                    <a:pt x="2470" y="111"/>
                    <a:pt x="2470" y="111"/>
                    <a:pt x="2470" y="111"/>
                  </a:cubicBezTo>
                  <a:cubicBezTo>
                    <a:pt x="2470" y="111"/>
                    <a:pt x="2432" y="91"/>
                    <a:pt x="2422" y="91"/>
                  </a:cubicBezTo>
                  <a:cubicBezTo>
                    <a:pt x="2412" y="91"/>
                    <a:pt x="2394" y="103"/>
                    <a:pt x="2394" y="103"/>
                  </a:cubicBezTo>
                  <a:cubicBezTo>
                    <a:pt x="2394" y="103"/>
                    <a:pt x="2388" y="75"/>
                    <a:pt x="2366" y="75"/>
                  </a:cubicBezTo>
                  <a:cubicBezTo>
                    <a:pt x="2344" y="75"/>
                    <a:pt x="2332" y="141"/>
                    <a:pt x="2332" y="141"/>
                  </a:cubicBezTo>
                  <a:cubicBezTo>
                    <a:pt x="2348" y="149"/>
                    <a:pt x="2348" y="149"/>
                    <a:pt x="2348" y="149"/>
                  </a:cubicBezTo>
                  <a:cubicBezTo>
                    <a:pt x="2366" y="145"/>
                    <a:pt x="2392" y="133"/>
                    <a:pt x="2392" y="133"/>
                  </a:cubicBezTo>
                  <a:close/>
                  <a:moveTo>
                    <a:pt x="3752" y="279"/>
                  </a:moveTo>
                  <a:cubicBezTo>
                    <a:pt x="3762" y="261"/>
                    <a:pt x="3762" y="261"/>
                    <a:pt x="3762" y="261"/>
                  </a:cubicBezTo>
                  <a:cubicBezTo>
                    <a:pt x="3762" y="261"/>
                    <a:pt x="3788" y="261"/>
                    <a:pt x="3798" y="261"/>
                  </a:cubicBezTo>
                  <a:cubicBezTo>
                    <a:pt x="3808" y="261"/>
                    <a:pt x="3838" y="259"/>
                    <a:pt x="3838" y="259"/>
                  </a:cubicBezTo>
                  <a:cubicBezTo>
                    <a:pt x="3796" y="239"/>
                    <a:pt x="3796" y="239"/>
                    <a:pt x="3796" y="239"/>
                  </a:cubicBezTo>
                  <a:cubicBezTo>
                    <a:pt x="3804" y="225"/>
                    <a:pt x="3804" y="225"/>
                    <a:pt x="3804" y="225"/>
                  </a:cubicBezTo>
                  <a:cubicBezTo>
                    <a:pt x="3744" y="213"/>
                    <a:pt x="3744" y="213"/>
                    <a:pt x="3744" y="213"/>
                  </a:cubicBezTo>
                  <a:cubicBezTo>
                    <a:pt x="3754" y="231"/>
                    <a:pt x="3754" y="231"/>
                    <a:pt x="3754" y="231"/>
                  </a:cubicBezTo>
                  <a:cubicBezTo>
                    <a:pt x="3754" y="231"/>
                    <a:pt x="3632" y="191"/>
                    <a:pt x="3634" y="221"/>
                  </a:cubicBezTo>
                  <a:cubicBezTo>
                    <a:pt x="3636" y="251"/>
                    <a:pt x="3752" y="279"/>
                    <a:pt x="3752" y="279"/>
                  </a:cubicBezTo>
                  <a:close/>
                  <a:moveTo>
                    <a:pt x="2882" y="289"/>
                  </a:moveTo>
                  <a:cubicBezTo>
                    <a:pt x="2914" y="295"/>
                    <a:pt x="2914" y="295"/>
                    <a:pt x="2914" y="295"/>
                  </a:cubicBezTo>
                  <a:cubicBezTo>
                    <a:pt x="2934" y="297"/>
                    <a:pt x="2954" y="285"/>
                    <a:pt x="2924" y="279"/>
                  </a:cubicBezTo>
                  <a:cubicBezTo>
                    <a:pt x="2894" y="273"/>
                    <a:pt x="2882" y="289"/>
                    <a:pt x="2882" y="289"/>
                  </a:cubicBezTo>
                  <a:close/>
                  <a:moveTo>
                    <a:pt x="3618" y="235"/>
                  </a:moveTo>
                  <a:cubicBezTo>
                    <a:pt x="3582" y="223"/>
                    <a:pt x="3582" y="223"/>
                    <a:pt x="3582" y="223"/>
                  </a:cubicBezTo>
                  <a:cubicBezTo>
                    <a:pt x="3598" y="245"/>
                    <a:pt x="3598" y="245"/>
                    <a:pt x="3598" y="245"/>
                  </a:cubicBezTo>
                  <a:lnTo>
                    <a:pt x="3618" y="235"/>
                  </a:lnTo>
                  <a:close/>
                  <a:moveTo>
                    <a:pt x="5328" y="443"/>
                  </a:moveTo>
                  <a:cubicBezTo>
                    <a:pt x="5340" y="439"/>
                    <a:pt x="5358" y="437"/>
                    <a:pt x="5384" y="437"/>
                  </a:cubicBezTo>
                  <a:cubicBezTo>
                    <a:pt x="5410" y="437"/>
                    <a:pt x="5414" y="421"/>
                    <a:pt x="5396" y="419"/>
                  </a:cubicBezTo>
                  <a:cubicBezTo>
                    <a:pt x="5378" y="417"/>
                    <a:pt x="5346" y="405"/>
                    <a:pt x="5334" y="405"/>
                  </a:cubicBezTo>
                  <a:cubicBezTo>
                    <a:pt x="5322" y="405"/>
                    <a:pt x="5294" y="405"/>
                    <a:pt x="5294" y="427"/>
                  </a:cubicBezTo>
                  <a:cubicBezTo>
                    <a:pt x="5294" y="451"/>
                    <a:pt x="5316" y="447"/>
                    <a:pt x="5328" y="443"/>
                  </a:cubicBezTo>
                  <a:close/>
                  <a:moveTo>
                    <a:pt x="111" y="1194"/>
                  </a:moveTo>
                  <a:cubicBezTo>
                    <a:pt x="103" y="1195"/>
                    <a:pt x="79" y="1198"/>
                    <a:pt x="79" y="1198"/>
                  </a:cubicBezTo>
                  <a:cubicBezTo>
                    <a:pt x="77" y="1192"/>
                    <a:pt x="77" y="1192"/>
                    <a:pt x="77" y="1192"/>
                  </a:cubicBezTo>
                  <a:cubicBezTo>
                    <a:pt x="69" y="1193"/>
                    <a:pt x="69" y="1193"/>
                    <a:pt x="69" y="1193"/>
                  </a:cubicBezTo>
                  <a:cubicBezTo>
                    <a:pt x="66" y="1187"/>
                    <a:pt x="66" y="1187"/>
                    <a:pt x="66" y="1187"/>
                  </a:cubicBezTo>
                  <a:cubicBezTo>
                    <a:pt x="61" y="1187"/>
                    <a:pt x="61" y="1187"/>
                    <a:pt x="61" y="1187"/>
                  </a:cubicBezTo>
                  <a:cubicBezTo>
                    <a:pt x="61" y="1192"/>
                    <a:pt x="53" y="1201"/>
                    <a:pt x="53" y="1201"/>
                  </a:cubicBezTo>
                  <a:cubicBezTo>
                    <a:pt x="53" y="1201"/>
                    <a:pt x="12" y="1196"/>
                    <a:pt x="6" y="1203"/>
                  </a:cubicBezTo>
                  <a:cubicBezTo>
                    <a:pt x="0" y="1210"/>
                    <a:pt x="13" y="1219"/>
                    <a:pt x="13" y="1219"/>
                  </a:cubicBezTo>
                  <a:cubicBezTo>
                    <a:pt x="8" y="1228"/>
                    <a:pt x="8" y="1228"/>
                    <a:pt x="8" y="1228"/>
                  </a:cubicBezTo>
                  <a:cubicBezTo>
                    <a:pt x="8" y="1227"/>
                    <a:pt x="8" y="1227"/>
                    <a:pt x="8" y="1227"/>
                  </a:cubicBezTo>
                  <a:cubicBezTo>
                    <a:pt x="13" y="1232"/>
                    <a:pt x="13" y="1232"/>
                    <a:pt x="13" y="1232"/>
                  </a:cubicBezTo>
                  <a:cubicBezTo>
                    <a:pt x="13" y="1232"/>
                    <a:pt x="25" y="1227"/>
                    <a:pt x="34" y="1229"/>
                  </a:cubicBezTo>
                  <a:cubicBezTo>
                    <a:pt x="43" y="1231"/>
                    <a:pt x="51" y="1236"/>
                    <a:pt x="51" y="1236"/>
                  </a:cubicBezTo>
                  <a:cubicBezTo>
                    <a:pt x="51" y="1236"/>
                    <a:pt x="82" y="1234"/>
                    <a:pt x="90" y="1235"/>
                  </a:cubicBezTo>
                  <a:cubicBezTo>
                    <a:pt x="98" y="1236"/>
                    <a:pt x="113" y="1236"/>
                    <a:pt x="113" y="1236"/>
                  </a:cubicBezTo>
                  <a:cubicBezTo>
                    <a:pt x="113" y="1236"/>
                    <a:pt x="109" y="1230"/>
                    <a:pt x="117" y="1231"/>
                  </a:cubicBezTo>
                  <a:cubicBezTo>
                    <a:pt x="112" y="1221"/>
                    <a:pt x="112" y="1221"/>
                    <a:pt x="112" y="1221"/>
                  </a:cubicBezTo>
                  <a:cubicBezTo>
                    <a:pt x="112" y="1221"/>
                    <a:pt x="120" y="1214"/>
                    <a:pt x="121" y="1209"/>
                  </a:cubicBezTo>
                  <a:cubicBezTo>
                    <a:pt x="122" y="1204"/>
                    <a:pt x="119" y="1193"/>
                    <a:pt x="111" y="1194"/>
                  </a:cubicBezTo>
                  <a:close/>
                  <a:moveTo>
                    <a:pt x="698" y="59"/>
                  </a:moveTo>
                  <a:cubicBezTo>
                    <a:pt x="712" y="49"/>
                    <a:pt x="712" y="49"/>
                    <a:pt x="712" y="49"/>
                  </a:cubicBezTo>
                  <a:cubicBezTo>
                    <a:pt x="712" y="49"/>
                    <a:pt x="677" y="42"/>
                    <a:pt x="698" y="59"/>
                  </a:cubicBezTo>
                  <a:close/>
                  <a:moveTo>
                    <a:pt x="664" y="48"/>
                  </a:moveTo>
                  <a:cubicBezTo>
                    <a:pt x="720" y="35"/>
                    <a:pt x="720" y="35"/>
                    <a:pt x="720" y="35"/>
                  </a:cubicBezTo>
                  <a:cubicBezTo>
                    <a:pt x="702" y="30"/>
                    <a:pt x="702" y="30"/>
                    <a:pt x="702" y="30"/>
                  </a:cubicBezTo>
                  <a:cubicBezTo>
                    <a:pt x="668" y="38"/>
                    <a:pt x="668" y="38"/>
                    <a:pt x="668" y="38"/>
                  </a:cubicBezTo>
                  <a:cubicBezTo>
                    <a:pt x="634" y="37"/>
                    <a:pt x="634" y="37"/>
                    <a:pt x="634" y="37"/>
                  </a:cubicBezTo>
                  <a:cubicBezTo>
                    <a:pt x="650" y="44"/>
                    <a:pt x="650" y="44"/>
                    <a:pt x="650" y="44"/>
                  </a:cubicBezTo>
                  <a:lnTo>
                    <a:pt x="664" y="48"/>
                  </a:lnTo>
                  <a:close/>
                  <a:moveTo>
                    <a:pt x="754" y="61"/>
                  </a:moveTo>
                  <a:cubicBezTo>
                    <a:pt x="757" y="51"/>
                    <a:pt x="757" y="51"/>
                    <a:pt x="757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9" y="45"/>
                    <a:pt x="779" y="45"/>
                    <a:pt x="779" y="45"/>
                  </a:cubicBezTo>
                  <a:cubicBezTo>
                    <a:pt x="779" y="45"/>
                    <a:pt x="806" y="48"/>
                    <a:pt x="816" y="42"/>
                  </a:cubicBezTo>
                  <a:cubicBezTo>
                    <a:pt x="826" y="37"/>
                    <a:pt x="791" y="37"/>
                    <a:pt x="791" y="37"/>
                  </a:cubicBezTo>
                  <a:cubicBezTo>
                    <a:pt x="791" y="37"/>
                    <a:pt x="791" y="27"/>
                    <a:pt x="774" y="27"/>
                  </a:cubicBezTo>
                  <a:cubicBezTo>
                    <a:pt x="757" y="27"/>
                    <a:pt x="755" y="45"/>
                    <a:pt x="755" y="45"/>
                  </a:cubicBezTo>
                  <a:cubicBezTo>
                    <a:pt x="755" y="45"/>
                    <a:pt x="719" y="51"/>
                    <a:pt x="722" y="56"/>
                  </a:cubicBezTo>
                  <a:cubicBezTo>
                    <a:pt x="724" y="62"/>
                    <a:pt x="754" y="61"/>
                    <a:pt x="754" y="61"/>
                  </a:cubicBezTo>
                  <a:close/>
                  <a:moveTo>
                    <a:pt x="786" y="53"/>
                  </a:moveTo>
                  <a:cubicBezTo>
                    <a:pt x="776" y="59"/>
                    <a:pt x="776" y="59"/>
                    <a:pt x="776" y="59"/>
                  </a:cubicBezTo>
                  <a:cubicBezTo>
                    <a:pt x="789" y="66"/>
                    <a:pt x="789" y="66"/>
                    <a:pt x="789" y="66"/>
                  </a:cubicBezTo>
                  <a:cubicBezTo>
                    <a:pt x="802" y="72"/>
                    <a:pt x="802" y="72"/>
                    <a:pt x="802" y="72"/>
                  </a:cubicBezTo>
                  <a:cubicBezTo>
                    <a:pt x="834" y="69"/>
                    <a:pt x="834" y="69"/>
                    <a:pt x="834" y="69"/>
                  </a:cubicBezTo>
                  <a:cubicBezTo>
                    <a:pt x="833" y="61"/>
                    <a:pt x="833" y="61"/>
                    <a:pt x="833" y="61"/>
                  </a:cubicBezTo>
                  <a:cubicBezTo>
                    <a:pt x="810" y="61"/>
                    <a:pt x="810" y="61"/>
                    <a:pt x="810" y="61"/>
                  </a:cubicBezTo>
                  <a:lnTo>
                    <a:pt x="786" y="53"/>
                  </a:lnTo>
                  <a:close/>
                  <a:moveTo>
                    <a:pt x="5213" y="1622"/>
                  </a:moveTo>
                  <a:cubicBezTo>
                    <a:pt x="5191" y="1599"/>
                    <a:pt x="5191" y="1599"/>
                    <a:pt x="5191" y="1599"/>
                  </a:cubicBezTo>
                  <a:cubicBezTo>
                    <a:pt x="5191" y="1599"/>
                    <a:pt x="5169" y="1593"/>
                    <a:pt x="5156" y="1575"/>
                  </a:cubicBezTo>
                  <a:cubicBezTo>
                    <a:pt x="5144" y="1557"/>
                    <a:pt x="5136" y="1516"/>
                    <a:pt x="5136" y="1516"/>
                  </a:cubicBezTo>
                  <a:cubicBezTo>
                    <a:pt x="5136" y="1516"/>
                    <a:pt x="5112" y="1502"/>
                    <a:pt x="5125" y="1495"/>
                  </a:cubicBezTo>
                  <a:cubicBezTo>
                    <a:pt x="5137" y="1488"/>
                    <a:pt x="5213" y="1526"/>
                    <a:pt x="5213" y="1526"/>
                  </a:cubicBezTo>
                  <a:cubicBezTo>
                    <a:pt x="5163" y="1489"/>
                    <a:pt x="5163" y="1489"/>
                    <a:pt x="5163" y="1489"/>
                  </a:cubicBezTo>
                  <a:cubicBezTo>
                    <a:pt x="5163" y="1489"/>
                    <a:pt x="5144" y="1459"/>
                    <a:pt x="5134" y="1452"/>
                  </a:cubicBezTo>
                  <a:cubicBezTo>
                    <a:pt x="5125" y="1445"/>
                    <a:pt x="5109" y="1435"/>
                    <a:pt x="5109" y="1435"/>
                  </a:cubicBezTo>
                  <a:cubicBezTo>
                    <a:pt x="5057" y="1379"/>
                    <a:pt x="5057" y="1379"/>
                    <a:pt x="5057" y="1379"/>
                  </a:cubicBezTo>
                  <a:cubicBezTo>
                    <a:pt x="5040" y="1380"/>
                    <a:pt x="5040" y="1380"/>
                    <a:pt x="5040" y="1380"/>
                  </a:cubicBezTo>
                  <a:cubicBezTo>
                    <a:pt x="5033" y="1361"/>
                    <a:pt x="5033" y="1361"/>
                    <a:pt x="5033" y="1361"/>
                  </a:cubicBezTo>
                  <a:cubicBezTo>
                    <a:pt x="5033" y="1361"/>
                    <a:pt x="5023" y="1363"/>
                    <a:pt x="5011" y="1351"/>
                  </a:cubicBezTo>
                  <a:cubicBezTo>
                    <a:pt x="4999" y="1338"/>
                    <a:pt x="5003" y="1322"/>
                    <a:pt x="5003" y="1322"/>
                  </a:cubicBezTo>
                  <a:cubicBezTo>
                    <a:pt x="4983" y="1297"/>
                    <a:pt x="4983" y="1297"/>
                    <a:pt x="4983" y="1297"/>
                  </a:cubicBezTo>
                  <a:cubicBezTo>
                    <a:pt x="4969" y="1298"/>
                    <a:pt x="4969" y="1298"/>
                    <a:pt x="4969" y="1298"/>
                  </a:cubicBezTo>
                  <a:cubicBezTo>
                    <a:pt x="4960" y="1279"/>
                    <a:pt x="4960" y="1279"/>
                    <a:pt x="4960" y="1279"/>
                  </a:cubicBezTo>
                  <a:cubicBezTo>
                    <a:pt x="4933" y="1259"/>
                    <a:pt x="4933" y="1259"/>
                    <a:pt x="4933" y="1259"/>
                  </a:cubicBezTo>
                  <a:cubicBezTo>
                    <a:pt x="4925" y="1243"/>
                    <a:pt x="4925" y="1243"/>
                    <a:pt x="4925" y="1243"/>
                  </a:cubicBezTo>
                  <a:cubicBezTo>
                    <a:pt x="4925" y="1243"/>
                    <a:pt x="4907" y="1230"/>
                    <a:pt x="4900" y="1235"/>
                  </a:cubicBezTo>
                  <a:cubicBezTo>
                    <a:pt x="4893" y="1239"/>
                    <a:pt x="4939" y="1272"/>
                    <a:pt x="4933" y="1275"/>
                  </a:cubicBezTo>
                  <a:cubicBezTo>
                    <a:pt x="4928" y="1277"/>
                    <a:pt x="4915" y="1262"/>
                    <a:pt x="4913" y="1277"/>
                  </a:cubicBezTo>
                  <a:cubicBezTo>
                    <a:pt x="4910" y="1293"/>
                    <a:pt x="4939" y="1322"/>
                    <a:pt x="4939" y="1322"/>
                  </a:cubicBezTo>
                  <a:cubicBezTo>
                    <a:pt x="4939" y="1322"/>
                    <a:pt x="4946" y="1340"/>
                    <a:pt x="4953" y="1347"/>
                  </a:cubicBezTo>
                  <a:cubicBezTo>
                    <a:pt x="4960" y="1354"/>
                    <a:pt x="5007" y="1384"/>
                    <a:pt x="5018" y="1398"/>
                  </a:cubicBezTo>
                  <a:cubicBezTo>
                    <a:pt x="5029" y="1412"/>
                    <a:pt x="5028" y="1434"/>
                    <a:pt x="5041" y="1445"/>
                  </a:cubicBezTo>
                  <a:cubicBezTo>
                    <a:pt x="5055" y="1456"/>
                    <a:pt x="5087" y="1512"/>
                    <a:pt x="5087" y="1512"/>
                  </a:cubicBezTo>
                  <a:cubicBezTo>
                    <a:pt x="5087" y="1512"/>
                    <a:pt x="5093" y="1535"/>
                    <a:pt x="5100" y="1535"/>
                  </a:cubicBezTo>
                  <a:cubicBezTo>
                    <a:pt x="5107" y="1535"/>
                    <a:pt x="5120" y="1545"/>
                    <a:pt x="5127" y="1555"/>
                  </a:cubicBezTo>
                  <a:cubicBezTo>
                    <a:pt x="5134" y="1564"/>
                    <a:pt x="5134" y="1584"/>
                    <a:pt x="5134" y="1584"/>
                  </a:cubicBezTo>
                  <a:cubicBezTo>
                    <a:pt x="5162" y="1607"/>
                    <a:pt x="5162" y="1607"/>
                    <a:pt x="5162" y="1607"/>
                  </a:cubicBezTo>
                  <a:cubicBezTo>
                    <a:pt x="5172" y="1643"/>
                    <a:pt x="5172" y="1643"/>
                    <a:pt x="5172" y="1643"/>
                  </a:cubicBezTo>
                  <a:cubicBezTo>
                    <a:pt x="5198" y="1671"/>
                    <a:pt x="5198" y="1671"/>
                    <a:pt x="5198" y="1671"/>
                  </a:cubicBezTo>
                  <a:cubicBezTo>
                    <a:pt x="5198" y="1671"/>
                    <a:pt x="5184" y="1632"/>
                    <a:pt x="5193" y="1629"/>
                  </a:cubicBezTo>
                  <a:cubicBezTo>
                    <a:pt x="5201" y="1627"/>
                    <a:pt x="5205" y="1636"/>
                    <a:pt x="5205" y="1636"/>
                  </a:cubicBezTo>
                  <a:cubicBezTo>
                    <a:pt x="5226" y="1636"/>
                    <a:pt x="5226" y="1636"/>
                    <a:pt x="5226" y="1636"/>
                  </a:cubicBezTo>
                  <a:cubicBezTo>
                    <a:pt x="5248" y="1663"/>
                    <a:pt x="5248" y="1663"/>
                    <a:pt x="5248" y="1663"/>
                  </a:cubicBezTo>
                  <a:cubicBezTo>
                    <a:pt x="5249" y="1646"/>
                    <a:pt x="5249" y="1646"/>
                    <a:pt x="5249" y="1646"/>
                  </a:cubicBezTo>
                  <a:cubicBezTo>
                    <a:pt x="5229" y="1621"/>
                    <a:pt x="5229" y="1621"/>
                    <a:pt x="5229" y="1621"/>
                  </a:cubicBezTo>
                  <a:lnTo>
                    <a:pt x="5213" y="1622"/>
                  </a:lnTo>
                  <a:close/>
                  <a:moveTo>
                    <a:pt x="899" y="58"/>
                  </a:moveTo>
                  <a:cubicBezTo>
                    <a:pt x="905" y="46"/>
                    <a:pt x="905" y="46"/>
                    <a:pt x="905" y="46"/>
                  </a:cubicBezTo>
                  <a:cubicBezTo>
                    <a:pt x="876" y="42"/>
                    <a:pt x="876" y="42"/>
                    <a:pt x="876" y="42"/>
                  </a:cubicBezTo>
                  <a:cubicBezTo>
                    <a:pt x="861" y="52"/>
                    <a:pt x="861" y="52"/>
                    <a:pt x="861" y="52"/>
                  </a:cubicBezTo>
                  <a:cubicBezTo>
                    <a:pt x="864" y="61"/>
                    <a:pt x="864" y="61"/>
                    <a:pt x="864" y="61"/>
                  </a:cubicBezTo>
                  <a:lnTo>
                    <a:pt x="899" y="58"/>
                  </a:lnTo>
                  <a:close/>
                  <a:moveTo>
                    <a:pt x="771" y="1607"/>
                  </a:moveTo>
                  <a:cubicBezTo>
                    <a:pt x="771" y="1607"/>
                    <a:pt x="773" y="1608"/>
                    <a:pt x="774" y="1608"/>
                  </a:cubicBezTo>
                  <a:cubicBezTo>
                    <a:pt x="773" y="1608"/>
                    <a:pt x="771" y="1607"/>
                    <a:pt x="771" y="1607"/>
                  </a:cubicBezTo>
                  <a:close/>
                  <a:moveTo>
                    <a:pt x="771" y="1607"/>
                  </a:moveTo>
                  <a:cubicBezTo>
                    <a:pt x="770" y="1607"/>
                    <a:pt x="770" y="1607"/>
                    <a:pt x="770" y="1607"/>
                  </a:cubicBezTo>
                  <a:cubicBezTo>
                    <a:pt x="770" y="1607"/>
                    <a:pt x="770" y="1607"/>
                    <a:pt x="771" y="1607"/>
                  </a:cubicBezTo>
                  <a:close/>
                  <a:moveTo>
                    <a:pt x="6034" y="664"/>
                  </a:moveTo>
                  <a:cubicBezTo>
                    <a:pt x="6023" y="650"/>
                    <a:pt x="5993" y="645"/>
                    <a:pt x="5993" y="645"/>
                  </a:cubicBezTo>
                  <a:cubicBezTo>
                    <a:pt x="5962" y="631"/>
                    <a:pt x="5962" y="631"/>
                    <a:pt x="5962" y="631"/>
                  </a:cubicBezTo>
                  <a:cubicBezTo>
                    <a:pt x="5935" y="632"/>
                    <a:pt x="5935" y="632"/>
                    <a:pt x="5935" y="632"/>
                  </a:cubicBezTo>
                  <a:cubicBezTo>
                    <a:pt x="5915" y="619"/>
                    <a:pt x="5915" y="619"/>
                    <a:pt x="5915" y="619"/>
                  </a:cubicBezTo>
                  <a:cubicBezTo>
                    <a:pt x="5854" y="615"/>
                    <a:pt x="5854" y="615"/>
                    <a:pt x="5854" y="615"/>
                  </a:cubicBezTo>
                  <a:cubicBezTo>
                    <a:pt x="5829" y="603"/>
                    <a:pt x="5829" y="603"/>
                    <a:pt x="5829" y="603"/>
                  </a:cubicBezTo>
                  <a:cubicBezTo>
                    <a:pt x="5805" y="605"/>
                    <a:pt x="5805" y="605"/>
                    <a:pt x="5805" y="605"/>
                  </a:cubicBezTo>
                  <a:cubicBezTo>
                    <a:pt x="5838" y="630"/>
                    <a:pt x="5838" y="630"/>
                    <a:pt x="5838" y="630"/>
                  </a:cubicBezTo>
                  <a:cubicBezTo>
                    <a:pt x="5874" y="646"/>
                    <a:pt x="5874" y="646"/>
                    <a:pt x="5874" y="646"/>
                  </a:cubicBezTo>
                  <a:cubicBezTo>
                    <a:pt x="5874" y="646"/>
                    <a:pt x="5834" y="652"/>
                    <a:pt x="5822" y="642"/>
                  </a:cubicBezTo>
                  <a:cubicBezTo>
                    <a:pt x="5810" y="632"/>
                    <a:pt x="5809" y="610"/>
                    <a:pt x="5756" y="592"/>
                  </a:cubicBezTo>
                  <a:cubicBezTo>
                    <a:pt x="5703" y="574"/>
                    <a:pt x="5687" y="567"/>
                    <a:pt x="5633" y="558"/>
                  </a:cubicBezTo>
                  <a:cubicBezTo>
                    <a:pt x="5579" y="549"/>
                    <a:pt x="5466" y="523"/>
                    <a:pt x="5412" y="510"/>
                  </a:cubicBezTo>
                  <a:cubicBezTo>
                    <a:pt x="5358" y="497"/>
                    <a:pt x="5297" y="488"/>
                    <a:pt x="5297" y="488"/>
                  </a:cubicBezTo>
                  <a:cubicBezTo>
                    <a:pt x="5175" y="490"/>
                    <a:pt x="5175" y="490"/>
                    <a:pt x="5175" y="490"/>
                  </a:cubicBezTo>
                  <a:cubicBezTo>
                    <a:pt x="5166" y="478"/>
                    <a:pt x="5166" y="478"/>
                    <a:pt x="5166" y="478"/>
                  </a:cubicBezTo>
                  <a:cubicBezTo>
                    <a:pt x="5135" y="480"/>
                    <a:pt x="5135" y="480"/>
                    <a:pt x="5135" y="480"/>
                  </a:cubicBezTo>
                  <a:cubicBezTo>
                    <a:pt x="5124" y="472"/>
                    <a:pt x="5124" y="472"/>
                    <a:pt x="5124" y="472"/>
                  </a:cubicBezTo>
                  <a:cubicBezTo>
                    <a:pt x="5088" y="471"/>
                    <a:pt x="5088" y="471"/>
                    <a:pt x="5088" y="471"/>
                  </a:cubicBezTo>
                  <a:cubicBezTo>
                    <a:pt x="5105" y="483"/>
                    <a:pt x="5105" y="483"/>
                    <a:pt x="5105" y="483"/>
                  </a:cubicBezTo>
                  <a:cubicBezTo>
                    <a:pt x="5100" y="497"/>
                    <a:pt x="5100" y="497"/>
                    <a:pt x="5100" y="497"/>
                  </a:cubicBezTo>
                  <a:cubicBezTo>
                    <a:pt x="5100" y="497"/>
                    <a:pt x="5199" y="520"/>
                    <a:pt x="5170" y="533"/>
                  </a:cubicBezTo>
                  <a:cubicBezTo>
                    <a:pt x="5141" y="546"/>
                    <a:pt x="5123" y="529"/>
                    <a:pt x="5123" y="529"/>
                  </a:cubicBezTo>
                  <a:cubicBezTo>
                    <a:pt x="5106" y="515"/>
                    <a:pt x="5106" y="515"/>
                    <a:pt x="5106" y="515"/>
                  </a:cubicBezTo>
                  <a:cubicBezTo>
                    <a:pt x="5061" y="515"/>
                    <a:pt x="5061" y="515"/>
                    <a:pt x="5061" y="515"/>
                  </a:cubicBezTo>
                  <a:cubicBezTo>
                    <a:pt x="5024" y="492"/>
                    <a:pt x="5024" y="492"/>
                    <a:pt x="5024" y="492"/>
                  </a:cubicBezTo>
                  <a:cubicBezTo>
                    <a:pt x="5024" y="492"/>
                    <a:pt x="5006" y="496"/>
                    <a:pt x="5002" y="499"/>
                  </a:cubicBezTo>
                  <a:cubicBezTo>
                    <a:pt x="4998" y="502"/>
                    <a:pt x="4966" y="501"/>
                    <a:pt x="4966" y="501"/>
                  </a:cubicBezTo>
                  <a:cubicBezTo>
                    <a:pt x="4962" y="493"/>
                    <a:pt x="4962" y="493"/>
                    <a:pt x="4962" y="493"/>
                  </a:cubicBezTo>
                  <a:cubicBezTo>
                    <a:pt x="4900" y="496"/>
                    <a:pt x="4900" y="496"/>
                    <a:pt x="4900" y="496"/>
                  </a:cubicBezTo>
                  <a:cubicBezTo>
                    <a:pt x="4884" y="484"/>
                    <a:pt x="4884" y="484"/>
                    <a:pt x="4884" y="484"/>
                  </a:cubicBezTo>
                  <a:cubicBezTo>
                    <a:pt x="4879" y="490"/>
                    <a:pt x="4879" y="490"/>
                    <a:pt x="4879" y="490"/>
                  </a:cubicBezTo>
                  <a:cubicBezTo>
                    <a:pt x="4879" y="490"/>
                    <a:pt x="4801" y="483"/>
                    <a:pt x="4806" y="493"/>
                  </a:cubicBezTo>
                  <a:cubicBezTo>
                    <a:pt x="4811" y="503"/>
                    <a:pt x="4840" y="527"/>
                    <a:pt x="4840" y="527"/>
                  </a:cubicBezTo>
                  <a:cubicBezTo>
                    <a:pt x="4840" y="527"/>
                    <a:pt x="4804" y="506"/>
                    <a:pt x="4799" y="501"/>
                  </a:cubicBezTo>
                  <a:cubicBezTo>
                    <a:pt x="4794" y="496"/>
                    <a:pt x="4728" y="488"/>
                    <a:pt x="4728" y="488"/>
                  </a:cubicBezTo>
                  <a:cubicBezTo>
                    <a:pt x="4728" y="488"/>
                    <a:pt x="4718" y="470"/>
                    <a:pt x="4693" y="457"/>
                  </a:cubicBezTo>
                  <a:cubicBezTo>
                    <a:pt x="4668" y="444"/>
                    <a:pt x="4630" y="438"/>
                    <a:pt x="4613" y="437"/>
                  </a:cubicBezTo>
                  <a:cubicBezTo>
                    <a:pt x="4596" y="436"/>
                    <a:pt x="4561" y="432"/>
                    <a:pt x="4561" y="432"/>
                  </a:cubicBezTo>
                  <a:cubicBezTo>
                    <a:pt x="4527" y="425"/>
                    <a:pt x="4527" y="425"/>
                    <a:pt x="4527" y="425"/>
                  </a:cubicBezTo>
                  <a:cubicBezTo>
                    <a:pt x="4518" y="429"/>
                    <a:pt x="4518" y="429"/>
                    <a:pt x="4518" y="429"/>
                  </a:cubicBezTo>
                  <a:cubicBezTo>
                    <a:pt x="4478" y="427"/>
                    <a:pt x="4478" y="427"/>
                    <a:pt x="4478" y="427"/>
                  </a:cubicBezTo>
                  <a:cubicBezTo>
                    <a:pt x="4478" y="427"/>
                    <a:pt x="4473" y="447"/>
                    <a:pt x="4451" y="444"/>
                  </a:cubicBezTo>
                  <a:cubicBezTo>
                    <a:pt x="4429" y="441"/>
                    <a:pt x="4400" y="439"/>
                    <a:pt x="4400" y="439"/>
                  </a:cubicBezTo>
                  <a:cubicBezTo>
                    <a:pt x="4400" y="439"/>
                    <a:pt x="4370" y="419"/>
                    <a:pt x="4353" y="418"/>
                  </a:cubicBezTo>
                  <a:cubicBezTo>
                    <a:pt x="4336" y="417"/>
                    <a:pt x="4327" y="420"/>
                    <a:pt x="4327" y="420"/>
                  </a:cubicBezTo>
                  <a:cubicBezTo>
                    <a:pt x="4321" y="409"/>
                    <a:pt x="4321" y="409"/>
                    <a:pt x="4321" y="409"/>
                  </a:cubicBezTo>
                  <a:cubicBezTo>
                    <a:pt x="4296" y="407"/>
                    <a:pt x="4296" y="407"/>
                    <a:pt x="4296" y="407"/>
                  </a:cubicBezTo>
                  <a:cubicBezTo>
                    <a:pt x="4253" y="403"/>
                    <a:pt x="4253" y="403"/>
                    <a:pt x="4253" y="403"/>
                  </a:cubicBezTo>
                  <a:cubicBezTo>
                    <a:pt x="4277" y="395"/>
                    <a:pt x="4277" y="395"/>
                    <a:pt x="4277" y="395"/>
                  </a:cubicBezTo>
                  <a:cubicBezTo>
                    <a:pt x="4251" y="382"/>
                    <a:pt x="4251" y="382"/>
                    <a:pt x="4251" y="382"/>
                  </a:cubicBezTo>
                  <a:cubicBezTo>
                    <a:pt x="4251" y="382"/>
                    <a:pt x="4158" y="369"/>
                    <a:pt x="4155" y="375"/>
                  </a:cubicBezTo>
                  <a:cubicBezTo>
                    <a:pt x="4152" y="381"/>
                    <a:pt x="4164" y="400"/>
                    <a:pt x="4149" y="401"/>
                  </a:cubicBezTo>
                  <a:cubicBezTo>
                    <a:pt x="4134" y="402"/>
                    <a:pt x="4114" y="398"/>
                    <a:pt x="4114" y="398"/>
                  </a:cubicBezTo>
                  <a:cubicBezTo>
                    <a:pt x="4126" y="390"/>
                    <a:pt x="4126" y="390"/>
                    <a:pt x="4126" y="390"/>
                  </a:cubicBezTo>
                  <a:cubicBezTo>
                    <a:pt x="4116" y="380"/>
                    <a:pt x="4116" y="380"/>
                    <a:pt x="4116" y="380"/>
                  </a:cubicBezTo>
                  <a:cubicBezTo>
                    <a:pt x="4116" y="380"/>
                    <a:pt x="4110" y="380"/>
                    <a:pt x="4096" y="382"/>
                  </a:cubicBezTo>
                  <a:cubicBezTo>
                    <a:pt x="4082" y="384"/>
                    <a:pt x="4068" y="379"/>
                    <a:pt x="4068" y="379"/>
                  </a:cubicBezTo>
                  <a:cubicBezTo>
                    <a:pt x="4079" y="374"/>
                    <a:pt x="4079" y="374"/>
                    <a:pt x="4079" y="374"/>
                  </a:cubicBezTo>
                  <a:cubicBezTo>
                    <a:pt x="4109" y="371"/>
                    <a:pt x="4109" y="371"/>
                    <a:pt x="4109" y="371"/>
                  </a:cubicBezTo>
                  <a:cubicBezTo>
                    <a:pt x="4147" y="394"/>
                    <a:pt x="4147" y="394"/>
                    <a:pt x="4147" y="394"/>
                  </a:cubicBezTo>
                  <a:cubicBezTo>
                    <a:pt x="4149" y="375"/>
                    <a:pt x="4149" y="375"/>
                    <a:pt x="4149" y="375"/>
                  </a:cubicBezTo>
                  <a:cubicBezTo>
                    <a:pt x="4110" y="362"/>
                    <a:pt x="4110" y="362"/>
                    <a:pt x="4110" y="362"/>
                  </a:cubicBezTo>
                  <a:cubicBezTo>
                    <a:pt x="4037" y="366"/>
                    <a:pt x="4037" y="366"/>
                    <a:pt x="4037" y="366"/>
                  </a:cubicBezTo>
                  <a:cubicBezTo>
                    <a:pt x="4036" y="357"/>
                    <a:pt x="4036" y="357"/>
                    <a:pt x="4036" y="357"/>
                  </a:cubicBezTo>
                  <a:cubicBezTo>
                    <a:pt x="3955" y="362"/>
                    <a:pt x="3955" y="362"/>
                    <a:pt x="3955" y="362"/>
                  </a:cubicBezTo>
                  <a:cubicBezTo>
                    <a:pt x="3924" y="349"/>
                    <a:pt x="3924" y="349"/>
                    <a:pt x="3924" y="349"/>
                  </a:cubicBezTo>
                  <a:cubicBezTo>
                    <a:pt x="3911" y="349"/>
                    <a:pt x="3911" y="349"/>
                    <a:pt x="3911" y="349"/>
                  </a:cubicBezTo>
                  <a:cubicBezTo>
                    <a:pt x="3936" y="365"/>
                    <a:pt x="3936" y="365"/>
                    <a:pt x="3936" y="365"/>
                  </a:cubicBezTo>
                  <a:cubicBezTo>
                    <a:pt x="3936" y="365"/>
                    <a:pt x="3884" y="364"/>
                    <a:pt x="3892" y="372"/>
                  </a:cubicBezTo>
                  <a:cubicBezTo>
                    <a:pt x="3900" y="380"/>
                    <a:pt x="3910" y="385"/>
                    <a:pt x="3910" y="385"/>
                  </a:cubicBezTo>
                  <a:cubicBezTo>
                    <a:pt x="3931" y="383"/>
                    <a:pt x="3931" y="383"/>
                    <a:pt x="3931" y="383"/>
                  </a:cubicBezTo>
                  <a:cubicBezTo>
                    <a:pt x="3931" y="388"/>
                    <a:pt x="3931" y="388"/>
                    <a:pt x="3931" y="388"/>
                  </a:cubicBezTo>
                  <a:cubicBezTo>
                    <a:pt x="3970" y="414"/>
                    <a:pt x="3970" y="414"/>
                    <a:pt x="3970" y="414"/>
                  </a:cubicBezTo>
                  <a:cubicBezTo>
                    <a:pt x="3970" y="414"/>
                    <a:pt x="3964" y="415"/>
                    <a:pt x="3949" y="414"/>
                  </a:cubicBezTo>
                  <a:cubicBezTo>
                    <a:pt x="3934" y="413"/>
                    <a:pt x="3914" y="398"/>
                    <a:pt x="3909" y="403"/>
                  </a:cubicBezTo>
                  <a:cubicBezTo>
                    <a:pt x="3904" y="408"/>
                    <a:pt x="3900" y="411"/>
                    <a:pt x="3900" y="411"/>
                  </a:cubicBezTo>
                  <a:cubicBezTo>
                    <a:pt x="3917" y="425"/>
                    <a:pt x="3917" y="425"/>
                    <a:pt x="3917" y="425"/>
                  </a:cubicBezTo>
                  <a:cubicBezTo>
                    <a:pt x="3881" y="420"/>
                    <a:pt x="3881" y="420"/>
                    <a:pt x="3881" y="420"/>
                  </a:cubicBezTo>
                  <a:cubicBezTo>
                    <a:pt x="3881" y="420"/>
                    <a:pt x="3832" y="404"/>
                    <a:pt x="3824" y="405"/>
                  </a:cubicBezTo>
                  <a:cubicBezTo>
                    <a:pt x="3816" y="406"/>
                    <a:pt x="3788" y="418"/>
                    <a:pt x="3788" y="418"/>
                  </a:cubicBezTo>
                  <a:cubicBezTo>
                    <a:pt x="3743" y="414"/>
                    <a:pt x="3743" y="414"/>
                    <a:pt x="3743" y="414"/>
                  </a:cubicBezTo>
                  <a:cubicBezTo>
                    <a:pt x="3743" y="414"/>
                    <a:pt x="3705" y="396"/>
                    <a:pt x="3702" y="392"/>
                  </a:cubicBezTo>
                  <a:cubicBezTo>
                    <a:pt x="3699" y="388"/>
                    <a:pt x="3692" y="398"/>
                    <a:pt x="3695" y="406"/>
                  </a:cubicBezTo>
                  <a:cubicBezTo>
                    <a:pt x="3698" y="414"/>
                    <a:pt x="3725" y="442"/>
                    <a:pt x="3709" y="443"/>
                  </a:cubicBezTo>
                  <a:cubicBezTo>
                    <a:pt x="3693" y="444"/>
                    <a:pt x="3614" y="415"/>
                    <a:pt x="3611" y="413"/>
                  </a:cubicBezTo>
                  <a:cubicBezTo>
                    <a:pt x="3608" y="411"/>
                    <a:pt x="3589" y="394"/>
                    <a:pt x="3589" y="394"/>
                  </a:cubicBezTo>
                  <a:cubicBezTo>
                    <a:pt x="3587" y="404"/>
                    <a:pt x="3587" y="404"/>
                    <a:pt x="3587" y="404"/>
                  </a:cubicBezTo>
                  <a:cubicBezTo>
                    <a:pt x="3550" y="393"/>
                    <a:pt x="3550" y="393"/>
                    <a:pt x="3550" y="393"/>
                  </a:cubicBezTo>
                  <a:cubicBezTo>
                    <a:pt x="3533" y="381"/>
                    <a:pt x="3533" y="381"/>
                    <a:pt x="3533" y="381"/>
                  </a:cubicBezTo>
                  <a:cubicBezTo>
                    <a:pt x="3533" y="381"/>
                    <a:pt x="3571" y="391"/>
                    <a:pt x="3577" y="386"/>
                  </a:cubicBezTo>
                  <a:cubicBezTo>
                    <a:pt x="3583" y="381"/>
                    <a:pt x="3554" y="367"/>
                    <a:pt x="3554" y="367"/>
                  </a:cubicBezTo>
                  <a:cubicBezTo>
                    <a:pt x="3531" y="367"/>
                    <a:pt x="3531" y="367"/>
                    <a:pt x="3531" y="367"/>
                  </a:cubicBezTo>
                  <a:cubicBezTo>
                    <a:pt x="3531" y="367"/>
                    <a:pt x="3542" y="361"/>
                    <a:pt x="3535" y="356"/>
                  </a:cubicBezTo>
                  <a:cubicBezTo>
                    <a:pt x="3528" y="351"/>
                    <a:pt x="3508" y="351"/>
                    <a:pt x="3508" y="351"/>
                  </a:cubicBezTo>
                  <a:cubicBezTo>
                    <a:pt x="3516" y="342"/>
                    <a:pt x="3516" y="342"/>
                    <a:pt x="3516" y="342"/>
                  </a:cubicBezTo>
                  <a:cubicBezTo>
                    <a:pt x="3516" y="342"/>
                    <a:pt x="3484" y="333"/>
                    <a:pt x="3480" y="333"/>
                  </a:cubicBezTo>
                  <a:cubicBezTo>
                    <a:pt x="3476" y="333"/>
                    <a:pt x="3461" y="323"/>
                    <a:pt x="3461" y="323"/>
                  </a:cubicBezTo>
                  <a:cubicBezTo>
                    <a:pt x="3430" y="323"/>
                    <a:pt x="3430" y="323"/>
                    <a:pt x="3430" y="323"/>
                  </a:cubicBezTo>
                  <a:cubicBezTo>
                    <a:pt x="3430" y="323"/>
                    <a:pt x="3439" y="326"/>
                    <a:pt x="3416" y="327"/>
                  </a:cubicBezTo>
                  <a:cubicBezTo>
                    <a:pt x="3393" y="328"/>
                    <a:pt x="3378" y="320"/>
                    <a:pt x="3378" y="320"/>
                  </a:cubicBezTo>
                  <a:cubicBezTo>
                    <a:pt x="3364" y="326"/>
                    <a:pt x="3364" y="326"/>
                    <a:pt x="3364" y="326"/>
                  </a:cubicBezTo>
                  <a:cubicBezTo>
                    <a:pt x="3362" y="317"/>
                    <a:pt x="3362" y="317"/>
                    <a:pt x="3362" y="317"/>
                  </a:cubicBezTo>
                  <a:cubicBezTo>
                    <a:pt x="3330" y="311"/>
                    <a:pt x="3330" y="311"/>
                    <a:pt x="3330" y="311"/>
                  </a:cubicBezTo>
                  <a:cubicBezTo>
                    <a:pt x="3323" y="305"/>
                    <a:pt x="3323" y="305"/>
                    <a:pt x="3323" y="305"/>
                  </a:cubicBezTo>
                  <a:cubicBezTo>
                    <a:pt x="3318" y="318"/>
                    <a:pt x="3318" y="318"/>
                    <a:pt x="3318" y="318"/>
                  </a:cubicBezTo>
                  <a:cubicBezTo>
                    <a:pt x="3309" y="319"/>
                    <a:pt x="3309" y="319"/>
                    <a:pt x="3309" y="319"/>
                  </a:cubicBezTo>
                  <a:cubicBezTo>
                    <a:pt x="3327" y="334"/>
                    <a:pt x="3327" y="334"/>
                    <a:pt x="3327" y="334"/>
                  </a:cubicBezTo>
                  <a:cubicBezTo>
                    <a:pt x="3344" y="354"/>
                    <a:pt x="3344" y="354"/>
                    <a:pt x="3344" y="354"/>
                  </a:cubicBezTo>
                  <a:cubicBezTo>
                    <a:pt x="3310" y="350"/>
                    <a:pt x="3310" y="350"/>
                    <a:pt x="3310" y="350"/>
                  </a:cubicBezTo>
                  <a:cubicBezTo>
                    <a:pt x="3306" y="344"/>
                    <a:pt x="3306" y="344"/>
                    <a:pt x="3306" y="344"/>
                  </a:cubicBezTo>
                  <a:cubicBezTo>
                    <a:pt x="3262" y="347"/>
                    <a:pt x="3262" y="347"/>
                    <a:pt x="3262" y="347"/>
                  </a:cubicBezTo>
                  <a:cubicBezTo>
                    <a:pt x="3251" y="351"/>
                    <a:pt x="3251" y="351"/>
                    <a:pt x="3251" y="351"/>
                  </a:cubicBezTo>
                  <a:cubicBezTo>
                    <a:pt x="3250" y="343"/>
                    <a:pt x="3250" y="343"/>
                    <a:pt x="3250" y="343"/>
                  </a:cubicBezTo>
                  <a:cubicBezTo>
                    <a:pt x="3221" y="349"/>
                    <a:pt x="3221" y="349"/>
                    <a:pt x="3221" y="349"/>
                  </a:cubicBezTo>
                  <a:cubicBezTo>
                    <a:pt x="3216" y="341"/>
                    <a:pt x="3216" y="341"/>
                    <a:pt x="3216" y="341"/>
                  </a:cubicBezTo>
                  <a:cubicBezTo>
                    <a:pt x="3178" y="342"/>
                    <a:pt x="3178" y="342"/>
                    <a:pt x="3178" y="342"/>
                  </a:cubicBezTo>
                  <a:cubicBezTo>
                    <a:pt x="3156" y="335"/>
                    <a:pt x="3156" y="335"/>
                    <a:pt x="3156" y="335"/>
                  </a:cubicBezTo>
                  <a:cubicBezTo>
                    <a:pt x="3167" y="321"/>
                    <a:pt x="3167" y="321"/>
                    <a:pt x="3167" y="321"/>
                  </a:cubicBezTo>
                  <a:cubicBezTo>
                    <a:pt x="3082" y="320"/>
                    <a:pt x="3082" y="320"/>
                    <a:pt x="3082" y="320"/>
                  </a:cubicBezTo>
                  <a:cubicBezTo>
                    <a:pt x="3077" y="314"/>
                    <a:pt x="3077" y="314"/>
                    <a:pt x="3077" y="314"/>
                  </a:cubicBezTo>
                  <a:cubicBezTo>
                    <a:pt x="3071" y="317"/>
                    <a:pt x="3071" y="317"/>
                    <a:pt x="3071" y="317"/>
                  </a:cubicBezTo>
                  <a:cubicBezTo>
                    <a:pt x="3065" y="313"/>
                    <a:pt x="3065" y="313"/>
                    <a:pt x="3065" y="313"/>
                  </a:cubicBezTo>
                  <a:cubicBezTo>
                    <a:pt x="3030" y="315"/>
                    <a:pt x="3030" y="315"/>
                    <a:pt x="3030" y="315"/>
                  </a:cubicBezTo>
                  <a:cubicBezTo>
                    <a:pt x="3034" y="323"/>
                    <a:pt x="3034" y="323"/>
                    <a:pt x="3034" y="323"/>
                  </a:cubicBezTo>
                  <a:cubicBezTo>
                    <a:pt x="2997" y="319"/>
                    <a:pt x="2997" y="319"/>
                    <a:pt x="2997" y="319"/>
                  </a:cubicBezTo>
                  <a:cubicBezTo>
                    <a:pt x="2987" y="324"/>
                    <a:pt x="2987" y="324"/>
                    <a:pt x="2987" y="324"/>
                  </a:cubicBezTo>
                  <a:cubicBezTo>
                    <a:pt x="3008" y="331"/>
                    <a:pt x="3008" y="331"/>
                    <a:pt x="3008" y="331"/>
                  </a:cubicBezTo>
                  <a:cubicBezTo>
                    <a:pt x="2981" y="330"/>
                    <a:pt x="2981" y="330"/>
                    <a:pt x="2981" y="330"/>
                  </a:cubicBezTo>
                  <a:cubicBezTo>
                    <a:pt x="2978" y="318"/>
                    <a:pt x="2978" y="318"/>
                    <a:pt x="2978" y="318"/>
                  </a:cubicBezTo>
                  <a:cubicBezTo>
                    <a:pt x="2961" y="303"/>
                    <a:pt x="2961" y="303"/>
                    <a:pt x="2961" y="303"/>
                  </a:cubicBezTo>
                  <a:cubicBezTo>
                    <a:pt x="2947" y="303"/>
                    <a:pt x="2947" y="303"/>
                    <a:pt x="2947" y="303"/>
                  </a:cubicBezTo>
                  <a:cubicBezTo>
                    <a:pt x="2954" y="318"/>
                    <a:pt x="2954" y="318"/>
                    <a:pt x="2954" y="318"/>
                  </a:cubicBezTo>
                  <a:cubicBezTo>
                    <a:pt x="2919" y="318"/>
                    <a:pt x="2919" y="318"/>
                    <a:pt x="2919" y="318"/>
                  </a:cubicBezTo>
                  <a:cubicBezTo>
                    <a:pt x="2915" y="313"/>
                    <a:pt x="2915" y="313"/>
                    <a:pt x="2915" y="313"/>
                  </a:cubicBezTo>
                  <a:cubicBezTo>
                    <a:pt x="2906" y="313"/>
                    <a:pt x="2906" y="313"/>
                    <a:pt x="2906" y="313"/>
                  </a:cubicBezTo>
                  <a:cubicBezTo>
                    <a:pt x="2902" y="303"/>
                    <a:pt x="2902" y="303"/>
                    <a:pt x="2902" y="303"/>
                  </a:cubicBezTo>
                  <a:cubicBezTo>
                    <a:pt x="2893" y="303"/>
                    <a:pt x="2893" y="303"/>
                    <a:pt x="2893" y="303"/>
                  </a:cubicBezTo>
                  <a:cubicBezTo>
                    <a:pt x="2882" y="306"/>
                    <a:pt x="2882" y="306"/>
                    <a:pt x="2882" y="306"/>
                  </a:cubicBezTo>
                  <a:cubicBezTo>
                    <a:pt x="2866" y="298"/>
                    <a:pt x="2866" y="298"/>
                    <a:pt x="2866" y="298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82" y="316"/>
                    <a:pt x="2882" y="316"/>
                    <a:pt x="2882" y="316"/>
                  </a:cubicBezTo>
                  <a:cubicBezTo>
                    <a:pt x="2890" y="317"/>
                    <a:pt x="2890" y="317"/>
                    <a:pt x="2890" y="317"/>
                  </a:cubicBezTo>
                  <a:cubicBezTo>
                    <a:pt x="2890" y="317"/>
                    <a:pt x="2877" y="328"/>
                    <a:pt x="2870" y="328"/>
                  </a:cubicBezTo>
                  <a:cubicBezTo>
                    <a:pt x="2863" y="328"/>
                    <a:pt x="2858" y="327"/>
                    <a:pt x="2852" y="329"/>
                  </a:cubicBezTo>
                  <a:cubicBezTo>
                    <a:pt x="2846" y="331"/>
                    <a:pt x="2844" y="337"/>
                    <a:pt x="2839" y="337"/>
                  </a:cubicBezTo>
                  <a:cubicBezTo>
                    <a:pt x="2834" y="337"/>
                    <a:pt x="2790" y="338"/>
                    <a:pt x="2790" y="338"/>
                  </a:cubicBezTo>
                  <a:cubicBezTo>
                    <a:pt x="2768" y="341"/>
                    <a:pt x="2768" y="341"/>
                    <a:pt x="2768" y="341"/>
                  </a:cubicBezTo>
                  <a:cubicBezTo>
                    <a:pt x="2758" y="358"/>
                    <a:pt x="2758" y="358"/>
                    <a:pt x="2758" y="358"/>
                  </a:cubicBezTo>
                  <a:cubicBezTo>
                    <a:pt x="2742" y="354"/>
                    <a:pt x="2742" y="354"/>
                    <a:pt x="2742" y="354"/>
                  </a:cubicBezTo>
                  <a:cubicBezTo>
                    <a:pt x="2742" y="354"/>
                    <a:pt x="2745" y="338"/>
                    <a:pt x="2753" y="334"/>
                  </a:cubicBezTo>
                  <a:cubicBezTo>
                    <a:pt x="2761" y="330"/>
                    <a:pt x="2773" y="330"/>
                    <a:pt x="2773" y="330"/>
                  </a:cubicBezTo>
                  <a:cubicBezTo>
                    <a:pt x="2778" y="319"/>
                    <a:pt x="2778" y="319"/>
                    <a:pt x="2778" y="319"/>
                  </a:cubicBezTo>
                  <a:cubicBezTo>
                    <a:pt x="2806" y="316"/>
                    <a:pt x="2806" y="316"/>
                    <a:pt x="2806" y="316"/>
                  </a:cubicBezTo>
                  <a:cubicBezTo>
                    <a:pt x="2836" y="294"/>
                    <a:pt x="2836" y="294"/>
                    <a:pt x="2836" y="294"/>
                  </a:cubicBezTo>
                  <a:cubicBezTo>
                    <a:pt x="2836" y="294"/>
                    <a:pt x="2835" y="281"/>
                    <a:pt x="2847" y="276"/>
                  </a:cubicBezTo>
                  <a:cubicBezTo>
                    <a:pt x="2859" y="271"/>
                    <a:pt x="2908" y="272"/>
                    <a:pt x="2906" y="254"/>
                  </a:cubicBezTo>
                  <a:cubicBezTo>
                    <a:pt x="2904" y="236"/>
                    <a:pt x="2889" y="232"/>
                    <a:pt x="2889" y="232"/>
                  </a:cubicBezTo>
                  <a:cubicBezTo>
                    <a:pt x="2862" y="234"/>
                    <a:pt x="2862" y="234"/>
                    <a:pt x="2862" y="234"/>
                  </a:cubicBezTo>
                  <a:cubicBezTo>
                    <a:pt x="2885" y="224"/>
                    <a:pt x="2885" y="224"/>
                    <a:pt x="2885" y="224"/>
                  </a:cubicBezTo>
                  <a:cubicBezTo>
                    <a:pt x="2885" y="224"/>
                    <a:pt x="2865" y="209"/>
                    <a:pt x="2860" y="210"/>
                  </a:cubicBezTo>
                  <a:cubicBezTo>
                    <a:pt x="2855" y="211"/>
                    <a:pt x="2838" y="212"/>
                    <a:pt x="2838" y="212"/>
                  </a:cubicBezTo>
                  <a:cubicBezTo>
                    <a:pt x="2838" y="212"/>
                    <a:pt x="2832" y="196"/>
                    <a:pt x="2819" y="196"/>
                  </a:cubicBezTo>
                  <a:cubicBezTo>
                    <a:pt x="2806" y="196"/>
                    <a:pt x="2792" y="201"/>
                    <a:pt x="2792" y="201"/>
                  </a:cubicBezTo>
                  <a:cubicBezTo>
                    <a:pt x="2756" y="192"/>
                    <a:pt x="2756" y="192"/>
                    <a:pt x="2756" y="192"/>
                  </a:cubicBezTo>
                  <a:cubicBezTo>
                    <a:pt x="2662" y="189"/>
                    <a:pt x="2662" y="189"/>
                    <a:pt x="2662" y="189"/>
                  </a:cubicBezTo>
                  <a:cubicBezTo>
                    <a:pt x="2665" y="201"/>
                    <a:pt x="2665" y="201"/>
                    <a:pt x="2665" y="201"/>
                  </a:cubicBezTo>
                  <a:cubicBezTo>
                    <a:pt x="2620" y="201"/>
                    <a:pt x="2620" y="201"/>
                    <a:pt x="2620" y="201"/>
                  </a:cubicBezTo>
                  <a:cubicBezTo>
                    <a:pt x="2620" y="201"/>
                    <a:pt x="2639" y="184"/>
                    <a:pt x="2627" y="179"/>
                  </a:cubicBezTo>
                  <a:cubicBezTo>
                    <a:pt x="2615" y="174"/>
                    <a:pt x="2564" y="180"/>
                    <a:pt x="2564" y="180"/>
                  </a:cubicBezTo>
                  <a:cubicBezTo>
                    <a:pt x="2523" y="176"/>
                    <a:pt x="2523" y="176"/>
                    <a:pt x="2523" y="176"/>
                  </a:cubicBezTo>
                  <a:cubicBezTo>
                    <a:pt x="2523" y="176"/>
                    <a:pt x="2570" y="174"/>
                    <a:pt x="2564" y="165"/>
                  </a:cubicBezTo>
                  <a:cubicBezTo>
                    <a:pt x="2558" y="156"/>
                    <a:pt x="2511" y="155"/>
                    <a:pt x="2511" y="155"/>
                  </a:cubicBezTo>
                  <a:cubicBezTo>
                    <a:pt x="2483" y="151"/>
                    <a:pt x="2483" y="151"/>
                    <a:pt x="2483" y="151"/>
                  </a:cubicBezTo>
                  <a:cubicBezTo>
                    <a:pt x="2480" y="161"/>
                    <a:pt x="2480" y="161"/>
                    <a:pt x="2480" y="161"/>
                  </a:cubicBezTo>
                  <a:cubicBezTo>
                    <a:pt x="2480" y="161"/>
                    <a:pt x="2431" y="159"/>
                    <a:pt x="2435" y="173"/>
                  </a:cubicBezTo>
                  <a:cubicBezTo>
                    <a:pt x="2439" y="187"/>
                    <a:pt x="2485" y="202"/>
                    <a:pt x="2485" y="202"/>
                  </a:cubicBezTo>
                  <a:cubicBezTo>
                    <a:pt x="2389" y="196"/>
                    <a:pt x="2389" y="196"/>
                    <a:pt x="2389" y="196"/>
                  </a:cubicBezTo>
                  <a:cubicBezTo>
                    <a:pt x="2423" y="210"/>
                    <a:pt x="2423" y="210"/>
                    <a:pt x="2423" y="210"/>
                  </a:cubicBezTo>
                  <a:cubicBezTo>
                    <a:pt x="2388" y="215"/>
                    <a:pt x="2388" y="215"/>
                    <a:pt x="2388" y="215"/>
                  </a:cubicBezTo>
                  <a:cubicBezTo>
                    <a:pt x="2388" y="215"/>
                    <a:pt x="2331" y="233"/>
                    <a:pt x="2321" y="227"/>
                  </a:cubicBezTo>
                  <a:cubicBezTo>
                    <a:pt x="2311" y="221"/>
                    <a:pt x="2326" y="209"/>
                    <a:pt x="2326" y="209"/>
                  </a:cubicBezTo>
                  <a:cubicBezTo>
                    <a:pt x="2326" y="209"/>
                    <a:pt x="2278" y="209"/>
                    <a:pt x="2269" y="211"/>
                  </a:cubicBezTo>
                  <a:cubicBezTo>
                    <a:pt x="2260" y="213"/>
                    <a:pt x="2246" y="225"/>
                    <a:pt x="2246" y="225"/>
                  </a:cubicBezTo>
                  <a:cubicBezTo>
                    <a:pt x="2246" y="225"/>
                    <a:pt x="2183" y="230"/>
                    <a:pt x="2168" y="233"/>
                  </a:cubicBezTo>
                  <a:cubicBezTo>
                    <a:pt x="2153" y="236"/>
                    <a:pt x="2120" y="243"/>
                    <a:pt x="2120" y="243"/>
                  </a:cubicBezTo>
                  <a:cubicBezTo>
                    <a:pt x="2091" y="266"/>
                    <a:pt x="2091" y="266"/>
                    <a:pt x="2091" y="266"/>
                  </a:cubicBezTo>
                  <a:cubicBezTo>
                    <a:pt x="2091" y="266"/>
                    <a:pt x="2059" y="264"/>
                    <a:pt x="2073" y="278"/>
                  </a:cubicBezTo>
                  <a:cubicBezTo>
                    <a:pt x="2087" y="292"/>
                    <a:pt x="2112" y="302"/>
                    <a:pt x="2112" y="302"/>
                  </a:cubicBezTo>
                  <a:cubicBezTo>
                    <a:pt x="2082" y="308"/>
                    <a:pt x="2082" y="308"/>
                    <a:pt x="2082" y="308"/>
                  </a:cubicBezTo>
                  <a:cubicBezTo>
                    <a:pt x="2068" y="317"/>
                    <a:pt x="2068" y="317"/>
                    <a:pt x="2068" y="317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1996" y="320"/>
                    <a:pt x="1996" y="320"/>
                    <a:pt x="1996" y="320"/>
                  </a:cubicBezTo>
                  <a:cubicBezTo>
                    <a:pt x="1971" y="311"/>
                    <a:pt x="1971" y="311"/>
                    <a:pt x="1971" y="311"/>
                  </a:cubicBezTo>
                  <a:cubicBezTo>
                    <a:pt x="1960" y="318"/>
                    <a:pt x="1960" y="318"/>
                    <a:pt x="1960" y="318"/>
                  </a:cubicBezTo>
                  <a:cubicBezTo>
                    <a:pt x="1960" y="318"/>
                    <a:pt x="1922" y="314"/>
                    <a:pt x="1920" y="322"/>
                  </a:cubicBezTo>
                  <a:cubicBezTo>
                    <a:pt x="1918" y="330"/>
                    <a:pt x="1919" y="345"/>
                    <a:pt x="1930" y="347"/>
                  </a:cubicBezTo>
                  <a:cubicBezTo>
                    <a:pt x="1941" y="349"/>
                    <a:pt x="1947" y="365"/>
                    <a:pt x="1947" y="365"/>
                  </a:cubicBezTo>
                  <a:cubicBezTo>
                    <a:pt x="1947" y="365"/>
                    <a:pt x="1982" y="375"/>
                    <a:pt x="1991" y="375"/>
                  </a:cubicBezTo>
                  <a:cubicBezTo>
                    <a:pt x="2000" y="375"/>
                    <a:pt x="2019" y="380"/>
                    <a:pt x="2026" y="383"/>
                  </a:cubicBezTo>
                  <a:cubicBezTo>
                    <a:pt x="2033" y="386"/>
                    <a:pt x="2049" y="402"/>
                    <a:pt x="2038" y="402"/>
                  </a:cubicBezTo>
                  <a:cubicBezTo>
                    <a:pt x="2027" y="402"/>
                    <a:pt x="2003" y="404"/>
                    <a:pt x="2003" y="404"/>
                  </a:cubicBezTo>
                  <a:cubicBezTo>
                    <a:pt x="2003" y="404"/>
                    <a:pt x="1957" y="384"/>
                    <a:pt x="1941" y="380"/>
                  </a:cubicBezTo>
                  <a:cubicBezTo>
                    <a:pt x="1925" y="376"/>
                    <a:pt x="1901" y="373"/>
                    <a:pt x="1893" y="373"/>
                  </a:cubicBezTo>
                  <a:cubicBezTo>
                    <a:pt x="1885" y="373"/>
                    <a:pt x="1864" y="371"/>
                    <a:pt x="1866" y="379"/>
                  </a:cubicBezTo>
                  <a:cubicBezTo>
                    <a:pt x="1868" y="387"/>
                    <a:pt x="1894" y="397"/>
                    <a:pt x="1877" y="398"/>
                  </a:cubicBezTo>
                  <a:cubicBezTo>
                    <a:pt x="1860" y="399"/>
                    <a:pt x="1854" y="387"/>
                    <a:pt x="1844" y="387"/>
                  </a:cubicBezTo>
                  <a:cubicBezTo>
                    <a:pt x="1834" y="387"/>
                    <a:pt x="1820" y="377"/>
                    <a:pt x="1819" y="390"/>
                  </a:cubicBezTo>
                  <a:cubicBezTo>
                    <a:pt x="1818" y="403"/>
                    <a:pt x="1832" y="416"/>
                    <a:pt x="1847" y="415"/>
                  </a:cubicBezTo>
                  <a:cubicBezTo>
                    <a:pt x="1862" y="414"/>
                    <a:pt x="1885" y="421"/>
                    <a:pt x="1895" y="421"/>
                  </a:cubicBezTo>
                  <a:cubicBezTo>
                    <a:pt x="1905" y="421"/>
                    <a:pt x="1921" y="437"/>
                    <a:pt x="1921" y="437"/>
                  </a:cubicBezTo>
                  <a:cubicBezTo>
                    <a:pt x="1900" y="437"/>
                    <a:pt x="1900" y="437"/>
                    <a:pt x="1900" y="437"/>
                  </a:cubicBezTo>
                  <a:cubicBezTo>
                    <a:pt x="1900" y="437"/>
                    <a:pt x="1894" y="427"/>
                    <a:pt x="1880" y="427"/>
                  </a:cubicBezTo>
                  <a:cubicBezTo>
                    <a:pt x="1866" y="427"/>
                    <a:pt x="1823" y="425"/>
                    <a:pt x="1823" y="425"/>
                  </a:cubicBezTo>
                  <a:cubicBezTo>
                    <a:pt x="1820" y="417"/>
                    <a:pt x="1820" y="417"/>
                    <a:pt x="1820" y="417"/>
                  </a:cubicBezTo>
                  <a:cubicBezTo>
                    <a:pt x="1803" y="417"/>
                    <a:pt x="1803" y="417"/>
                    <a:pt x="1803" y="417"/>
                  </a:cubicBezTo>
                  <a:cubicBezTo>
                    <a:pt x="1800" y="406"/>
                    <a:pt x="1800" y="406"/>
                    <a:pt x="1800" y="406"/>
                  </a:cubicBezTo>
                  <a:cubicBezTo>
                    <a:pt x="1778" y="395"/>
                    <a:pt x="1778" y="395"/>
                    <a:pt x="1778" y="395"/>
                  </a:cubicBezTo>
                  <a:cubicBezTo>
                    <a:pt x="1778" y="395"/>
                    <a:pt x="1803" y="383"/>
                    <a:pt x="1793" y="374"/>
                  </a:cubicBezTo>
                  <a:cubicBezTo>
                    <a:pt x="1783" y="365"/>
                    <a:pt x="1769" y="354"/>
                    <a:pt x="1769" y="354"/>
                  </a:cubicBezTo>
                  <a:cubicBezTo>
                    <a:pt x="1748" y="353"/>
                    <a:pt x="1748" y="353"/>
                    <a:pt x="1748" y="353"/>
                  </a:cubicBezTo>
                  <a:cubicBezTo>
                    <a:pt x="1748" y="353"/>
                    <a:pt x="1778" y="370"/>
                    <a:pt x="1769" y="378"/>
                  </a:cubicBezTo>
                  <a:cubicBezTo>
                    <a:pt x="1760" y="386"/>
                    <a:pt x="1740" y="389"/>
                    <a:pt x="1740" y="389"/>
                  </a:cubicBezTo>
                  <a:cubicBezTo>
                    <a:pt x="1727" y="416"/>
                    <a:pt x="1727" y="416"/>
                    <a:pt x="1727" y="416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776" y="441"/>
                    <a:pt x="1789" y="436"/>
                    <a:pt x="1789" y="442"/>
                  </a:cubicBezTo>
                  <a:cubicBezTo>
                    <a:pt x="1789" y="448"/>
                    <a:pt x="1782" y="479"/>
                    <a:pt x="1782" y="479"/>
                  </a:cubicBezTo>
                  <a:cubicBezTo>
                    <a:pt x="1789" y="492"/>
                    <a:pt x="1789" y="492"/>
                    <a:pt x="1789" y="492"/>
                  </a:cubicBezTo>
                  <a:cubicBezTo>
                    <a:pt x="1813" y="496"/>
                    <a:pt x="1813" y="496"/>
                    <a:pt x="1813" y="496"/>
                  </a:cubicBezTo>
                  <a:cubicBezTo>
                    <a:pt x="1812" y="514"/>
                    <a:pt x="1812" y="514"/>
                    <a:pt x="1812" y="514"/>
                  </a:cubicBezTo>
                  <a:cubicBezTo>
                    <a:pt x="1852" y="522"/>
                    <a:pt x="1852" y="522"/>
                    <a:pt x="1852" y="522"/>
                  </a:cubicBezTo>
                  <a:cubicBezTo>
                    <a:pt x="1852" y="522"/>
                    <a:pt x="1882" y="510"/>
                    <a:pt x="1896" y="511"/>
                  </a:cubicBezTo>
                  <a:cubicBezTo>
                    <a:pt x="1910" y="512"/>
                    <a:pt x="1928" y="524"/>
                    <a:pt x="1928" y="524"/>
                  </a:cubicBezTo>
                  <a:cubicBezTo>
                    <a:pt x="1928" y="524"/>
                    <a:pt x="1957" y="528"/>
                    <a:pt x="1970" y="537"/>
                  </a:cubicBezTo>
                  <a:cubicBezTo>
                    <a:pt x="1983" y="546"/>
                    <a:pt x="1986" y="557"/>
                    <a:pt x="1986" y="557"/>
                  </a:cubicBezTo>
                  <a:cubicBezTo>
                    <a:pt x="1986" y="557"/>
                    <a:pt x="1953" y="561"/>
                    <a:pt x="1966" y="569"/>
                  </a:cubicBezTo>
                  <a:cubicBezTo>
                    <a:pt x="1979" y="577"/>
                    <a:pt x="1993" y="584"/>
                    <a:pt x="1993" y="584"/>
                  </a:cubicBezTo>
                  <a:cubicBezTo>
                    <a:pt x="2021" y="583"/>
                    <a:pt x="2021" y="583"/>
                    <a:pt x="2021" y="583"/>
                  </a:cubicBezTo>
                  <a:cubicBezTo>
                    <a:pt x="2021" y="583"/>
                    <a:pt x="2005" y="591"/>
                    <a:pt x="1992" y="591"/>
                  </a:cubicBezTo>
                  <a:cubicBezTo>
                    <a:pt x="1979" y="591"/>
                    <a:pt x="1963" y="582"/>
                    <a:pt x="1963" y="582"/>
                  </a:cubicBezTo>
                  <a:cubicBezTo>
                    <a:pt x="1963" y="582"/>
                    <a:pt x="1964" y="559"/>
                    <a:pt x="1949" y="550"/>
                  </a:cubicBezTo>
                  <a:cubicBezTo>
                    <a:pt x="1934" y="541"/>
                    <a:pt x="1922" y="536"/>
                    <a:pt x="1922" y="536"/>
                  </a:cubicBezTo>
                  <a:cubicBezTo>
                    <a:pt x="1922" y="536"/>
                    <a:pt x="1918" y="521"/>
                    <a:pt x="1906" y="522"/>
                  </a:cubicBezTo>
                  <a:cubicBezTo>
                    <a:pt x="1894" y="523"/>
                    <a:pt x="1862" y="529"/>
                    <a:pt x="1862" y="529"/>
                  </a:cubicBezTo>
                  <a:cubicBezTo>
                    <a:pt x="1862" y="529"/>
                    <a:pt x="1844" y="531"/>
                    <a:pt x="1845" y="542"/>
                  </a:cubicBezTo>
                  <a:cubicBezTo>
                    <a:pt x="1846" y="553"/>
                    <a:pt x="1878" y="571"/>
                    <a:pt x="1878" y="575"/>
                  </a:cubicBezTo>
                  <a:cubicBezTo>
                    <a:pt x="1878" y="579"/>
                    <a:pt x="1859" y="591"/>
                    <a:pt x="1859" y="591"/>
                  </a:cubicBezTo>
                  <a:cubicBezTo>
                    <a:pt x="1857" y="620"/>
                    <a:pt x="1857" y="620"/>
                    <a:pt x="1857" y="620"/>
                  </a:cubicBezTo>
                  <a:cubicBezTo>
                    <a:pt x="1829" y="634"/>
                    <a:pt x="1829" y="634"/>
                    <a:pt x="1829" y="634"/>
                  </a:cubicBezTo>
                  <a:cubicBezTo>
                    <a:pt x="1829" y="634"/>
                    <a:pt x="1823" y="655"/>
                    <a:pt x="1810" y="649"/>
                  </a:cubicBezTo>
                  <a:cubicBezTo>
                    <a:pt x="1797" y="643"/>
                    <a:pt x="1771" y="645"/>
                    <a:pt x="1771" y="645"/>
                  </a:cubicBezTo>
                  <a:cubicBezTo>
                    <a:pt x="1733" y="641"/>
                    <a:pt x="1733" y="641"/>
                    <a:pt x="1733" y="641"/>
                  </a:cubicBezTo>
                  <a:cubicBezTo>
                    <a:pt x="1733" y="641"/>
                    <a:pt x="1690" y="626"/>
                    <a:pt x="1701" y="625"/>
                  </a:cubicBezTo>
                  <a:cubicBezTo>
                    <a:pt x="1712" y="624"/>
                    <a:pt x="1735" y="623"/>
                    <a:pt x="1735" y="623"/>
                  </a:cubicBezTo>
                  <a:cubicBezTo>
                    <a:pt x="1748" y="627"/>
                    <a:pt x="1748" y="627"/>
                    <a:pt x="1748" y="627"/>
                  </a:cubicBezTo>
                  <a:cubicBezTo>
                    <a:pt x="1763" y="616"/>
                    <a:pt x="1763" y="616"/>
                    <a:pt x="1763" y="616"/>
                  </a:cubicBezTo>
                  <a:cubicBezTo>
                    <a:pt x="1763" y="616"/>
                    <a:pt x="1801" y="625"/>
                    <a:pt x="1801" y="614"/>
                  </a:cubicBezTo>
                  <a:cubicBezTo>
                    <a:pt x="1801" y="603"/>
                    <a:pt x="1803" y="588"/>
                    <a:pt x="1803" y="588"/>
                  </a:cubicBezTo>
                  <a:cubicBezTo>
                    <a:pt x="1819" y="583"/>
                    <a:pt x="1819" y="583"/>
                    <a:pt x="1819" y="583"/>
                  </a:cubicBezTo>
                  <a:cubicBezTo>
                    <a:pt x="1821" y="569"/>
                    <a:pt x="1821" y="569"/>
                    <a:pt x="1821" y="569"/>
                  </a:cubicBezTo>
                  <a:cubicBezTo>
                    <a:pt x="1810" y="567"/>
                    <a:pt x="1810" y="567"/>
                    <a:pt x="1810" y="567"/>
                  </a:cubicBezTo>
                  <a:cubicBezTo>
                    <a:pt x="1810" y="567"/>
                    <a:pt x="1826" y="547"/>
                    <a:pt x="1816" y="543"/>
                  </a:cubicBezTo>
                  <a:cubicBezTo>
                    <a:pt x="1806" y="539"/>
                    <a:pt x="1763" y="541"/>
                    <a:pt x="1761" y="525"/>
                  </a:cubicBezTo>
                  <a:cubicBezTo>
                    <a:pt x="1759" y="509"/>
                    <a:pt x="1761" y="490"/>
                    <a:pt x="1752" y="485"/>
                  </a:cubicBezTo>
                  <a:cubicBezTo>
                    <a:pt x="1743" y="480"/>
                    <a:pt x="1730" y="464"/>
                    <a:pt x="1730" y="464"/>
                  </a:cubicBezTo>
                  <a:cubicBezTo>
                    <a:pt x="1726" y="440"/>
                    <a:pt x="1726" y="440"/>
                    <a:pt x="1726" y="440"/>
                  </a:cubicBezTo>
                  <a:cubicBezTo>
                    <a:pt x="1684" y="417"/>
                    <a:pt x="1684" y="417"/>
                    <a:pt x="1684" y="417"/>
                  </a:cubicBezTo>
                  <a:cubicBezTo>
                    <a:pt x="1684" y="417"/>
                    <a:pt x="1711" y="396"/>
                    <a:pt x="1697" y="376"/>
                  </a:cubicBezTo>
                  <a:cubicBezTo>
                    <a:pt x="1683" y="356"/>
                    <a:pt x="1651" y="356"/>
                    <a:pt x="1651" y="356"/>
                  </a:cubicBezTo>
                  <a:cubicBezTo>
                    <a:pt x="1562" y="348"/>
                    <a:pt x="1562" y="348"/>
                    <a:pt x="1562" y="348"/>
                  </a:cubicBezTo>
                  <a:cubicBezTo>
                    <a:pt x="1555" y="368"/>
                    <a:pt x="1555" y="368"/>
                    <a:pt x="1555" y="368"/>
                  </a:cubicBezTo>
                  <a:cubicBezTo>
                    <a:pt x="1566" y="379"/>
                    <a:pt x="1566" y="379"/>
                    <a:pt x="1566" y="379"/>
                  </a:cubicBezTo>
                  <a:cubicBezTo>
                    <a:pt x="1561" y="402"/>
                    <a:pt x="1561" y="402"/>
                    <a:pt x="1561" y="402"/>
                  </a:cubicBezTo>
                  <a:cubicBezTo>
                    <a:pt x="1523" y="418"/>
                    <a:pt x="1523" y="418"/>
                    <a:pt x="1523" y="418"/>
                  </a:cubicBezTo>
                  <a:cubicBezTo>
                    <a:pt x="1517" y="437"/>
                    <a:pt x="1517" y="437"/>
                    <a:pt x="1517" y="437"/>
                  </a:cubicBezTo>
                  <a:cubicBezTo>
                    <a:pt x="1538" y="439"/>
                    <a:pt x="1538" y="439"/>
                    <a:pt x="1538" y="439"/>
                  </a:cubicBezTo>
                  <a:cubicBezTo>
                    <a:pt x="1561" y="474"/>
                    <a:pt x="1561" y="474"/>
                    <a:pt x="1561" y="474"/>
                  </a:cubicBezTo>
                  <a:cubicBezTo>
                    <a:pt x="1552" y="486"/>
                    <a:pt x="1552" y="486"/>
                    <a:pt x="1552" y="486"/>
                  </a:cubicBezTo>
                  <a:cubicBezTo>
                    <a:pt x="1571" y="501"/>
                    <a:pt x="1571" y="501"/>
                    <a:pt x="1571" y="501"/>
                  </a:cubicBezTo>
                  <a:cubicBezTo>
                    <a:pt x="1594" y="495"/>
                    <a:pt x="1594" y="495"/>
                    <a:pt x="1594" y="495"/>
                  </a:cubicBezTo>
                  <a:cubicBezTo>
                    <a:pt x="1594" y="495"/>
                    <a:pt x="1612" y="516"/>
                    <a:pt x="1625" y="519"/>
                  </a:cubicBezTo>
                  <a:cubicBezTo>
                    <a:pt x="1638" y="522"/>
                    <a:pt x="1651" y="522"/>
                    <a:pt x="1651" y="522"/>
                  </a:cubicBezTo>
                  <a:cubicBezTo>
                    <a:pt x="1648" y="559"/>
                    <a:pt x="1648" y="559"/>
                    <a:pt x="1648" y="559"/>
                  </a:cubicBezTo>
                  <a:cubicBezTo>
                    <a:pt x="1635" y="545"/>
                    <a:pt x="1635" y="545"/>
                    <a:pt x="1635" y="545"/>
                  </a:cubicBezTo>
                  <a:cubicBezTo>
                    <a:pt x="1625" y="551"/>
                    <a:pt x="1625" y="551"/>
                    <a:pt x="1625" y="551"/>
                  </a:cubicBezTo>
                  <a:cubicBezTo>
                    <a:pt x="1625" y="551"/>
                    <a:pt x="1572" y="524"/>
                    <a:pt x="1556" y="521"/>
                  </a:cubicBezTo>
                  <a:cubicBezTo>
                    <a:pt x="1540" y="518"/>
                    <a:pt x="1516" y="520"/>
                    <a:pt x="1516" y="520"/>
                  </a:cubicBezTo>
                  <a:cubicBezTo>
                    <a:pt x="1505" y="508"/>
                    <a:pt x="1505" y="508"/>
                    <a:pt x="1505" y="508"/>
                  </a:cubicBezTo>
                  <a:cubicBezTo>
                    <a:pt x="1499" y="522"/>
                    <a:pt x="1499" y="522"/>
                    <a:pt x="1499" y="522"/>
                  </a:cubicBezTo>
                  <a:cubicBezTo>
                    <a:pt x="1483" y="504"/>
                    <a:pt x="1483" y="504"/>
                    <a:pt x="1483" y="504"/>
                  </a:cubicBezTo>
                  <a:cubicBezTo>
                    <a:pt x="1483" y="504"/>
                    <a:pt x="1441" y="490"/>
                    <a:pt x="1434" y="490"/>
                  </a:cubicBezTo>
                  <a:cubicBezTo>
                    <a:pt x="1427" y="490"/>
                    <a:pt x="1406" y="491"/>
                    <a:pt x="1406" y="491"/>
                  </a:cubicBezTo>
                  <a:cubicBezTo>
                    <a:pt x="1406" y="491"/>
                    <a:pt x="1357" y="485"/>
                    <a:pt x="1353" y="488"/>
                  </a:cubicBezTo>
                  <a:cubicBezTo>
                    <a:pt x="1349" y="491"/>
                    <a:pt x="1340" y="491"/>
                    <a:pt x="1340" y="499"/>
                  </a:cubicBezTo>
                  <a:cubicBezTo>
                    <a:pt x="1340" y="507"/>
                    <a:pt x="1366" y="521"/>
                    <a:pt x="1366" y="521"/>
                  </a:cubicBezTo>
                  <a:cubicBezTo>
                    <a:pt x="1353" y="541"/>
                    <a:pt x="1353" y="541"/>
                    <a:pt x="1353" y="541"/>
                  </a:cubicBezTo>
                  <a:cubicBezTo>
                    <a:pt x="1344" y="534"/>
                    <a:pt x="1344" y="534"/>
                    <a:pt x="1344" y="534"/>
                  </a:cubicBezTo>
                  <a:cubicBezTo>
                    <a:pt x="1344" y="551"/>
                    <a:pt x="1344" y="551"/>
                    <a:pt x="1344" y="551"/>
                  </a:cubicBezTo>
                  <a:cubicBezTo>
                    <a:pt x="1344" y="551"/>
                    <a:pt x="1320" y="550"/>
                    <a:pt x="1320" y="545"/>
                  </a:cubicBezTo>
                  <a:cubicBezTo>
                    <a:pt x="1320" y="540"/>
                    <a:pt x="1325" y="518"/>
                    <a:pt x="1311" y="519"/>
                  </a:cubicBezTo>
                  <a:cubicBezTo>
                    <a:pt x="1297" y="520"/>
                    <a:pt x="1261" y="543"/>
                    <a:pt x="1256" y="546"/>
                  </a:cubicBezTo>
                  <a:cubicBezTo>
                    <a:pt x="1251" y="549"/>
                    <a:pt x="1240" y="535"/>
                    <a:pt x="1219" y="537"/>
                  </a:cubicBezTo>
                  <a:cubicBezTo>
                    <a:pt x="1198" y="539"/>
                    <a:pt x="1174" y="550"/>
                    <a:pt x="1172" y="558"/>
                  </a:cubicBezTo>
                  <a:cubicBezTo>
                    <a:pt x="1170" y="566"/>
                    <a:pt x="1123" y="562"/>
                    <a:pt x="1123" y="562"/>
                  </a:cubicBezTo>
                  <a:cubicBezTo>
                    <a:pt x="1131" y="545"/>
                    <a:pt x="1131" y="545"/>
                    <a:pt x="1131" y="545"/>
                  </a:cubicBezTo>
                  <a:cubicBezTo>
                    <a:pt x="1130" y="521"/>
                    <a:pt x="1130" y="521"/>
                    <a:pt x="1130" y="521"/>
                  </a:cubicBezTo>
                  <a:cubicBezTo>
                    <a:pt x="1130" y="521"/>
                    <a:pt x="1086" y="529"/>
                    <a:pt x="1086" y="538"/>
                  </a:cubicBezTo>
                  <a:cubicBezTo>
                    <a:pt x="1086" y="547"/>
                    <a:pt x="1092" y="554"/>
                    <a:pt x="1092" y="554"/>
                  </a:cubicBezTo>
                  <a:cubicBezTo>
                    <a:pt x="1074" y="555"/>
                    <a:pt x="1074" y="555"/>
                    <a:pt x="1074" y="555"/>
                  </a:cubicBezTo>
                  <a:cubicBezTo>
                    <a:pt x="1074" y="540"/>
                    <a:pt x="1074" y="540"/>
                    <a:pt x="1074" y="540"/>
                  </a:cubicBezTo>
                  <a:cubicBezTo>
                    <a:pt x="1060" y="545"/>
                    <a:pt x="1060" y="545"/>
                    <a:pt x="1060" y="545"/>
                  </a:cubicBezTo>
                  <a:cubicBezTo>
                    <a:pt x="1025" y="548"/>
                    <a:pt x="1025" y="548"/>
                    <a:pt x="1025" y="548"/>
                  </a:cubicBezTo>
                  <a:cubicBezTo>
                    <a:pt x="996" y="568"/>
                    <a:pt x="996" y="568"/>
                    <a:pt x="996" y="568"/>
                  </a:cubicBezTo>
                  <a:cubicBezTo>
                    <a:pt x="963" y="571"/>
                    <a:pt x="963" y="571"/>
                    <a:pt x="963" y="571"/>
                  </a:cubicBezTo>
                  <a:cubicBezTo>
                    <a:pt x="970" y="584"/>
                    <a:pt x="970" y="584"/>
                    <a:pt x="970" y="584"/>
                  </a:cubicBezTo>
                  <a:cubicBezTo>
                    <a:pt x="970" y="584"/>
                    <a:pt x="944" y="578"/>
                    <a:pt x="941" y="589"/>
                  </a:cubicBezTo>
                  <a:cubicBezTo>
                    <a:pt x="938" y="600"/>
                    <a:pt x="941" y="615"/>
                    <a:pt x="941" y="615"/>
                  </a:cubicBezTo>
                  <a:cubicBezTo>
                    <a:pt x="890" y="621"/>
                    <a:pt x="890" y="621"/>
                    <a:pt x="890" y="621"/>
                  </a:cubicBezTo>
                  <a:cubicBezTo>
                    <a:pt x="890" y="621"/>
                    <a:pt x="875" y="610"/>
                    <a:pt x="870" y="609"/>
                  </a:cubicBezTo>
                  <a:cubicBezTo>
                    <a:pt x="865" y="608"/>
                    <a:pt x="843" y="614"/>
                    <a:pt x="843" y="600"/>
                  </a:cubicBezTo>
                  <a:cubicBezTo>
                    <a:pt x="843" y="586"/>
                    <a:pt x="843" y="569"/>
                    <a:pt x="860" y="575"/>
                  </a:cubicBezTo>
                  <a:cubicBezTo>
                    <a:pt x="877" y="581"/>
                    <a:pt x="898" y="575"/>
                    <a:pt x="898" y="575"/>
                  </a:cubicBezTo>
                  <a:cubicBezTo>
                    <a:pt x="898" y="575"/>
                    <a:pt x="860" y="544"/>
                    <a:pt x="854" y="541"/>
                  </a:cubicBezTo>
                  <a:cubicBezTo>
                    <a:pt x="848" y="538"/>
                    <a:pt x="773" y="539"/>
                    <a:pt x="773" y="539"/>
                  </a:cubicBezTo>
                  <a:cubicBezTo>
                    <a:pt x="779" y="548"/>
                    <a:pt x="779" y="548"/>
                    <a:pt x="779" y="548"/>
                  </a:cubicBezTo>
                  <a:cubicBezTo>
                    <a:pt x="779" y="548"/>
                    <a:pt x="810" y="543"/>
                    <a:pt x="805" y="563"/>
                  </a:cubicBezTo>
                  <a:cubicBezTo>
                    <a:pt x="800" y="583"/>
                    <a:pt x="790" y="612"/>
                    <a:pt x="797" y="612"/>
                  </a:cubicBezTo>
                  <a:cubicBezTo>
                    <a:pt x="804" y="612"/>
                    <a:pt x="830" y="620"/>
                    <a:pt x="830" y="620"/>
                  </a:cubicBezTo>
                  <a:cubicBezTo>
                    <a:pt x="828" y="645"/>
                    <a:pt x="828" y="645"/>
                    <a:pt x="828" y="645"/>
                  </a:cubicBezTo>
                  <a:cubicBezTo>
                    <a:pt x="834" y="664"/>
                    <a:pt x="834" y="664"/>
                    <a:pt x="834" y="664"/>
                  </a:cubicBezTo>
                  <a:cubicBezTo>
                    <a:pt x="813" y="650"/>
                    <a:pt x="813" y="650"/>
                    <a:pt x="813" y="650"/>
                  </a:cubicBezTo>
                  <a:cubicBezTo>
                    <a:pt x="798" y="666"/>
                    <a:pt x="798" y="666"/>
                    <a:pt x="798" y="666"/>
                  </a:cubicBezTo>
                  <a:cubicBezTo>
                    <a:pt x="795" y="644"/>
                    <a:pt x="795" y="644"/>
                    <a:pt x="795" y="644"/>
                  </a:cubicBezTo>
                  <a:cubicBezTo>
                    <a:pt x="749" y="632"/>
                    <a:pt x="749" y="632"/>
                    <a:pt x="749" y="632"/>
                  </a:cubicBezTo>
                  <a:cubicBezTo>
                    <a:pt x="729" y="657"/>
                    <a:pt x="729" y="657"/>
                    <a:pt x="729" y="657"/>
                  </a:cubicBezTo>
                  <a:cubicBezTo>
                    <a:pt x="711" y="658"/>
                    <a:pt x="711" y="658"/>
                    <a:pt x="711" y="658"/>
                  </a:cubicBezTo>
                  <a:cubicBezTo>
                    <a:pt x="711" y="658"/>
                    <a:pt x="705" y="669"/>
                    <a:pt x="695" y="673"/>
                  </a:cubicBezTo>
                  <a:cubicBezTo>
                    <a:pt x="685" y="677"/>
                    <a:pt x="665" y="681"/>
                    <a:pt x="673" y="688"/>
                  </a:cubicBezTo>
                  <a:cubicBezTo>
                    <a:pt x="681" y="695"/>
                    <a:pt x="713" y="718"/>
                    <a:pt x="713" y="718"/>
                  </a:cubicBezTo>
                  <a:cubicBezTo>
                    <a:pt x="725" y="735"/>
                    <a:pt x="725" y="735"/>
                    <a:pt x="725" y="735"/>
                  </a:cubicBezTo>
                  <a:cubicBezTo>
                    <a:pt x="705" y="726"/>
                    <a:pt x="705" y="726"/>
                    <a:pt x="705" y="726"/>
                  </a:cubicBezTo>
                  <a:cubicBezTo>
                    <a:pt x="705" y="726"/>
                    <a:pt x="687" y="736"/>
                    <a:pt x="674" y="730"/>
                  </a:cubicBezTo>
                  <a:cubicBezTo>
                    <a:pt x="661" y="724"/>
                    <a:pt x="618" y="717"/>
                    <a:pt x="618" y="717"/>
                  </a:cubicBezTo>
                  <a:cubicBezTo>
                    <a:pt x="618" y="717"/>
                    <a:pt x="612" y="693"/>
                    <a:pt x="597" y="699"/>
                  </a:cubicBezTo>
                  <a:cubicBezTo>
                    <a:pt x="582" y="705"/>
                    <a:pt x="574" y="711"/>
                    <a:pt x="574" y="711"/>
                  </a:cubicBezTo>
                  <a:cubicBezTo>
                    <a:pt x="562" y="712"/>
                    <a:pt x="562" y="712"/>
                    <a:pt x="562" y="712"/>
                  </a:cubicBezTo>
                  <a:cubicBezTo>
                    <a:pt x="592" y="738"/>
                    <a:pt x="592" y="738"/>
                    <a:pt x="592" y="738"/>
                  </a:cubicBezTo>
                  <a:cubicBezTo>
                    <a:pt x="592" y="738"/>
                    <a:pt x="632" y="739"/>
                    <a:pt x="632" y="746"/>
                  </a:cubicBezTo>
                  <a:cubicBezTo>
                    <a:pt x="632" y="753"/>
                    <a:pt x="614" y="764"/>
                    <a:pt x="614" y="764"/>
                  </a:cubicBezTo>
                  <a:cubicBezTo>
                    <a:pt x="572" y="754"/>
                    <a:pt x="572" y="754"/>
                    <a:pt x="572" y="754"/>
                  </a:cubicBezTo>
                  <a:cubicBezTo>
                    <a:pt x="572" y="754"/>
                    <a:pt x="557" y="740"/>
                    <a:pt x="547" y="739"/>
                  </a:cubicBezTo>
                  <a:cubicBezTo>
                    <a:pt x="537" y="738"/>
                    <a:pt x="511" y="749"/>
                    <a:pt x="509" y="735"/>
                  </a:cubicBezTo>
                  <a:cubicBezTo>
                    <a:pt x="507" y="721"/>
                    <a:pt x="508" y="705"/>
                    <a:pt x="508" y="705"/>
                  </a:cubicBezTo>
                  <a:cubicBezTo>
                    <a:pt x="495" y="697"/>
                    <a:pt x="495" y="697"/>
                    <a:pt x="495" y="697"/>
                  </a:cubicBezTo>
                  <a:cubicBezTo>
                    <a:pt x="495" y="697"/>
                    <a:pt x="516" y="679"/>
                    <a:pt x="508" y="670"/>
                  </a:cubicBezTo>
                  <a:cubicBezTo>
                    <a:pt x="500" y="661"/>
                    <a:pt x="444" y="646"/>
                    <a:pt x="444" y="646"/>
                  </a:cubicBezTo>
                  <a:cubicBezTo>
                    <a:pt x="424" y="631"/>
                    <a:pt x="424" y="631"/>
                    <a:pt x="424" y="631"/>
                  </a:cubicBezTo>
                  <a:cubicBezTo>
                    <a:pt x="408" y="620"/>
                    <a:pt x="408" y="620"/>
                    <a:pt x="408" y="620"/>
                  </a:cubicBezTo>
                  <a:cubicBezTo>
                    <a:pt x="398" y="610"/>
                    <a:pt x="398" y="610"/>
                    <a:pt x="398" y="610"/>
                  </a:cubicBezTo>
                  <a:cubicBezTo>
                    <a:pt x="424" y="609"/>
                    <a:pt x="424" y="609"/>
                    <a:pt x="424" y="609"/>
                  </a:cubicBezTo>
                  <a:cubicBezTo>
                    <a:pt x="424" y="609"/>
                    <a:pt x="419" y="618"/>
                    <a:pt x="438" y="622"/>
                  </a:cubicBezTo>
                  <a:cubicBezTo>
                    <a:pt x="457" y="626"/>
                    <a:pt x="482" y="623"/>
                    <a:pt x="482" y="623"/>
                  </a:cubicBezTo>
                  <a:cubicBezTo>
                    <a:pt x="482" y="623"/>
                    <a:pt x="498" y="641"/>
                    <a:pt x="510" y="643"/>
                  </a:cubicBezTo>
                  <a:cubicBezTo>
                    <a:pt x="522" y="645"/>
                    <a:pt x="576" y="650"/>
                    <a:pt x="576" y="650"/>
                  </a:cubicBezTo>
                  <a:cubicBezTo>
                    <a:pt x="576" y="650"/>
                    <a:pt x="613" y="666"/>
                    <a:pt x="656" y="655"/>
                  </a:cubicBezTo>
                  <a:cubicBezTo>
                    <a:pt x="699" y="644"/>
                    <a:pt x="741" y="629"/>
                    <a:pt x="719" y="609"/>
                  </a:cubicBezTo>
                  <a:cubicBezTo>
                    <a:pt x="697" y="589"/>
                    <a:pt x="696" y="576"/>
                    <a:pt x="667" y="570"/>
                  </a:cubicBezTo>
                  <a:cubicBezTo>
                    <a:pt x="638" y="564"/>
                    <a:pt x="598" y="549"/>
                    <a:pt x="579" y="542"/>
                  </a:cubicBezTo>
                  <a:cubicBezTo>
                    <a:pt x="560" y="535"/>
                    <a:pt x="526" y="518"/>
                    <a:pt x="506" y="517"/>
                  </a:cubicBezTo>
                  <a:cubicBezTo>
                    <a:pt x="486" y="516"/>
                    <a:pt x="467" y="516"/>
                    <a:pt x="455" y="516"/>
                  </a:cubicBezTo>
                  <a:cubicBezTo>
                    <a:pt x="443" y="516"/>
                    <a:pt x="421" y="516"/>
                    <a:pt x="421" y="516"/>
                  </a:cubicBezTo>
                  <a:cubicBezTo>
                    <a:pt x="413" y="506"/>
                    <a:pt x="413" y="506"/>
                    <a:pt x="413" y="506"/>
                  </a:cubicBezTo>
                  <a:cubicBezTo>
                    <a:pt x="394" y="507"/>
                    <a:pt x="394" y="507"/>
                    <a:pt x="394" y="507"/>
                  </a:cubicBezTo>
                  <a:cubicBezTo>
                    <a:pt x="373" y="498"/>
                    <a:pt x="373" y="498"/>
                    <a:pt x="373" y="498"/>
                  </a:cubicBezTo>
                  <a:cubicBezTo>
                    <a:pt x="394" y="493"/>
                    <a:pt x="394" y="493"/>
                    <a:pt x="394" y="493"/>
                  </a:cubicBezTo>
                  <a:cubicBezTo>
                    <a:pt x="406" y="485"/>
                    <a:pt x="406" y="485"/>
                    <a:pt x="406" y="485"/>
                  </a:cubicBezTo>
                  <a:cubicBezTo>
                    <a:pt x="406" y="485"/>
                    <a:pt x="363" y="469"/>
                    <a:pt x="357" y="475"/>
                  </a:cubicBezTo>
                  <a:cubicBezTo>
                    <a:pt x="351" y="481"/>
                    <a:pt x="348" y="490"/>
                    <a:pt x="348" y="490"/>
                  </a:cubicBezTo>
                  <a:cubicBezTo>
                    <a:pt x="335" y="490"/>
                    <a:pt x="335" y="490"/>
                    <a:pt x="335" y="490"/>
                  </a:cubicBezTo>
                  <a:cubicBezTo>
                    <a:pt x="333" y="493"/>
                    <a:pt x="329" y="497"/>
                    <a:pt x="321" y="498"/>
                  </a:cubicBezTo>
                  <a:cubicBezTo>
                    <a:pt x="303" y="501"/>
                    <a:pt x="304" y="498"/>
                    <a:pt x="304" y="498"/>
                  </a:cubicBezTo>
                  <a:cubicBezTo>
                    <a:pt x="300" y="506"/>
                    <a:pt x="300" y="506"/>
                    <a:pt x="300" y="506"/>
                  </a:cubicBezTo>
                  <a:cubicBezTo>
                    <a:pt x="285" y="507"/>
                    <a:pt x="285" y="507"/>
                    <a:pt x="285" y="507"/>
                  </a:cubicBezTo>
                  <a:cubicBezTo>
                    <a:pt x="285" y="507"/>
                    <a:pt x="284" y="521"/>
                    <a:pt x="275" y="522"/>
                  </a:cubicBezTo>
                  <a:cubicBezTo>
                    <a:pt x="270" y="522"/>
                    <a:pt x="266" y="521"/>
                    <a:pt x="262" y="519"/>
                  </a:cubicBezTo>
                  <a:cubicBezTo>
                    <a:pt x="261" y="528"/>
                    <a:pt x="261" y="528"/>
                    <a:pt x="261" y="528"/>
                  </a:cubicBezTo>
                  <a:cubicBezTo>
                    <a:pt x="261" y="528"/>
                    <a:pt x="265" y="534"/>
                    <a:pt x="266" y="537"/>
                  </a:cubicBezTo>
                  <a:cubicBezTo>
                    <a:pt x="267" y="540"/>
                    <a:pt x="254" y="542"/>
                    <a:pt x="254" y="542"/>
                  </a:cubicBezTo>
                  <a:cubicBezTo>
                    <a:pt x="254" y="542"/>
                    <a:pt x="257" y="545"/>
                    <a:pt x="259" y="557"/>
                  </a:cubicBezTo>
                  <a:cubicBezTo>
                    <a:pt x="261" y="569"/>
                    <a:pt x="275" y="561"/>
                    <a:pt x="281" y="561"/>
                  </a:cubicBezTo>
                  <a:cubicBezTo>
                    <a:pt x="287" y="561"/>
                    <a:pt x="292" y="568"/>
                    <a:pt x="296" y="573"/>
                  </a:cubicBezTo>
                  <a:cubicBezTo>
                    <a:pt x="300" y="578"/>
                    <a:pt x="306" y="581"/>
                    <a:pt x="315" y="591"/>
                  </a:cubicBezTo>
                  <a:cubicBezTo>
                    <a:pt x="324" y="601"/>
                    <a:pt x="300" y="603"/>
                    <a:pt x="300" y="608"/>
                  </a:cubicBezTo>
                  <a:cubicBezTo>
                    <a:pt x="300" y="613"/>
                    <a:pt x="283" y="620"/>
                    <a:pt x="283" y="620"/>
                  </a:cubicBezTo>
                  <a:cubicBezTo>
                    <a:pt x="296" y="631"/>
                    <a:pt x="296" y="631"/>
                    <a:pt x="296" y="631"/>
                  </a:cubicBezTo>
                  <a:cubicBezTo>
                    <a:pt x="296" y="631"/>
                    <a:pt x="337" y="663"/>
                    <a:pt x="343" y="673"/>
                  </a:cubicBezTo>
                  <a:cubicBezTo>
                    <a:pt x="349" y="683"/>
                    <a:pt x="321" y="677"/>
                    <a:pt x="321" y="677"/>
                  </a:cubicBezTo>
                  <a:cubicBezTo>
                    <a:pt x="316" y="697"/>
                    <a:pt x="316" y="697"/>
                    <a:pt x="316" y="697"/>
                  </a:cubicBezTo>
                  <a:cubicBezTo>
                    <a:pt x="323" y="703"/>
                    <a:pt x="323" y="703"/>
                    <a:pt x="323" y="703"/>
                  </a:cubicBezTo>
                  <a:cubicBezTo>
                    <a:pt x="323" y="713"/>
                    <a:pt x="323" y="713"/>
                    <a:pt x="323" y="713"/>
                  </a:cubicBezTo>
                  <a:cubicBezTo>
                    <a:pt x="323" y="713"/>
                    <a:pt x="342" y="718"/>
                    <a:pt x="343" y="722"/>
                  </a:cubicBezTo>
                  <a:cubicBezTo>
                    <a:pt x="344" y="726"/>
                    <a:pt x="337" y="737"/>
                    <a:pt x="337" y="737"/>
                  </a:cubicBezTo>
                  <a:cubicBezTo>
                    <a:pt x="352" y="740"/>
                    <a:pt x="352" y="740"/>
                    <a:pt x="352" y="740"/>
                  </a:cubicBezTo>
                  <a:cubicBezTo>
                    <a:pt x="352" y="740"/>
                    <a:pt x="363" y="748"/>
                    <a:pt x="364" y="752"/>
                  </a:cubicBezTo>
                  <a:cubicBezTo>
                    <a:pt x="365" y="756"/>
                    <a:pt x="344" y="770"/>
                    <a:pt x="344" y="770"/>
                  </a:cubicBezTo>
                  <a:cubicBezTo>
                    <a:pt x="383" y="788"/>
                    <a:pt x="383" y="788"/>
                    <a:pt x="383" y="788"/>
                  </a:cubicBezTo>
                  <a:cubicBezTo>
                    <a:pt x="383" y="788"/>
                    <a:pt x="406" y="807"/>
                    <a:pt x="405" y="815"/>
                  </a:cubicBezTo>
                  <a:cubicBezTo>
                    <a:pt x="404" y="823"/>
                    <a:pt x="395" y="830"/>
                    <a:pt x="391" y="837"/>
                  </a:cubicBezTo>
                  <a:cubicBezTo>
                    <a:pt x="387" y="844"/>
                    <a:pt x="366" y="856"/>
                    <a:pt x="366" y="856"/>
                  </a:cubicBezTo>
                  <a:cubicBezTo>
                    <a:pt x="366" y="856"/>
                    <a:pt x="338" y="882"/>
                    <a:pt x="334" y="887"/>
                  </a:cubicBezTo>
                  <a:cubicBezTo>
                    <a:pt x="330" y="892"/>
                    <a:pt x="289" y="916"/>
                    <a:pt x="289" y="916"/>
                  </a:cubicBezTo>
                  <a:cubicBezTo>
                    <a:pt x="293" y="923"/>
                    <a:pt x="293" y="923"/>
                    <a:pt x="293" y="923"/>
                  </a:cubicBezTo>
                  <a:cubicBezTo>
                    <a:pt x="313" y="912"/>
                    <a:pt x="313" y="912"/>
                    <a:pt x="313" y="912"/>
                  </a:cubicBezTo>
                  <a:cubicBezTo>
                    <a:pt x="315" y="923"/>
                    <a:pt x="315" y="923"/>
                    <a:pt x="315" y="923"/>
                  </a:cubicBezTo>
                  <a:cubicBezTo>
                    <a:pt x="315" y="923"/>
                    <a:pt x="328" y="936"/>
                    <a:pt x="334" y="939"/>
                  </a:cubicBezTo>
                  <a:cubicBezTo>
                    <a:pt x="340" y="942"/>
                    <a:pt x="367" y="942"/>
                    <a:pt x="367" y="942"/>
                  </a:cubicBezTo>
                  <a:cubicBezTo>
                    <a:pt x="376" y="954"/>
                    <a:pt x="376" y="954"/>
                    <a:pt x="376" y="954"/>
                  </a:cubicBezTo>
                  <a:cubicBezTo>
                    <a:pt x="376" y="954"/>
                    <a:pt x="337" y="945"/>
                    <a:pt x="335" y="951"/>
                  </a:cubicBezTo>
                  <a:cubicBezTo>
                    <a:pt x="333" y="957"/>
                    <a:pt x="333" y="961"/>
                    <a:pt x="333" y="961"/>
                  </a:cubicBezTo>
                  <a:cubicBezTo>
                    <a:pt x="307" y="962"/>
                    <a:pt x="307" y="962"/>
                    <a:pt x="307" y="962"/>
                  </a:cubicBezTo>
                  <a:cubicBezTo>
                    <a:pt x="303" y="980"/>
                    <a:pt x="303" y="980"/>
                    <a:pt x="303" y="980"/>
                  </a:cubicBezTo>
                  <a:cubicBezTo>
                    <a:pt x="303" y="980"/>
                    <a:pt x="300" y="979"/>
                    <a:pt x="295" y="978"/>
                  </a:cubicBezTo>
                  <a:cubicBezTo>
                    <a:pt x="292" y="988"/>
                    <a:pt x="292" y="988"/>
                    <a:pt x="292" y="988"/>
                  </a:cubicBezTo>
                  <a:cubicBezTo>
                    <a:pt x="295" y="997"/>
                    <a:pt x="295" y="997"/>
                    <a:pt x="295" y="997"/>
                  </a:cubicBezTo>
                  <a:cubicBezTo>
                    <a:pt x="295" y="997"/>
                    <a:pt x="288" y="1001"/>
                    <a:pt x="284" y="1003"/>
                  </a:cubicBezTo>
                  <a:cubicBezTo>
                    <a:pt x="280" y="1005"/>
                    <a:pt x="281" y="1019"/>
                    <a:pt x="281" y="1019"/>
                  </a:cubicBezTo>
                  <a:cubicBezTo>
                    <a:pt x="290" y="1023"/>
                    <a:pt x="290" y="1023"/>
                    <a:pt x="290" y="1023"/>
                  </a:cubicBezTo>
                  <a:cubicBezTo>
                    <a:pt x="285" y="1041"/>
                    <a:pt x="285" y="1041"/>
                    <a:pt x="285" y="1041"/>
                  </a:cubicBezTo>
                  <a:cubicBezTo>
                    <a:pt x="292" y="1043"/>
                    <a:pt x="292" y="1043"/>
                    <a:pt x="292" y="1043"/>
                  </a:cubicBezTo>
                  <a:cubicBezTo>
                    <a:pt x="301" y="1055"/>
                    <a:pt x="301" y="1055"/>
                    <a:pt x="301" y="1055"/>
                  </a:cubicBezTo>
                  <a:cubicBezTo>
                    <a:pt x="288" y="1064"/>
                    <a:pt x="288" y="1064"/>
                    <a:pt x="288" y="1064"/>
                  </a:cubicBezTo>
                  <a:cubicBezTo>
                    <a:pt x="288" y="1072"/>
                    <a:pt x="288" y="1072"/>
                    <a:pt x="288" y="1072"/>
                  </a:cubicBezTo>
                  <a:cubicBezTo>
                    <a:pt x="288" y="1072"/>
                    <a:pt x="309" y="1082"/>
                    <a:pt x="310" y="1087"/>
                  </a:cubicBezTo>
                  <a:cubicBezTo>
                    <a:pt x="311" y="1092"/>
                    <a:pt x="298" y="1094"/>
                    <a:pt x="298" y="1094"/>
                  </a:cubicBezTo>
                  <a:cubicBezTo>
                    <a:pt x="297" y="1103"/>
                    <a:pt x="297" y="1103"/>
                    <a:pt x="297" y="1103"/>
                  </a:cubicBezTo>
                  <a:cubicBezTo>
                    <a:pt x="310" y="1107"/>
                    <a:pt x="310" y="1107"/>
                    <a:pt x="310" y="1107"/>
                  </a:cubicBezTo>
                  <a:cubicBezTo>
                    <a:pt x="310" y="1107"/>
                    <a:pt x="315" y="1118"/>
                    <a:pt x="322" y="1124"/>
                  </a:cubicBezTo>
                  <a:cubicBezTo>
                    <a:pt x="328" y="1129"/>
                    <a:pt x="328" y="1139"/>
                    <a:pt x="328" y="1143"/>
                  </a:cubicBezTo>
                  <a:cubicBezTo>
                    <a:pt x="332" y="1144"/>
                    <a:pt x="336" y="1144"/>
                    <a:pt x="339" y="1145"/>
                  </a:cubicBezTo>
                  <a:cubicBezTo>
                    <a:pt x="347" y="1146"/>
                    <a:pt x="348" y="1153"/>
                    <a:pt x="348" y="1153"/>
                  </a:cubicBezTo>
                  <a:cubicBezTo>
                    <a:pt x="354" y="1147"/>
                    <a:pt x="354" y="1147"/>
                    <a:pt x="354" y="1147"/>
                  </a:cubicBezTo>
                  <a:cubicBezTo>
                    <a:pt x="380" y="1153"/>
                    <a:pt x="380" y="1153"/>
                    <a:pt x="380" y="1153"/>
                  </a:cubicBezTo>
                  <a:cubicBezTo>
                    <a:pt x="382" y="1163"/>
                    <a:pt x="382" y="1163"/>
                    <a:pt x="382" y="1163"/>
                  </a:cubicBezTo>
                  <a:cubicBezTo>
                    <a:pt x="404" y="1151"/>
                    <a:pt x="404" y="1151"/>
                    <a:pt x="404" y="1151"/>
                  </a:cubicBezTo>
                  <a:cubicBezTo>
                    <a:pt x="404" y="1151"/>
                    <a:pt x="426" y="1162"/>
                    <a:pt x="437" y="1167"/>
                  </a:cubicBezTo>
                  <a:cubicBezTo>
                    <a:pt x="448" y="1172"/>
                    <a:pt x="434" y="1186"/>
                    <a:pt x="434" y="1186"/>
                  </a:cubicBezTo>
                  <a:cubicBezTo>
                    <a:pt x="442" y="1196"/>
                    <a:pt x="442" y="1196"/>
                    <a:pt x="442" y="1196"/>
                  </a:cubicBezTo>
                  <a:cubicBezTo>
                    <a:pt x="438" y="1208"/>
                    <a:pt x="438" y="1208"/>
                    <a:pt x="438" y="1208"/>
                  </a:cubicBezTo>
                  <a:cubicBezTo>
                    <a:pt x="438" y="1208"/>
                    <a:pt x="443" y="1213"/>
                    <a:pt x="451" y="1215"/>
                  </a:cubicBezTo>
                  <a:cubicBezTo>
                    <a:pt x="459" y="1217"/>
                    <a:pt x="462" y="1238"/>
                    <a:pt x="462" y="1238"/>
                  </a:cubicBezTo>
                  <a:cubicBezTo>
                    <a:pt x="482" y="1245"/>
                    <a:pt x="482" y="1245"/>
                    <a:pt x="482" y="1245"/>
                  </a:cubicBezTo>
                  <a:cubicBezTo>
                    <a:pt x="484" y="1260"/>
                    <a:pt x="484" y="1260"/>
                    <a:pt x="484" y="1260"/>
                  </a:cubicBezTo>
                  <a:cubicBezTo>
                    <a:pt x="484" y="1260"/>
                    <a:pt x="494" y="1258"/>
                    <a:pt x="507" y="1261"/>
                  </a:cubicBezTo>
                  <a:cubicBezTo>
                    <a:pt x="520" y="1264"/>
                    <a:pt x="512" y="1273"/>
                    <a:pt x="512" y="1273"/>
                  </a:cubicBezTo>
                  <a:cubicBezTo>
                    <a:pt x="526" y="1281"/>
                    <a:pt x="526" y="1281"/>
                    <a:pt x="526" y="1281"/>
                  </a:cubicBezTo>
                  <a:cubicBezTo>
                    <a:pt x="526" y="1281"/>
                    <a:pt x="517" y="1290"/>
                    <a:pt x="509" y="1297"/>
                  </a:cubicBezTo>
                  <a:cubicBezTo>
                    <a:pt x="501" y="1304"/>
                    <a:pt x="488" y="1296"/>
                    <a:pt x="488" y="1296"/>
                  </a:cubicBezTo>
                  <a:cubicBezTo>
                    <a:pt x="488" y="1296"/>
                    <a:pt x="486" y="1290"/>
                    <a:pt x="472" y="1293"/>
                  </a:cubicBezTo>
                  <a:cubicBezTo>
                    <a:pt x="458" y="1296"/>
                    <a:pt x="485" y="1318"/>
                    <a:pt x="485" y="1318"/>
                  </a:cubicBezTo>
                  <a:cubicBezTo>
                    <a:pt x="485" y="1318"/>
                    <a:pt x="485" y="1332"/>
                    <a:pt x="488" y="1333"/>
                  </a:cubicBezTo>
                  <a:cubicBezTo>
                    <a:pt x="490" y="1333"/>
                    <a:pt x="490" y="1343"/>
                    <a:pt x="491" y="1351"/>
                  </a:cubicBezTo>
                  <a:cubicBezTo>
                    <a:pt x="486" y="1351"/>
                    <a:pt x="481" y="1350"/>
                    <a:pt x="477" y="1349"/>
                  </a:cubicBezTo>
                  <a:cubicBezTo>
                    <a:pt x="490" y="1351"/>
                    <a:pt x="510" y="1355"/>
                    <a:pt x="516" y="1352"/>
                  </a:cubicBezTo>
                  <a:cubicBezTo>
                    <a:pt x="524" y="1348"/>
                    <a:pt x="520" y="1339"/>
                    <a:pt x="520" y="1339"/>
                  </a:cubicBezTo>
                  <a:cubicBezTo>
                    <a:pt x="538" y="1342"/>
                    <a:pt x="538" y="1342"/>
                    <a:pt x="538" y="1342"/>
                  </a:cubicBezTo>
                  <a:cubicBezTo>
                    <a:pt x="549" y="1337"/>
                    <a:pt x="549" y="1337"/>
                    <a:pt x="549" y="1337"/>
                  </a:cubicBezTo>
                  <a:cubicBezTo>
                    <a:pt x="579" y="1336"/>
                    <a:pt x="579" y="1336"/>
                    <a:pt x="579" y="1336"/>
                  </a:cubicBezTo>
                  <a:cubicBezTo>
                    <a:pt x="585" y="1350"/>
                    <a:pt x="585" y="1350"/>
                    <a:pt x="585" y="1350"/>
                  </a:cubicBezTo>
                  <a:cubicBezTo>
                    <a:pt x="585" y="1350"/>
                    <a:pt x="606" y="1356"/>
                    <a:pt x="604" y="1362"/>
                  </a:cubicBezTo>
                  <a:cubicBezTo>
                    <a:pt x="602" y="1368"/>
                    <a:pt x="594" y="1369"/>
                    <a:pt x="594" y="1369"/>
                  </a:cubicBezTo>
                  <a:cubicBezTo>
                    <a:pt x="599" y="1381"/>
                    <a:pt x="599" y="1381"/>
                    <a:pt x="599" y="1381"/>
                  </a:cubicBezTo>
                  <a:cubicBezTo>
                    <a:pt x="600" y="1392"/>
                    <a:pt x="600" y="1392"/>
                    <a:pt x="600" y="1392"/>
                  </a:cubicBezTo>
                  <a:cubicBezTo>
                    <a:pt x="623" y="1394"/>
                    <a:pt x="623" y="1394"/>
                    <a:pt x="623" y="1394"/>
                  </a:cubicBezTo>
                  <a:cubicBezTo>
                    <a:pt x="651" y="1406"/>
                    <a:pt x="651" y="1406"/>
                    <a:pt x="651" y="1406"/>
                  </a:cubicBezTo>
                  <a:cubicBezTo>
                    <a:pt x="658" y="1435"/>
                    <a:pt x="658" y="1435"/>
                    <a:pt x="658" y="1435"/>
                  </a:cubicBezTo>
                  <a:cubicBezTo>
                    <a:pt x="662" y="1438"/>
                    <a:pt x="662" y="1438"/>
                    <a:pt x="662" y="1438"/>
                  </a:cubicBezTo>
                  <a:cubicBezTo>
                    <a:pt x="680" y="1434"/>
                    <a:pt x="680" y="1434"/>
                    <a:pt x="680" y="1434"/>
                  </a:cubicBezTo>
                  <a:cubicBezTo>
                    <a:pt x="680" y="1434"/>
                    <a:pt x="688" y="1438"/>
                    <a:pt x="696" y="1442"/>
                  </a:cubicBezTo>
                  <a:cubicBezTo>
                    <a:pt x="704" y="1446"/>
                    <a:pt x="702" y="1441"/>
                    <a:pt x="713" y="1440"/>
                  </a:cubicBezTo>
                  <a:cubicBezTo>
                    <a:pt x="724" y="1439"/>
                    <a:pt x="733" y="1445"/>
                    <a:pt x="733" y="1445"/>
                  </a:cubicBezTo>
                  <a:cubicBezTo>
                    <a:pt x="733" y="1445"/>
                    <a:pt x="729" y="1435"/>
                    <a:pt x="738" y="1436"/>
                  </a:cubicBezTo>
                  <a:cubicBezTo>
                    <a:pt x="747" y="1437"/>
                    <a:pt x="749" y="1448"/>
                    <a:pt x="755" y="1452"/>
                  </a:cubicBezTo>
                  <a:cubicBezTo>
                    <a:pt x="761" y="1456"/>
                    <a:pt x="764" y="1461"/>
                    <a:pt x="764" y="1461"/>
                  </a:cubicBezTo>
                  <a:cubicBezTo>
                    <a:pt x="764" y="1461"/>
                    <a:pt x="776" y="1455"/>
                    <a:pt x="780" y="1455"/>
                  </a:cubicBezTo>
                  <a:cubicBezTo>
                    <a:pt x="784" y="1455"/>
                    <a:pt x="797" y="1464"/>
                    <a:pt x="797" y="1464"/>
                  </a:cubicBezTo>
                  <a:cubicBezTo>
                    <a:pt x="797" y="1464"/>
                    <a:pt x="811" y="1462"/>
                    <a:pt x="818" y="1464"/>
                  </a:cubicBezTo>
                  <a:cubicBezTo>
                    <a:pt x="825" y="1466"/>
                    <a:pt x="827" y="1472"/>
                    <a:pt x="827" y="1472"/>
                  </a:cubicBezTo>
                  <a:cubicBezTo>
                    <a:pt x="840" y="1481"/>
                    <a:pt x="840" y="1481"/>
                    <a:pt x="840" y="1481"/>
                  </a:cubicBezTo>
                  <a:cubicBezTo>
                    <a:pt x="840" y="1481"/>
                    <a:pt x="857" y="1475"/>
                    <a:pt x="858" y="1485"/>
                  </a:cubicBezTo>
                  <a:cubicBezTo>
                    <a:pt x="859" y="1495"/>
                    <a:pt x="860" y="1502"/>
                    <a:pt x="860" y="1502"/>
                  </a:cubicBezTo>
                  <a:cubicBezTo>
                    <a:pt x="846" y="1509"/>
                    <a:pt x="846" y="1509"/>
                    <a:pt x="846" y="1509"/>
                  </a:cubicBezTo>
                  <a:cubicBezTo>
                    <a:pt x="846" y="1509"/>
                    <a:pt x="863" y="1512"/>
                    <a:pt x="862" y="1518"/>
                  </a:cubicBezTo>
                  <a:cubicBezTo>
                    <a:pt x="861" y="1524"/>
                    <a:pt x="844" y="1522"/>
                    <a:pt x="845" y="1525"/>
                  </a:cubicBezTo>
                  <a:cubicBezTo>
                    <a:pt x="846" y="1528"/>
                    <a:pt x="858" y="1536"/>
                    <a:pt x="859" y="1542"/>
                  </a:cubicBezTo>
                  <a:cubicBezTo>
                    <a:pt x="860" y="1548"/>
                    <a:pt x="868" y="1561"/>
                    <a:pt x="856" y="1565"/>
                  </a:cubicBezTo>
                  <a:cubicBezTo>
                    <a:pt x="844" y="1569"/>
                    <a:pt x="821" y="1567"/>
                    <a:pt x="821" y="1567"/>
                  </a:cubicBezTo>
                  <a:cubicBezTo>
                    <a:pt x="821" y="1567"/>
                    <a:pt x="813" y="1576"/>
                    <a:pt x="810" y="1580"/>
                  </a:cubicBezTo>
                  <a:cubicBezTo>
                    <a:pt x="807" y="1584"/>
                    <a:pt x="794" y="1584"/>
                    <a:pt x="794" y="1584"/>
                  </a:cubicBezTo>
                  <a:cubicBezTo>
                    <a:pt x="797" y="1609"/>
                    <a:pt x="797" y="1609"/>
                    <a:pt x="797" y="1609"/>
                  </a:cubicBezTo>
                  <a:cubicBezTo>
                    <a:pt x="796" y="1610"/>
                    <a:pt x="795" y="1610"/>
                    <a:pt x="795" y="1610"/>
                  </a:cubicBezTo>
                  <a:cubicBezTo>
                    <a:pt x="796" y="1610"/>
                    <a:pt x="797" y="1609"/>
                    <a:pt x="799" y="1609"/>
                  </a:cubicBezTo>
                  <a:cubicBezTo>
                    <a:pt x="810" y="1603"/>
                    <a:pt x="839" y="1594"/>
                    <a:pt x="840" y="1603"/>
                  </a:cubicBezTo>
                  <a:cubicBezTo>
                    <a:pt x="841" y="1611"/>
                    <a:pt x="819" y="1627"/>
                    <a:pt x="819" y="1627"/>
                  </a:cubicBezTo>
                  <a:cubicBezTo>
                    <a:pt x="786" y="1637"/>
                    <a:pt x="786" y="1637"/>
                    <a:pt x="786" y="1637"/>
                  </a:cubicBezTo>
                  <a:cubicBezTo>
                    <a:pt x="816" y="1660"/>
                    <a:pt x="816" y="1660"/>
                    <a:pt x="816" y="1660"/>
                  </a:cubicBezTo>
                  <a:cubicBezTo>
                    <a:pt x="816" y="1660"/>
                    <a:pt x="792" y="1665"/>
                    <a:pt x="791" y="1675"/>
                  </a:cubicBezTo>
                  <a:cubicBezTo>
                    <a:pt x="790" y="1685"/>
                    <a:pt x="790" y="1696"/>
                    <a:pt x="790" y="1696"/>
                  </a:cubicBezTo>
                  <a:cubicBezTo>
                    <a:pt x="790" y="1696"/>
                    <a:pt x="777" y="1705"/>
                    <a:pt x="772" y="1705"/>
                  </a:cubicBezTo>
                  <a:cubicBezTo>
                    <a:pt x="767" y="1705"/>
                    <a:pt x="752" y="1694"/>
                    <a:pt x="752" y="1694"/>
                  </a:cubicBezTo>
                  <a:cubicBezTo>
                    <a:pt x="748" y="1705"/>
                    <a:pt x="748" y="1705"/>
                    <a:pt x="748" y="1705"/>
                  </a:cubicBezTo>
                  <a:cubicBezTo>
                    <a:pt x="748" y="1705"/>
                    <a:pt x="760" y="1718"/>
                    <a:pt x="763" y="1718"/>
                  </a:cubicBezTo>
                  <a:cubicBezTo>
                    <a:pt x="766" y="1718"/>
                    <a:pt x="775" y="1737"/>
                    <a:pt x="775" y="1737"/>
                  </a:cubicBezTo>
                  <a:cubicBezTo>
                    <a:pt x="800" y="1735"/>
                    <a:pt x="800" y="1735"/>
                    <a:pt x="800" y="1735"/>
                  </a:cubicBezTo>
                  <a:cubicBezTo>
                    <a:pt x="800" y="1735"/>
                    <a:pt x="818" y="1754"/>
                    <a:pt x="824" y="1754"/>
                  </a:cubicBezTo>
                  <a:cubicBezTo>
                    <a:pt x="830" y="1754"/>
                    <a:pt x="842" y="1755"/>
                    <a:pt x="842" y="1755"/>
                  </a:cubicBezTo>
                  <a:cubicBezTo>
                    <a:pt x="842" y="1755"/>
                    <a:pt x="873" y="1792"/>
                    <a:pt x="881" y="1795"/>
                  </a:cubicBezTo>
                  <a:cubicBezTo>
                    <a:pt x="889" y="1798"/>
                    <a:pt x="905" y="1805"/>
                    <a:pt x="905" y="1805"/>
                  </a:cubicBezTo>
                  <a:cubicBezTo>
                    <a:pt x="905" y="1805"/>
                    <a:pt x="904" y="1805"/>
                    <a:pt x="901" y="1804"/>
                  </a:cubicBezTo>
                  <a:cubicBezTo>
                    <a:pt x="914" y="1793"/>
                    <a:pt x="914" y="1793"/>
                    <a:pt x="914" y="1793"/>
                  </a:cubicBezTo>
                  <a:cubicBezTo>
                    <a:pt x="914" y="1793"/>
                    <a:pt x="939" y="1796"/>
                    <a:pt x="955" y="1803"/>
                  </a:cubicBezTo>
                  <a:cubicBezTo>
                    <a:pt x="971" y="1810"/>
                    <a:pt x="983" y="1812"/>
                    <a:pt x="996" y="1811"/>
                  </a:cubicBezTo>
                  <a:cubicBezTo>
                    <a:pt x="1009" y="1810"/>
                    <a:pt x="1029" y="1815"/>
                    <a:pt x="1029" y="1815"/>
                  </a:cubicBezTo>
                  <a:cubicBezTo>
                    <a:pt x="1061" y="1835"/>
                    <a:pt x="1061" y="1835"/>
                    <a:pt x="1061" y="1835"/>
                  </a:cubicBezTo>
                  <a:cubicBezTo>
                    <a:pt x="1061" y="1835"/>
                    <a:pt x="1061" y="1846"/>
                    <a:pt x="1080" y="1846"/>
                  </a:cubicBezTo>
                  <a:cubicBezTo>
                    <a:pt x="1099" y="1846"/>
                    <a:pt x="1091" y="1837"/>
                    <a:pt x="1109" y="1835"/>
                  </a:cubicBezTo>
                  <a:cubicBezTo>
                    <a:pt x="1127" y="1833"/>
                    <a:pt x="1137" y="1848"/>
                    <a:pt x="1137" y="1848"/>
                  </a:cubicBezTo>
                  <a:cubicBezTo>
                    <a:pt x="1157" y="1851"/>
                    <a:pt x="1157" y="1851"/>
                    <a:pt x="1157" y="1851"/>
                  </a:cubicBezTo>
                  <a:cubicBezTo>
                    <a:pt x="1157" y="1851"/>
                    <a:pt x="1152" y="1869"/>
                    <a:pt x="1152" y="1868"/>
                  </a:cubicBezTo>
                  <a:cubicBezTo>
                    <a:pt x="1169" y="1869"/>
                    <a:pt x="1180" y="1879"/>
                    <a:pt x="1187" y="1886"/>
                  </a:cubicBezTo>
                  <a:cubicBezTo>
                    <a:pt x="1187" y="1886"/>
                    <a:pt x="1187" y="1886"/>
                    <a:pt x="1187" y="1886"/>
                  </a:cubicBezTo>
                  <a:cubicBezTo>
                    <a:pt x="1194" y="1885"/>
                    <a:pt x="1205" y="1886"/>
                    <a:pt x="1214" y="1892"/>
                  </a:cubicBezTo>
                  <a:cubicBezTo>
                    <a:pt x="1227" y="1901"/>
                    <a:pt x="1236" y="1923"/>
                    <a:pt x="1252" y="1921"/>
                  </a:cubicBezTo>
                  <a:cubicBezTo>
                    <a:pt x="1268" y="1919"/>
                    <a:pt x="1262" y="1907"/>
                    <a:pt x="1262" y="1907"/>
                  </a:cubicBezTo>
                  <a:cubicBezTo>
                    <a:pt x="1262" y="1907"/>
                    <a:pt x="1278" y="1910"/>
                    <a:pt x="1279" y="1903"/>
                  </a:cubicBezTo>
                  <a:cubicBezTo>
                    <a:pt x="1280" y="1896"/>
                    <a:pt x="1281" y="1885"/>
                    <a:pt x="1281" y="1885"/>
                  </a:cubicBezTo>
                  <a:cubicBezTo>
                    <a:pt x="1274" y="1882"/>
                    <a:pt x="1274" y="1882"/>
                    <a:pt x="1274" y="1882"/>
                  </a:cubicBezTo>
                  <a:cubicBezTo>
                    <a:pt x="1274" y="1882"/>
                    <a:pt x="1269" y="1868"/>
                    <a:pt x="1264" y="1860"/>
                  </a:cubicBezTo>
                  <a:cubicBezTo>
                    <a:pt x="1259" y="1852"/>
                    <a:pt x="1240" y="1848"/>
                    <a:pt x="1240" y="1848"/>
                  </a:cubicBezTo>
                  <a:cubicBezTo>
                    <a:pt x="1240" y="1833"/>
                    <a:pt x="1240" y="1833"/>
                    <a:pt x="1240" y="1833"/>
                  </a:cubicBezTo>
                  <a:cubicBezTo>
                    <a:pt x="1240" y="1833"/>
                    <a:pt x="1232" y="1829"/>
                    <a:pt x="1223" y="1818"/>
                  </a:cubicBezTo>
                  <a:cubicBezTo>
                    <a:pt x="1214" y="1807"/>
                    <a:pt x="1226" y="1793"/>
                    <a:pt x="1221" y="1780"/>
                  </a:cubicBezTo>
                  <a:cubicBezTo>
                    <a:pt x="1216" y="1767"/>
                    <a:pt x="1195" y="1753"/>
                    <a:pt x="1195" y="1753"/>
                  </a:cubicBezTo>
                  <a:cubicBezTo>
                    <a:pt x="1195" y="1753"/>
                    <a:pt x="1186" y="1752"/>
                    <a:pt x="1177" y="1747"/>
                  </a:cubicBezTo>
                  <a:cubicBezTo>
                    <a:pt x="1168" y="1742"/>
                    <a:pt x="1190" y="1721"/>
                    <a:pt x="1190" y="1721"/>
                  </a:cubicBezTo>
                  <a:cubicBezTo>
                    <a:pt x="1190" y="1721"/>
                    <a:pt x="1205" y="1708"/>
                    <a:pt x="1208" y="1701"/>
                  </a:cubicBezTo>
                  <a:cubicBezTo>
                    <a:pt x="1211" y="1694"/>
                    <a:pt x="1197" y="1679"/>
                    <a:pt x="1197" y="1679"/>
                  </a:cubicBezTo>
                  <a:cubicBezTo>
                    <a:pt x="1197" y="1679"/>
                    <a:pt x="1211" y="1685"/>
                    <a:pt x="1214" y="1685"/>
                  </a:cubicBezTo>
                  <a:cubicBezTo>
                    <a:pt x="1217" y="1685"/>
                    <a:pt x="1229" y="1684"/>
                    <a:pt x="1232" y="1678"/>
                  </a:cubicBezTo>
                  <a:cubicBezTo>
                    <a:pt x="1235" y="1672"/>
                    <a:pt x="1238" y="1678"/>
                    <a:pt x="1250" y="1676"/>
                  </a:cubicBezTo>
                  <a:cubicBezTo>
                    <a:pt x="1262" y="1674"/>
                    <a:pt x="1245" y="1661"/>
                    <a:pt x="1245" y="1661"/>
                  </a:cubicBezTo>
                  <a:cubicBezTo>
                    <a:pt x="1245" y="1661"/>
                    <a:pt x="1261" y="1662"/>
                    <a:pt x="1264" y="1662"/>
                  </a:cubicBezTo>
                  <a:cubicBezTo>
                    <a:pt x="1266" y="1662"/>
                    <a:pt x="1265" y="1652"/>
                    <a:pt x="1264" y="1649"/>
                  </a:cubicBezTo>
                  <a:cubicBezTo>
                    <a:pt x="1257" y="1647"/>
                    <a:pt x="1231" y="1638"/>
                    <a:pt x="1231" y="1631"/>
                  </a:cubicBezTo>
                  <a:cubicBezTo>
                    <a:pt x="1231" y="1623"/>
                    <a:pt x="1254" y="1632"/>
                    <a:pt x="1254" y="1624"/>
                  </a:cubicBezTo>
                  <a:cubicBezTo>
                    <a:pt x="1254" y="1616"/>
                    <a:pt x="1215" y="1576"/>
                    <a:pt x="1210" y="1574"/>
                  </a:cubicBezTo>
                  <a:cubicBezTo>
                    <a:pt x="1205" y="1571"/>
                    <a:pt x="1181" y="1580"/>
                    <a:pt x="1169" y="1575"/>
                  </a:cubicBezTo>
                  <a:cubicBezTo>
                    <a:pt x="1157" y="1570"/>
                    <a:pt x="1171" y="1555"/>
                    <a:pt x="1159" y="1550"/>
                  </a:cubicBezTo>
                  <a:cubicBezTo>
                    <a:pt x="1147" y="1544"/>
                    <a:pt x="1137" y="1554"/>
                    <a:pt x="1137" y="1538"/>
                  </a:cubicBezTo>
                  <a:cubicBezTo>
                    <a:pt x="1137" y="1522"/>
                    <a:pt x="1145" y="1510"/>
                    <a:pt x="1145" y="1502"/>
                  </a:cubicBezTo>
                  <a:cubicBezTo>
                    <a:pt x="1145" y="1494"/>
                    <a:pt x="1139" y="1488"/>
                    <a:pt x="1139" y="1488"/>
                  </a:cubicBezTo>
                  <a:cubicBezTo>
                    <a:pt x="1137" y="1464"/>
                    <a:pt x="1137" y="1464"/>
                    <a:pt x="1137" y="1464"/>
                  </a:cubicBezTo>
                  <a:cubicBezTo>
                    <a:pt x="1137" y="1464"/>
                    <a:pt x="1150" y="1467"/>
                    <a:pt x="1150" y="1459"/>
                  </a:cubicBezTo>
                  <a:cubicBezTo>
                    <a:pt x="1150" y="1451"/>
                    <a:pt x="1142" y="1432"/>
                    <a:pt x="1154" y="1431"/>
                  </a:cubicBezTo>
                  <a:cubicBezTo>
                    <a:pt x="1166" y="1430"/>
                    <a:pt x="1194" y="1472"/>
                    <a:pt x="1209" y="1458"/>
                  </a:cubicBezTo>
                  <a:cubicBezTo>
                    <a:pt x="1223" y="1443"/>
                    <a:pt x="1205" y="1428"/>
                    <a:pt x="1205" y="1428"/>
                  </a:cubicBezTo>
                  <a:cubicBezTo>
                    <a:pt x="1223" y="1419"/>
                    <a:pt x="1223" y="1419"/>
                    <a:pt x="1223" y="1419"/>
                  </a:cubicBezTo>
                  <a:cubicBezTo>
                    <a:pt x="1223" y="1404"/>
                    <a:pt x="1223" y="1404"/>
                    <a:pt x="1223" y="1404"/>
                  </a:cubicBezTo>
                  <a:cubicBezTo>
                    <a:pt x="1223" y="1404"/>
                    <a:pt x="1251" y="1399"/>
                    <a:pt x="1259" y="1388"/>
                  </a:cubicBezTo>
                  <a:cubicBezTo>
                    <a:pt x="1267" y="1378"/>
                    <a:pt x="1245" y="1370"/>
                    <a:pt x="1267" y="1368"/>
                  </a:cubicBezTo>
                  <a:cubicBezTo>
                    <a:pt x="1290" y="1367"/>
                    <a:pt x="1282" y="1380"/>
                    <a:pt x="1298" y="1380"/>
                  </a:cubicBezTo>
                  <a:cubicBezTo>
                    <a:pt x="1314" y="1380"/>
                    <a:pt x="1327" y="1367"/>
                    <a:pt x="1334" y="1367"/>
                  </a:cubicBezTo>
                  <a:cubicBezTo>
                    <a:pt x="1341" y="1367"/>
                    <a:pt x="1342" y="1380"/>
                    <a:pt x="1351" y="1382"/>
                  </a:cubicBezTo>
                  <a:cubicBezTo>
                    <a:pt x="1361" y="1383"/>
                    <a:pt x="1385" y="1378"/>
                    <a:pt x="1389" y="1382"/>
                  </a:cubicBezTo>
                  <a:cubicBezTo>
                    <a:pt x="1393" y="1386"/>
                    <a:pt x="1395" y="1398"/>
                    <a:pt x="1395" y="1398"/>
                  </a:cubicBezTo>
                  <a:cubicBezTo>
                    <a:pt x="1419" y="1396"/>
                    <a:pt x="1419" y="1396"/>
                    <a:pt x="1419" y="1396"/>
                  </a:cubicBezTo>
                  <a:cubicBezTo>
                    <a:pt x="1426" y="1416"/>
                    <a:pt x="1426" y="1416"/>
                    <a:pt x="1426" y="1416"/>
                  </a:cubicBezTo>
                  <a:cubicBezTo>
                    <a:pt x="1426" y="1416"/>
                    <a:pt x="1434" y="1436"/>
                    <a:pt x="1442" y="1430"/>
                  </a:cubicBezTo>
                  <a:cubicBezTo>
                    <a:pt x="1450" y="1423"/>
                    <a:pt x="1427" y="1406"/>
                    <a:pt x="1438" y="1403"/>
                  </a:cubicBezTo>
                  <a:cubicBezTo>
                    <a:pt x="1449" y="1400"/>
                    <a:pt x="1490" y="1431"/>
                    <a:pt x="1493" y="1427"/>
                  </a:cubicBezTo>
                  <a:cubicBezTo>
                    <a:pt x="1495" y="1423"/>
                    <a:pt x="1513" y="1403"/>
                    <a:pt x="1522" y="1402"/>
                  </a:cubicBezTo>
                  <a:cubicBezTo>
                    <a:pt x="1531" y="1400"/>
                    <a:pt x="1542" y="1416"/>
                    <a:pt x="1558" y="1412"/>
                  </a:cubicBezTo>
                  <a:cubicBezTo>
                    <a:pt x="1574" y="1408"/>
                    <a:pt x="1585" y="1399"/>
                    <a:pt x="1593" y="1400"/>
                  </a:cubicBezTo>
                  <a:cubicBezTo>
                    <a:pt x="1601" y="1402"/>
                    <a:pt x="1613" y="1423"/>
                    <a:pt x="1623" y="1424"/>
                  </a:cubicBezTo>
                  <a:cubicBezTo>
                    <a:pt x="1634" y="1426"/>
                    <a:pt x="1657" y="1430"/>
                    <a:pt x="1657" y="1430"/>
                  </a:cubicBezTo>
                  <a:cubicBezTo>
                    <a:pt x="1663" y="1414"/>
                    <a:pt x="1663" y="1414"/>
                    <a:pt x="1663" y="1414"/>
                  </a:cubicBezTo>
                  <a:cubicBezTo>
                    <a:pt x="1663" y="1414"/>
                    <a:pt x="1723" y="1444"/>
                    <a:pt x="1719" y="1406"/>
                  </a:cubicBezTo>
                  <a:cubicBezTo>
                    <a:pt x="1715" y="1367"/>
                    <a:pt x="1665" y="1370"/>
                    <a:pt x="1665" y="1370"/>
                  </a:cubicBezTo>
                  <a:cubicBezTo>
                    <a:pt x="1642" y="1350"/>
                    <a:pt x="1642" y="1350"/>
                    <a:pt x="1642" y="1350"/>
                  </a:cubicBezTo>
                  <a:cubicBezTo>
                    <a:pt x="1642" y="1350"/>
                    <a:pt x="1675" y="1344"/>
                    <a:pt x="1677" y="1338"/>
                  </a:cubicBezTo>
                  <a:cubicBezTo>
                    <a:pt x="1678" y="1331"/>
                    <a:pt x="1665" y="1314"/>
                    <a:pt x="1665" y="1314"/>
                  </a:cubicBezTo>
                  <a:cubicBezTo>
                    <a:pt x="1671" y="1303"/>
                    <a:pt x="1671" y="1303"/>
                    <a:pt x="1671" y="1303"/>
                  </a:cubicBezTo>
                  <a:cubicBezTo>
                    <a:pt x="1671" y="1303"/>
                    <a:pt x="1709" y="1310"/>
                    <a:pt x="1709" y="1303"/>
                  </a:cubicBezTo>
                  <a:cubicBezTo>
                    <a:pt x="1709" y="1296"/>
                    <a:pt x="1666" y="1288"/>
                    <a:pt x="1666" y="1288"/>
                  </a:cubicBezTo>
                  <a:cubicBezTo>
                    <a:pt x="1677" y="1276"/>
                    <a:pt x="1677" y="1276"/>
                    <a:pt x="1677" y="1276"/>
                  </a:cubicBezTo>
                  <a:cubicBezTo>
                    <a:pt x="1658" y="1275"/>
                    <a:pt x="1658" y="1275"/>
                    <a:pt x="1658" y="1275"/>
                  </a:cubicBezTo>
                  <a:cubicBezTo>
                    <a:pt x="1658" y="1275"/>
                    <a:pt x="1642" y="1256"/>
                    <a:pt x="1687" y="1250"/>
                  </a:cubicBezTo>
                  <a:cubicBezTo>
                    <a:pt x="1733" y="1243"/>
                    <a:pt x="1765" y="1244"/>
                    <a:pt x="1765" y="1244"/>
                  </a:cubicBezTo>
                  <a:cubicBezTo>
                    <a:pt x="1769" y="1232"/>
                    <a:pt x="1769" y="1232"/>
                    <a:pt x="1769" y="1232"/>
                  </a:cubicBezTo>
                  <a:cubicBezTo>
                    <a:pt x="1811" y="1232"/>
                    <a:pt x="1811" y="1232"/>
                    <a:pt x="1811" y="1232"/>
                  </a:cubicBezTo>
                  <a:cubicBezTo>
                    <a:pt x="1811" y="1232"/>
                    <a:pt x="1811" y="1216"/>
                    <a:pt x="1819" y="1216"/>
                  </a:cubicBezTo>
                  <a:cubicBezTo>
                    <a:pt x="1827" y="1216"/>
                    <a:pt x="1855" y="1220"/>
                    <a:pt x="1877" y="1215"/>
                  </a:cubicBezTo>
                  <a:cubicBezTo>
                    <a:pt x="1898" y="1210"/>
                    <a:pt x="1918" y="1203"/>
                    <a:pt x="1918" y="1203"/>
                  </a:cubicBezTo>
                  <a:cubicBezTo>
                    <a:pt x="1918" y="1203"/>
                    <a:pt x="1915" y="1183"/>
                    <a:pt x="1949" y="1182"/>
                  </a:cubicBezTo>
                  <a:cubicBezTo>
                    <a:pt x="1982" y="1180"/>
                    <a:pt x="1995" y="1191"/>
                    <a:pt x="2001" y="1191"/>
                  </a:cubicBezTo>
                  <a:cubicBezTo>
                    <a:pt x="2006" y="1191"/>
                    <a:pt x="2013" y="1182"/>
                    <a:pt x="2021" y="1187"/>
                  </a:cubicBezTo>
                  <a:cubicBezTo>
                    <a:pt x="2029" y="1192"/>
                    <a:pt x="2034" y="1210"/>
                    <a:pt x="2034" y="1210"/>
                  </a:cubicBezTo>
                  <a:cubicBezTo>
                    <a:pt x="2034" y="1210"/>
                    <a:pt x="2046" y="1210"/>
                    <a:pt x="2046" y="1216"/>
                  </a:cubicBezTo>
                  <a:cubicBezTo>
                    <a:pt x="2046" y="1223"/>
                    <a:pt x="2045" y="1244"/>
                    <a:pt x="2050" y="1244"/>
                  </a:cubicBezTo>
                  <a:cubicBezTo>
                    <a:pt x="2055" y="1244"/>
                    <a:pt x="2083" y="1240"/>
                    <a:pt x="2083" y="1240"/>
                  </a:cubicBezTo>
                  <a:cubicBezTo>
                    <a:pt x="2090" y="1230"/>
                    <a:pt x="2090" y="1230"/>
                    <a:pt x="2090" y="1230"/>
                  </a:cubicBezTo>
                  <a:cubicBezTo>
                    <a:pt x="2109" y="1251"/>
                    <a:pt x="2109" y="1251"/>
                    <a:pt x="2109" y="1251"/>
                  </a:cubicBezTo>
                  <a:cubicBezTo>
                    <a:pt x="2122" y="1243"/>
                    <a:pt x="2122" y="1243"/>
                    <a:pt x="2122" y="1243"/>
                  </a:cubicBezTo>
                  <a:cubicBezTo>
                    <a:pt x="2139" y="1254"/>
                    <a:pt x="2139" y="1254"/>
                    <a:pt x="2139" y="1254"/>
                  </a:cubicBezTo>
                  <a:cubicBezTo>
                    <a:pt x="2139" y="1254"/>
                    <a:pt x="2145" y="1242"/>
                    <a:pt x="2154" y="1251"/>
                  </a:cubicBezTo>
                  <a:cubicBezTo>
                    <a:pt x="2163" y="1260"/>
                    <a:pt x="2142" y="1276"/>
                    <a:pt x="2153" y="1278"/>
                  </a:cubicBezTo>
                  <a:cubicBezTo>
                    <a:pt x="2163" y="1279"/>
                    <a:pt x="2165" y="1266"/>
                    <a:pt x="2171" y="1268"/>
                  </a:cubicBezTo>
                  <a:cubicBezTo>
                    <a:pt x="2178" y="1271"/>
                    <a:pt x="2193" y="1287"/>
                    <a:pt x="2201" y="1280"/>
                  </a:cubicBezTo>
                  <a:cubicBezTo>
                    <a:pt x="2209" y="1274"/>
                    <a:pt x="2201" y="1266"/>
                    <a:pt x="2207" y="1262"/>
                  </a:cubicBezTo>
                  <a:cubicBezTo>
                    <a:pt x="2214" y="1258"/>
                    <a:pt x="2222" y="1256"/>
                    <a:pt x="2222" y="1256"/>
                  </a:cubicBezTo>
                  <a:cubicBezTo>
                    <a:pt x="2231" y="1246"/>
                    <a:pt x="2231" y="1246"/>
                    <a:pt x="2231" y="1246"/>
                  </a:cubicBezTo>
                  <a:cubicBezTo>
                    <a:pt x="2255" y="1238"/>
                    <a:pt x="2255" y="1238"/>
                    <a:pt x="2255" y="1238"/>
                  </a:cubicBezTo>
                  <a:cubicBezTo>
                    <a:pt x="2255" y="1238"/>
                    <a:pt x="2267" y="1216"/>
                    <a:pt x="2275" y="1227"/>
                  </a:cubicBezTo>
                  <a:cubicBezTo>
                    <a:pt x="2283" y="1238"/>
                    <a:pt x="2263" y="1250"/>
                    <a:pt x="2263" y="1250"/>
                  </a:cubicBezTo>
                  <a:cubicBezTo>
                    <a:pt x="2263" y="1250"/>
                    <a:pt x="2331" y="1282"/>
                    <a:pt x="2337" y="1284"/>
                  </a:cubicBezTo>
                  <a:cubicBezTo>
                    <a:pt x="2342" y="1287"/>
                    <a:pt x="2414" y="1354"/>
                    <a:pt x="2429" y="1367"/>
                  </a:cubicBezTo>
                  <a:cubicBezTo>
                    <a:pt x="2443" y="1380"/>
                    <a:pt x="2467" y="1419"/>
                    <a:pt x="2485" y="1416"/>
                  </a:cubicBezTo>
                  <a:cubicBezTo>
                    <a:pt x="2502" y="1414"/>
                    <a:pt x="2498" y="1384"/>
                    <a:pt x="2509" y="1387"/>
                  </a:cubicBezTo>
                  <a:cubicBezTo>
                    <a:pt x="2519" y="1390"/>
                    <a:pt x="2515" y="1406"/>
                    <a:pt x="2519" y="1407"/>
                  </a:cubicBezTo>
                  <a:cubicBezTo>
                    <a:pt x="2523" y="1408"/>
                    <a:pt x="2541" y="1410"/>
                    <a:pt x="2541" y="1410"/>
                  </a:cubicBezTo>
                  <a:cubicBezTo>
                    <a:pt x="2541" y="1410"/>
                    <a:pt x="2555" y="1426"/>
                    <a:pt x="2567" y="1424"/>
                  </a:cubicBezTo>
                  <a:cubicBezTo>
                    <a:pt x="2579" y="1423"/>
                    <a:pt x="2595" y="1402"/>
                    <a:pt x="2618" y="1406"/>
                  </a:cubicBezTo>
                  <a:cubicBezTo>
                    <a:pt x="2641" y="1410"/>
                    <a:pt x="2662" y="1439"/>
                    <a:pt x="2662" y="1439"/>
                  </a:cubicBezTo>
                  <a:cubicBezTo>
                    <a:pt x="2662" y="1439"/>
                    <a:pt x="2697" y="1444"/>
                    <a:pt x="2698" y="1448"/>
                  </a:cubicBezTo>
                  <a:cubicBezTo>
                    <a:pt x="2699" y="1452"/>
                    <a:pt x="2715" y="1480"/>
                    <a:pt x="2715" y="1480"/>
                  </a:cubicBezTo>
                  <a:cubicBezTo>
                    <a:pt x="2762" y="1484"/>
                    <a:pt x="2762" y="1484"/>
                    <a:pt x="2762" y="1484"/>
                  </a:cubicBezTo>
                  <a:cubicBezTo>
                    <a:pt x="2773" y="1462"/>
                    <a:pt x="2773" y="1462"/>
                    <a:pt x="2773" y="1462"/>
                  </a:cubicBezTo>
                  <a:cubicBezTo>
                    <a:pt x="2786" y="1478"/>
                    <a:pt x="2786" y="1478"/>
                    <a:pt x="2786" y="1478"/>
                  </a:cubicBezTo>
                  <a:cubicBezTo>
                    <a:pt x="2810" y="1504"/>
                    <a:pt x="2810" y="1504"/>
                    <a:pt x="2810" y="1504"/>
                  </a:cubicBezTo>
                  <a:cubicBezTo>
                    <a:pt x="2815" y="1505"/>
                    <a:pt x="2819" y="1506"/>
                    <a:pt x="2819" y="1506"/>
                  </a:cubicBezTo>
                  <a:cubicBezTo>
                    <a:pt x="2819" y="1506"/>
                    <a:pt x="2832" y="1499"/>
                    <a:pt x="2840" y="1503"/>
                  </a:cubicBezTo>
                  <a:cubicBezTo>
                    <a:pt x="2847" y="1496"/>
                    <a:pt x="2847" y="1496"/>
                    <a:pt x="2847" y="1496"/>
                  </a:cubicBezTo>
                  <a:cubicBezTo>
                    <a:pt x="2846" y="1484"/>
                    <a:pt x="2846" y="1484"/>
                    <a:pt x="2846" y="1484"/>
                  </a:cubicBezTo>
                  <a:cubicBezTo>
                    <a:pt x="2887" y="1484"/>
                    <a:pt x="2887" y="1484"/>
                    <a:pt x="2887" y="1484"/>
                  </a:cubicBezTo>
                  <a:cubicBezTo>
                    <a:pt x="2885" y="1475"/>
                    <a:pt x="2885" y="1475"/>
                    <a:pt x="2885" y="1475"/>
                  </a:cubicBezTo>
                  <a:cubicBezTo>
                    <a:pt x="2901" y="1475"/>
                    <a:pt x="2901" y="1475"/>
                    <a:pt x="2901" y="1475"/>
                  </a:cubicBezTo>
                  <a:cubicBezTo>
                    <a:pt x="2901" y="1475"/>
                    <a:pt x="2892" y="1473"/>
                    <a:pt x="2901" y="1463"/>
                  </a:cubicBezTo>
                  <a:cubicBezTo>
                    <a:pt x="2910" y="1453"/>
                    <a:pt x="2921" y="1445"/>
                    <a:pt x="2921" y="1445"/>
                  </a:cubicBezTo>
                  <a:cubicBezTo>
                    <a:pt x="2930" y="1446"/>
                    <a:pt x="2930" y="1446"/>
                    <a:pt x="2930" y="1446"/>
                  </a:cubicBezTo>
                  <a:cubicBezTo>
                    <a:pt x="2941" y="1433"/>
                    <a:pt x="2941" y="1433"/>
                    <a:pt x="2941" y="1433"/>
                  </a:cubicBezTo>
                  <a:cubicBezTo>
                    <a:pt x="2957" y="1433"/>
                    <a:pt x="2957" y="1433"/>
                    <a:pt x="2957" y="1433"/>
                  </a:cubicBezTo>
                  <a:cubicBezTo>
                    <a:pt x="2957" y="1433"/>
                    <a:pt x="2958" y="1416"/>
                    <a:pt x="2965" y="1416"/>
                  </a:cubicBezTo>
                  <a:cubicBezTo>
                    <a:pt x="2972" y="1416"/>
                    <a:pt x="2981" y="1422"/>
                    <a:pt x="2981" y="1422"/>
                  </a:cubicBezTo>
                  <a:cubicBezTo>
                    <a:pt x="2993" y="1415"/>
                    <a:pt x="2993" y="1415"/>
                    <a:pt x="2993" y="1415"/>
                  </a:cubicBezTo>
                  <a:cubicBezTo>
                    <a:pt x="2993" y="1415"/>
                    <a:pt x="2993" y="1420"/>
                    <a:pt x="2996" y="1420"/>
                  </a:cubicBezTo>
                  <a:cubicBezTo>
                    <a:pt x="2999" y="1420"/>
                    <a:pt x="3015" y="1420"/>
                    <a:pt x="3015" y="1420"/>
                  </a:cubicBezTo>
                  <a:cubicBezTo>
                    <a:pt x="3020" y="1431"/>
                    <a:pt x="3020" y="1431"/>
                    <a:pt x="3020" y="1431"/>
                  </a:cubicBezTo>
                  <a:cubicBezTo>
                    <a:pt x="3020" y="1431"/>
                    <a:pt x="3064" y="1427"/>
                    <a:pt x="3071" y="1427"/>
                  </a:cubicBezTo>
                  <a:cubicBezTo>
                    <a:pt x="3078" y="1427"/>
                    <a:pt x="3076" y="1440"/>
                    <a:pt x="3085" y="1447"/>
                  </a:cubicBezTo>
                  <a:cubicBezTo>
                    <a:pt x="3094" y="1454"/>
                    <a:pt x="3116" y="1452"/>
                    <a:pt x="3116" y="1452"/>
                  </a:cubicBezTo>
                  <a:cubicBezTo>
                    <a:pt x="3118" y="1461"/>
                    <a:pt x="3118" y="1461"/>
                    <a:pt x="3118" y="1461"/>
                  </a:cubicBezTo>
                  <a:cubicBezTo>
                    <a:pt x="3137" y="1458"/>
                    <a:pt x="3137" y="1458"/>
                    <a:pt x="3137" y="1458"/>
                  </a:cubicBezTo>
                  <a:cubicBezTo>
                    <a:pt x="3139" y="1463"/>
                    <a:pt x="3139" y="1463"/>
                    <a:pt x="3139" y="1463"/>
                  </a:cubicBezTo>
                  <a:cubicBezTo>
                    <a:pt x="3139" y="1463"/>
                    <a:pt x="3141" y="1457"/>
                    <a:pt x="3152" y="1456"/>
                  </a:cubicBezTo>
                  <a:cubicBezTo>
                    <a:pt x="3163" y="1455"/>
                    <a:pt x="3172" y="1456"/>
                    <a:pt x="3172" y="1456"/>
                  </a:cubicBezTo>
                  <a:cubicBezTo>
                    <a:pt x="3173" y="1464"/>
                    <a:pt x="3173" y="1464"/>
                    <a:pt x="3173" y="1464"/>
                  </a:cubicBezTo>
                  <a:cubicBezTo>
                    <a:pt x="3203" y="1462"/>
                    <a:pt x="3203" y="1462"/>
                    <a:pt x="3203" y="1462"/>
                  </a:cubicBezTo>
                  <a:cubicBezTo>
                    <a:pt x="3203" y="1462"/>
                    <a:pt x="3197" y="1478"/>
                    <a:pt x="3214" y="1470"/>
                  </a:cubicBezTo>
                  <a:cubicBezTo>
                    <a:pt x="3231" y="1462"/>
                    <a:pt x="3229" y="1455"/>
                    <a:pt x="3229" y="1455"/>
                  </a:cubicBezTo>
                  <a:cubicBezTo>
                    <a:pt x="3229" y="1455"/>
                    <a:pt x="3241" y="1465"/>
                    <a:pt x="3241" y="1447"/>
                  </a:cubicBezTo>
                  <a:cubicBezTo>
                    <a:pt x="3241" y="1429"/>
                    <a:pt x="3226" y="1429"/>
                    <a:pt x="3226" y="1429"/>
                  </a:cubicBezTo>
                  <a:cubicBezTo>
                    <a:pt x="3210" y="1405"/>
                    <a:pt x="3210" y="1405"/>
                    <a:pt x="3210" y="1405"/>
                  </a:cubicBezTo>
                  <a:cubicBezTo>
                    <a:pt x="3206" y="1391"/>
                    <a:pt x="3206" y="1391"/>
                    <a:pt x="3206" y="1391"/>
                  </a:cubicBezTo>
                  <a:cubicBezTo>
                    <a:pt x="3206" y="1391"/>
                    <a:pt x="3200" y="1388"/>
                    <a:pt x="3200" y="1382"/>
                  </a:cubicBezTo>
                  <a:cubicBezTo>
                    <a:pt x="3200" y="1376"/>
                    <a:pt x="3211" y="1378"/>
                    <a:pt x="3211" y="1378"/>
                  </a:cubicBezTo>
                  <a:cubicBezTo>
                    <a:pt x="3209" y="1367"/>
                    <a:pt x="3209" y="1367"/>
                    <a:pt x="3209" y="1367"/>
                  </a:cubicBezTo>
                  <a:cubicBezTo>
                    <a:pt x="3209" y="1367"/>
                    <a:pt x="3213" y="1369"/>
                    <a:pt x="3218" y="1363"/>
                  </a:cubicBezTo>
                  <a:cubicBezTo>
                    <a:pt x="3223" y="1357"/>
                    <a:pt x="3222" y="1345"/>
                    <a:pt x="3222" y="1345"/>
                  </a:cubicBezTo>
                  <a:cubicBezTo>
                    <a:pt x="3231" y="1347"/>
                    <a:pt x="3231" y="1347"/>
                    <a:pt x="3231" y="1347"/>
                  </a:cubicBezTo>
                  <a:cubicBezTo>
                    <a:pt x="3231" y="1347"/>
                    <a:pt x="3254" y="1364"/>
                    <a:pt x="3272" y="1366"/>
                  </a:cubicBezTo>
                  <a:cubicBezTo>
                    <a:pt x="3290" y="1368"/>
                    <a:pt x="3310" y="1367"/>
                    <a:pt x="3310" y="1367"/>
                  </a:cubicBezTo>
                  <a:cubicBezTo>
                    <a:pt x="3310" y="1367"/>
                    <a:pt x="3329" y="1381"/>
                    <a:pt x="3339" y="1383"/>
                  </a:cubicBezTo>
                  <a:cubicBezTo>
                    <a:pt x="3349" y="1385"/>
                    <a:pt x="3361" y="1372"/>
                    <a:pt x="3370" y="1383"/>
                  </a:cubicBezTo>
                  <a:cubicBezTo>
                    <a:pt x="3379" y="1394"/>
                    <a:pt x="3401" y="1428"/>
                    <a:pt x="3401" y="1428"/>
                  </a:cubicBezTo>
                  <a:cubicBezTo>
                    <a:pt x="3416" y="1425"/>
                    <a:pt x="3416" y="1425"/>
                    <a:pt x="3416" y="1425"/>
                  </a:cubicBezTo>
                  <a:cubicBezTo>
                    <a:pt x="3416" y="1425"/>
                    <a:pt x="3418" y="1441"/>
                    <a:pt x="3428" y="1441"/>
                  </a:cubicBezTo>
                  <a:cubicBezTo>
                    <a:pt x="3438" y="1441"/>
                    <a:pt x="3445" y="1440"/>
                    <a:pt x="3445" y="1440"/>
                  </a:cubicBezTo>
                  <a:cubicBezTo>
                    <a:pt x="3445" y="1440"/>
                    <a:pt x="3462" y="1450"/>
                    <a:pt x="3475" y="1449"/>
                  </a:cubicBezTo>
                  <a:cubicBezTo>
                    <a:pt x="3488" y="1448"/>
                    <a:pt x="3506" y="1430"/>
                    <a:pt x="3535" y="1432"/>
                  </a:cubicBezTo>
                  <a:cubicBezTo>
                    <a:pt x="3564" y="1434"/>
                    <a:pt x="3566" y="1442"/>
                    <a:pt x="3566" y="1442"/>
                  </a:cubicBezTo>
                  <a:cubicBezTo>
                    <a:pt x="3593" y="1439"/>
                    <a:pt x="3593" y="1439"/>
                    <a:pt x="3593" y="1439"/>
                  </a:cubicBezTo>
                  <a:cubicBezTo>
                    <a:pt x="3593" y="1439"/>
                    <a:pt x="3604" y="1458"/>
                    <a:pt x="3616" y="1458"/>
                  </a:cubicBezTo>
                  <a:cubicBezTo>
                    <a:pt x="3628" y="1458"/>
                    <a:pt x="3647" y="1458"/>
                    <a:pt x="3650" y="1459"/>
                  </a:cubicBezTo>
                  <a:cubicBezTo>
                    <a:pt x="3653" y="1460"/>
                    <a:pt x="3661" y="1479"/>
                    <a:pt x="3664" y="1478"/>
                  </a:cubicBezTo>
                  <a:cubicBezTo>
                    <a:pt x="3667" y="1477"/>
                    <a:pt x="3678" y="1480"/>
                    <a:pt x="3678" y="1480"/>
                  </a:cubicBezTo>
                  <a:cubicBezTo>
                    <a:pt x="3678" y="1480"/>
                    <a:pt x="3673" y="1491"/>
                    <a:pt x="3693" y="1493"/>
                  </a:cubicBezTo>
                  <a:cubicBezTo>
                    <a:pt x="3713" y="1495"/>
                    <a:pt x="3723" y="1492"/>
                    <a:pt x="3723" y="1492"/>
                  </a:cubicBezTo>
                  <a:cubicBezTo>
                    <a:pt x="3723" y="1492"/>
                    <a:pt x="3730" y="1495"/>
                    <a:pt x="3733" y="1498"/>
                  </a:cubicBezTo>
                  <a:cubicBezTo>
                    <a:pt x="3736" y="1501"/>
                    <a:pt x="3760" y="1501"/>
                    <a:pt x="3760" y="1501"/>
                  </a:cubicBezTo>
                  <a:cubicBezTo>
                    <a:pt x="3760" y="1501"/>
                    <a:pt x="3772" y="1494"/>
                    <a:pt x="3776" y="1496"/>
                  </a:cubicBezTo>
                  <a:cubicBezTo>
                    <a:pt x="3780" y="1498"/>
                    <a:pt x="3788" y="1507"/>
                    <a:pt x="3793" y="1501"/>
                  </a:cubicBezTo>
                  <a:cubicBezTo>
                    <a:pt x="3798" y="1495"/>
                    <a:pt x="3796" y="1490"/>
                    <a:pt x="3805" y="1488"/>
                  </a:cubicBezTo>
                  <a:cubicBezTo>
                    <a:pt x="3814" y="1486"/>
                    <a:pt x="3831" y="1487"/>
                    <a:pt x="3831" y="1487"/>
                  </a:cubicBezTo>
                  <a:cubicBezTo>
                    <a:pt x="3841" y="1482"/>
                    <a:pt x="3841" y="1482"/>
                    <a:pt x="3841" y="1482"/>
                  </a:cubicBezTo>
                  <a:cubicBezTo>
                    <a:pt x="3841" y="1482"/>
                    <a:pt x="3853" y="1485"/>
                    <a:pt x="3863" y="1481"/>
                  </a:cubicBezTo>
                  <a:cubicBezTo>
                    <a:pt x="3873" y="1477"/>
                    <a:pt x="3870" y="1466"/>
                    <a:pt x="3870" y="1466"/>
                  </a:cubicBezTo>
                  <a:cubicBezTo>
                    <a:pt x="3893" y="1443"/>
                    <a:pt x="3893" y="1443"/>
                    <a:pt x="3893" y="1443"/>
                  </a:cubicBezTo>
                  <a:cubicBezTo>
                    <a:pt x="3893" y="1443"/>
                    <a:pt x="3920" y="1447"/>
                    <a:pt x="3929" y="1447"/>
                  </a:cubicBezTo>
                  <a:cubicBezTo>
                    <a:pt x="3938" y="1447"/>
                    <a:pt x="3948" y="1463"/>
                    <a:pt x="3962" y="1463"/>
                  </a:cubicBezTo>
                  <a:cubicBezTo>
                    <a:pt x="3976" y="1463"/>
                    <a:pt x="3982" y="1456"/>
                    <a:pt x="3982" y="1456"/>
                  </a:cubicBezTo>
                  <a:cubicBezTo>
                    <a:pt x="4000" y="1459"/>
                    <a:pt x="4000" y="1459"/>
                    <a:pt x="4000" y="1459"/>
                  </a:cubicBezTo>
                  <a:cubicBezTo>
                    <a:pt x="4011" y="1462"/>
                    <a:pt x="4011" y="1462"/>
                    <a:pt x="4011" y="1462"/>
                  </a:cubicBezTo>
                  <a:cubicBezTo>
                    <a:pt x="4034" y="1476"/>
                    <a:pt x="4034" y="1476"/>
                    <a:pt x="4034" y="1476"/>
                  </a:cubicBezTo>
                  <a:cubicBezTo>
                    <a:pt x="4058" y="1477"/>
                    <a:pt x="4058" y="1477"/>
                    <a:pt x="4058" y="1477"/>
                  </a:cubicBezTo>
                  <a:cubicBezTo>
                    <a:pt x="4058" y="1477"/>
                    <a:pt x="4061" y="1482"/>
                    <a:pt x="4071" y="1482"/>
                  </a:cubicBezTo>
                  <a:cubicBezTo>
                    <a:pt x="4081" y="1482"/>
                    <a:pt x="4085" y="1460"/>
                    <a:pt x="4085" y="1460"/>
                  </a:cubicBezTo>
                  <a:cubicBezTo>
                    <a:pt x="4085" y="1460"/>
                    <a:pt x="4096" y="1465"/>
                    <a:pt x="4109" y="1457"/>
                  </a:cubicBezTo>
                  <a:cubicBezTo>
                    <a:pt x="4122" y="1449"/>
                    <a:pt x="4098" y="1439"/>
                    <a:pt x="4098" y="1439"/>
                  </a:cubicBezTo>
                  <a:cubicBezTo>
                    <a:pt x="4097" y="1414"/>
                    <a:pt x="4097" y="1414"/>
                    <a:pt x="4097" y="1414"/>
                  </a:cubicBezTo>
                  <a:cubicBezTo>
                    <a:pt x="4097" y="1395"/>
                    <a:pt x="4097" y="1395"/>
                    <a:pt x="4097" y="1395"/>
                  </a:cubicBezTo>
                  <a:cubicBezTo>
                    <a:pt x="4097" y="1395"/>
                    <a:pt x="4092" y="1377"/>
                    <a:pt x="4094" y="1368"/>
                  </a:cubicBezTo>
                  <a:cubicBezTo>
                    <a:pt x="4096" y="1359"/>
                    <a:pt x="4108" y="1354"/>
                    <a:pt x="4109" y="1348"/>
                  </a:cubicBezTo>
                  <a:cubicBezTo>
                    <a:pt x="4110" y="1342"/>
                    <a:pt x="4083" y="1327"/>
                    <a:pt x="4083" y="1327"/>
                  </a:cubicBezTo>
                  <a:cubicBezTo>
                    <a:pt x="4083" y="1327"/>
                    <a:pt x="4071" y="1325"/>
                    <a:pt x="4056" y="1322"/>
                  </a:cubicBezTo>
                  <a:cubicBezTo>
                    <a:pt x="4041" y="1319"/>
                    <a:pt x="4063" y="1304"/>
                    <a:pt x="4063" y="1304"/>
                  </a:cubicBezTo>
                  <a:cubicBezTo>
                    <a:pt x="4083" y="1284"/>
                    <a:pt x="4083" y="1284"/>
                    <a:pt x="4083" y="1284"/>
                  </a:cubicBezTo>
                  <a:cubicBezTo>
                    <a:pt x="4107" y="1281"/>
                    <a:pt x="4107" y="1281"/>
                    <a:pt x="4107" y="1281"/>
                  </a:cubicBezTo>
                  <a:cubicBezTo>
                    <a:pt x="4111" y="1273"/>
                    <a:pt x="4111" y="1273"/>
                    <a:pt x="4111" y="1273"/>
                  </a:cubicBezTo>
                  <a:cubicBezTo>
                    <a:pt x="4139" y="1275"/>
                    <a:pt x="4139" y="1275"/>
                    <a:pt x="4139" y="1275"/>
                  </a:cubicBezTo>
                  <a:cubicBezTo>
                    <a:pt x="4174" y="1268"/>
                    <a:pt x="4174" y="1268"/>
                    <a:pt x="4174" y="1268"/>
                  </a:cubicBezTo>
                  <a:cubicBezTo>
                    <a:pt x="4199" y="1281"/>
                    <a:pt x="4199" y="1281"/>
                    <a:pt x="4199" y="1281"/>
                  </a:cubicBezTo>
                  <a:cubicBezTo>
                    <a:pt x="4225" y="1298"/>
                    <a:pt x="4225" y="1298"/>
                    <a:pt x="4225" y="1298"/>
                  </a:cubicBezTo>
                  <a:cubicBezTo>
                    <a:pt x="4240" y="1295"/>
                    <a:pt x="4240" y="1295"/>
                    <a:pt x="4240" y="1295"/>
                  </a:cubicBezTo>
                  <a:cubicBezTo>
                    <a:pt x="4240" y="1295"/>
                    <a:pt x="4259" y="1296"/>
                    <a:pt x="4266" y="1297"/>
                  </a:cubicBezTo>
                  <a:cubicBezTo>
                    <a:pt x="4273" y="1298"/>
                    <a:pt x="4294" y="1312"/>
                    <a:pt x="4294" y="1312"/>
                  </a:cubicBezTo>
                  <a:cubicBezTo>
                    <a:pt x="4296" y="1321"/>
                    <a:pt x="4296" y="1321"/>
                    <a:pt x="4296" y="1321"/>
                  </a:cubicBezTo>
                  <a:cubicBezTo>
                    <a:pt x="4296" y="1321"/>
                    <a:pt x="4314" y="1331"/>
                    <a:pt x="4319" y="1335"/>
                  </a:cubicBezTo>
                  <a:cubicBezTo>
                    <a:pt x="4324" y="1339"/>
                    <a:pt x="4339" y="1344"/>
                    <a:pt x="4339" y="1344"/>
                  </a:cubicBezTo>
                  <a:cubicBezTo>
                    <a:pt x="4342" y="1363"/>
                    <a:pt x="4342" y="1363"/>
                    <a:pt x="4342" y="1363"/>
                  </a:cubicBezTo>
                  <a:cubicBezTo>
                    <a:pt x="4374" y="1380"/>
                    <a:pt x="4374" y="1380"/>
                    <a:pt x="4374" y="1380"/>
                  </a:cubicBezTo>
                  <a:cubicBezTo>
                    <a:pt x="4385" y="1402"/>
                    <a:pt x="4385" y="1402"/>
                    <a:pt x="4385" y="1402"/>
                  </a:cubicBezTo>
                  <a:cubicBezTo>
                    <a:pt x="4385" y="1402"/>
                    <a:pt x="4406" y="1404"/>
                    <a:pt x="4416" y="1413"/>
                  </a:cubicBezTo>
                  <a:cubicBezTo>
                    <a:pt x="4426" y="1422"/>
                    <a:pt x="4444" y="1446"/>
                    <a:pt x="4444" y="1446"/>
                  </a:cubicBezTo>
                  <a:cubicBezTo>
                    <a:pt x="4451" y="1446"/>
                    <a:pt x="4451" y="1446"/>
                    <a:pt x="4451" y="1446"/>
                  </a:cubicBezTo>
                  <a:cubicBezTo>
                    <a:pt x="4455" y="1462"/>
                    <a:pt x="4455" y="1462"/>
                    <a:pt x="4455" y="1462"/>
                  </a:cubicBezTo>
                  <a:cubicBezTo>
                    <a:pt x="4455" y="1462"/>
                    <a:pt x="4474" y="1472"/>
                    <a:pt x="4482" y="1477"/>
                  </a:cubicBezTo>
                  <a:cubicBezTo>
                    <a:pt x="4490" y="1482"/>
                    <a:pt x="4507" y="1481"/>
                    <a:pt x="4517" y="1479"/>
                  </a:cubicBezTo>
                  <a:cubicBezTo>
                    <a:pt x="4527" y="1477"/>
                    <a:pt x="4543" y="1493"/>
                    <a:pt x="4543" y="1493"/>
                  </a:cubicBezTo>
                  <a:cubicBezTo>
                    <a:pt x="4543" y="1493"/>
                    <a:pt x="4551" y="1486"/>
                    <a:pt x="4555" y="1486"/>
                  </a:cubicBezTo>
                  <a:cubicBezTo>
                    <a:pt x="4559" y="1486"/>
                    <a:pt x="4597" y="1514"/>
                    <a:pt x="4597" y="1514"/>
                  </a:cubicBezTo>
                  <a:cubicBezTo>
                    <a:pt x="4621" y="1514"/>
                    <a:pt x="4621" y="1514"/>
                    <a:pt x="4621" y="1514"/>
                  </a:cubicBezTo>
                  <a:cubicBezTo>
                    <a:pt x="4630" y="1533"/>
                    <a:pt x="4630" y="1533"/>
                    <a:pt x="4630" y="1533"/>
                  </a:cubicBezTo>
                  <a:cubicBezTo>
                    <a:pt x="4630" y="1533"/>
                    <a:pt x="4646" y="1534"/>
                    <a:pt x="4649" y="1541"/>
                  </a:cubicBezTo>
                  <a:cubicBezTo>
                    <a:pt x="4652" y="1548"/>
                    <a:pt x="4653" y="1556"/>
                    <a:pt x="4653" y="1556"/>
                  </a:cubicBezTo>
                  <a:cubicBezTo>
                    <a:pt x="4678" y="1576"/>
                    <a:pt x="4678" y="1576"/>
                    <a:pt x="4678" y="1576"/>
                  </a:cubicBezTo>
                  <a:cubicBezTo>
                    <a:pt x="4695" y="1572"/>
                    <a:pt x="4695" y="1572"/>
                    <a:pt x="4695" y="1572"/>
                  </a:cubicBezTo>
                  <a:cubicBezTo>
                    <a:pt x="4703" y="1582"/>
                    <a:pt x="4703" y="1582"/>
                    <a:pt x="4703" y="1582"/>
                  </a:cubicBezTo>
                  <a:cubicBezTo>
                    <a:pt x="4716" y="1581"/>
                    <a:pt x="4716" y="1581"/>
                    <a:pt x="4716" y="1581"/>
                  </a:cubicBezTo>
                  <a:cubicBezTo>
                    <a:pt x="4716" y="1574"/>
                    <a:pt x="4716" y="1574"/>
                    <a:pt x="4716" y="1574"/>
                  </a:cubicBezTo>
                  <a:cubicBezTo>
                    <a:pt x="4735" y="1576"/>
                    <a:pt x="4735" y="1576"/>
                    <a:pt x="4735" y="1576"/>
                  </a:cubicBezTo>
                  <a:cubicBezTo>
                    <a:pt x="4735" y="1576"/>
                    <a:pt x="4736" y="1565"/>
                    <a:pt x="4739" y="1560"/>
                  </a:cubicBezTo>
                  <a:cubicBezTo>
                    <a:pt x="4742" y="1555"/>
                    <a:pt x="4770" y="1556"/>
                    <a:pt x="4770" y="1556"/>
                  </a:cubicBezTo>
                  <a:cubicBezTo>
                    <a:pt x="4775" y="1542"/>
                    <a:pt x="4775" y="1542"/>
                    <a:pt x="4775" y="1542"/>
                  </a:cubicBezTo>
                  <a:cubicBezTo>
                    <a:pt x="4775" y="1542"/>
                    <a:pt x="4800" y="1536"/>
                    <a:pt x="4810" y="1544"/>
                  </a:cubicBezTo>
                  <a:cubicBezTo>
                    <a:pt x="4820" y="1552"/>
                    <a:pt x="4814" y="1565"/>
                    <a:pt x="4814" y="1565"/>
                  </a:cubicBezTo>
                  <a:cubicBezTo>
                    <a:pt x="4832" y="1573"/>
                    <a:pt x="4832" y="1573"/>
                    <a:pt x="4832" y="1573"/>
                  </a:cubicBezTo>
                  <a:cubicBezTo>
                    <a:pt x="4832" y="1593"/>
                    <a:pt x="4832" y="1593"/>
                    <a:pt x="4832" y="1593"/>
                  </a:cubicBezTo>
                  <a:cubicBezTo>
                    <a:pt x="4820" y="1598"/>
                    <a:pt x="4820" y="1598"/>
                    <a:pt x="4820" y="1598"/>
                  </a:cubicBezTo>
                  <a:cubicBezTo>
                    <a:pt x="4828" y="1608"/>
                    <a:pt x="4828" y="1608"/>
                    <a:pt x="4828" y="1608"/>
                  </a:cubicBezTo>
                  <a:cubicBezTo>
                    <a:pt x="4828" y="1620"/>
                    <a:pt x="4828" y="1620"/>
                    <a:pt x="4828" y="1620"/>
                  </a:cubicBezTo>
                  <a:cubicBezTo>
                    <a:pt x="4835" y="1630"/>
                    <a:pt x="4835" y="1630"/>
                    <a:pt x="4835" y="1630"/>
                  </a:cubicBezTo>
                  <a:cubicBezTo>
                    <a:pt x="4835" y="1643"/>
                    <a:pt x="4835" y="1643"/>
                    <a:pt x="4835" y="1643"/>
                  </a:cubicBezTo>
                  <a:cubicBezTo>
                    <a:pt x="4846" y="1650"/>
                    <a:pt x="4846" y="1650"/>
                    <a:pt x="4846" y="1650"/>
                  </a:cubicBezTo>
                  <a:cubicBezTo>
                    <a:pt x="4843" y="1667"/>
                    <a:pt x="4843" y="1667"/>
                    <a:pt x="4843" y="1667"/>
                  </a:cubicBezTo>
                  <a:cubicBezTo>
                    <a:pt x="4846" y="1684"/>
                    <a:pt x="4846" y="1684"/>
                    <a:pt x="4846" y="1684"/>
                  </a:cubicBezTo>
                  <a:cubicBezTo>
                    <a:pt x="4846" y="1684"/>
                    <a:pt x="4834" y="1688"/>
                    <a:pt x="4839" y="1700"/>
                  </a:cubicBezTo>
                  <a:cubicBezTo>
                    <a:pt x="4844" y="1712"/>
                    <a:pt x="4846" y="1713"/>
                    <a:pt x="4839" y="1719"/>
                  </a:cubicBezTo>
                  <a:cubicBezTo>
                    <a:pt x="4832" y="1725"/>
                    <a:pt x="4796" y="1702"/>
                    <a:pt x="4785" y="1707"/>
                  </a:cubicBezTo>
                  <a:cubicBezTo>
                    <a:pt x="4774" y="1712"/>
                    <a:pt x="4786" y="1718"/>
                    <a:pt x="4784" y="1723"/>
                  </a:cubicBezTo>
                  <a:cubicBezTo>
                    <a:pt x="4782" y="1728"/>
                    <a:pt x="4769" y="1719"/>
                    <a:pt x="4766" y="1729"/>
                  </a:cubicBezTo>
                  <a:cubicBezTo>
                    <a:pt x="4763" y="1739"/>
                    <a:pt x="4778" y="1740"/>
                    <a:pt x="4792" y="1753"/>
                  </a:cubicBezTo>
                  <a:cubicBezTo>
                    <a:pt x="4806" y="1766"/>
                    <a:pt x="4810" y="1785"/>
                    <a:pt x="4812" y="1791"/>
                  </a:cubicBezTo>
                  <a:cubicBezTo>
                    <a:pt x="4814" y="1797"/>
                    <a:pt x="4825" y="1808"/>
                    <a:pt x="4825" y="1808"/>
                  </a:cubicBezTo>
                  <a:cubicBezTo>
                    <a:pt x="4826" y="1831"/>
                    <a:pt x="4826" y="1831"/>
                    <a:pt x="4826" y="1831"/>
                  </a:cubicBezTo>
                  <a:cubicBezTo>
                    <a:pt x="4809" y="1827"/>
                    <a:pt x="4809" y="1827"/>
                    <a:pt x="4809" y="1827"/>
                  </a:cubicBezTo>
                  <a:cubicBezTo>
                    <a:pt x="4802" y="1845"/>
                    <a:pt x="4802" y="1845"/>
                    <a:pt x="4802" y="1845"/>
                  </a:cubicBezTo>
                  <a:cubicBezTo>
                    <a:pt x="4821" y="1851"/>
                    <a:pt x="4821" y="1851"/>
                    <a:pt x="4821" y="1851"/>
                  </a:cubicBezTo>
                  <a:cubicBezTo>
                    <a:pt x="4844" y="1852"/>
                    <a:pt x="4844" y="1852"/>
                    <a:pt x="4844" y="1852"/>
                  </a:cubicBezTo>
                  <a:cubicBezTo>
                    <a:pt x="4844" y="1852"/>
                    <a:pt x="4838" y="1811"/>
                    <a:pt x="4847" y="1807"/>
                  </a:cubicBezTo>
                  <a:cubicBezTo>
                    <a:pt x="4856" y="1803"/>
                    <a:pt x="4863" y="1816"/>
                    <a:pt x="4863" y="1816"/>
                  </a:cubicBezTo>
                  <a:cubicBezTo>
                    <a:pt x="4872" y="1808"/>
                    <a:pt x="4872" y="1808"/>
                    <a:pt x="4872" y="1808"/>
                  </a:cubicBezTo>
                  <a:cubicBezTo>
                    <a:pt x="4872" y="1808"/>
                    <a:pt x="4888" y="1840"/>
                    <a:pt x="4896" y="1838"/>
                  </a:cubicBezTo>
                  <a:cubicBezTo>
                    <a:pt x="4904" y="1836"/>
                    <a:pt x="4923" y="1830"/>
                    <a:pt x="4923" y="1830"/>
                  </a:cubicBezTo>
                  <a:cubicBezTo>
                    <a:pt x="4923" y="1842"/>
                    <a:pt x="4923" y="1842"/>
                    <a:pt x="4923" y="1842"/>
                  </a:cubicBezTo>
                  <a:cubicBezTo>
                    <a:pt x="4923" y="1842"/>
                    <a:pt x="4978" y="1822"/>
                    <a:pt x="4980" y="1802"/>
                  </a:cubicBezTo>
                  <a:cubicBezTo>
                    <a:pt x="4982" y="1782"/>
                    <a:pt x="4985" y="1754"/>
                    <a:pt x="4985" y="1754"/>
                  </a:cubicBezTo>
                  <a:cubicBezTo>
                    <a:pt x="4999" y="1747"/>
                    <a:pt x="4999" y="1747"/>
                    <a:pt x="4999" y="1747"/>
                  </a:cubicBezTo>
                  <a:cubicBezTo>
                    <a:pt x="4999" y="1747"/>
                    <a:pt x="4997" y="1704"/>
                    <a:pt x="5006" y="1697"/>
                  </a:cubicBezTo>
                  <a:cubicBezTo>
                    <a:pt x="5015" y="1690"/>
                    <a:pt x="5017" y="1666"/>
                    <a:pt x="5019" y="1650"/>
                  </a:cubicBezTo>
                  <a:cubicBezTo>
                    <a:pt x="5021" y="1634"/>
                    <a:pt x="5010" y="1607"/>
                    <a:pt x="5010" y="1607"/>
                  </a:cubicBezTo>
                  <a:cubicBezTo>
                    <a:pt x="5010" y="1607"/>
                    <a:pt x="5024" y="1585"/>
                    <a:pt x="5024" y="1580"/>
                  </a:cubicBezTo>
                  <a:cubicBezTo>
                    <a:pt x="5024" y="1575"/>
                    <a:pt x="5016" y="1565"/>
                    <a:pt x="5016" y="1565"/>
                  </a:cubicBezTo>
                  <a:cubicBezTo>
                    <a:pt x="5016" y="1565"/>
                    <a:pt x="5033" y="1541"/>
                    <a:pt x="5029" y="1532"/>
                  </a:cubicBezTo>
                  <a:cubicBezTo>
                    <a:pt x="5025" y="1523"/>
                    <a:pt x="5013" y="1496"/>
                    <a:pt x="5013" y="1496"/>
                  </a:cubicBezTo>
                  <a:cubicBezTo>
                    <a:pt x="5013" y="1496"/>
                    <a:pt x="5005" y="1468"/>
                    <a:pt x="4998" y="1465"/>
                  </a:cubicBezTo>
                  <a:cubicBezTo>
                    <a:pt x="4991" y="1462"/>
                    <a:pt x="4986" y="1458"/>
                    <a:pt x="4986" y="1458"/>
                  </a:cubicBezTo>
                  <a:cubicBezTo>
                    <a:pt x="4990" y="1451"/>
                    <a:pt x="4990" y="1451"/>
                    <a:pt x="4990" y="1451"/>
                  </a:cubicBezTo>
                  <a:cubicBezTo>
                    <a:pt x="4990" y="1451"/>
                    <a:pt x="4971" y="1443"/>
                    <a:pt x="4965" y="1428"/>
                  </a:cubicBezTo>
                  <a:cubicBezTo>
                    <a:pt x="4959" y="1413"/>
                    <a:pt x="4957" y="1401"/>
                    <a:pt x="4957" y="1401"/>
                  </a:cubicBezTo>
                  <a:cubicBezTo>
                    <a:pt x="4948" y="1395"/>
                    <a:pt x="4948" y="1395"/>
                    <a:pt x="4948" y="1395"/>
                  </a:cubicBezTo>
                  <a:cubicBezTo>
                    <a:pt x="4948" y="1395"/>
                    <a:pt x="4955" y="1365"/>
                    <a:pt x="4948" y="1356"/>
                  </a:cubicBezTo>
                  <a:cubicBezTo>
                    <a:pt x="4941" y="1347"/>
                    <a:pt x="4936" y="1340"/>
                    <a:pt x="4936" y="1340"/>
                  </a:cubicBezTo>
                  <a:cubicBezTo>
                    <a:pt x="4924" y="1336"/>
                    <a:pt x="4924" y="1336"/>
                    <a:pt x="4924" y="1336"/>
                  </a:cubicBezTo>
                  <a:cubicBezTo>
                    <a:pt x="4924" y="1336"/>
                    <a:pt x="4920" y="1322"/>
                    <a:pt x="4913" y="1317"/>
                  </a:cubicBezTo>
                  <a:cubicBezTo>
                    <a:pt x="4906" y="1312"/>
                    <a:pt x="4889" y="1304"/>
                    <a:pt x="4889" y="1304"/>
                  </a:cubicBezTo>
                  <a:cubicBezTo>
                    <a:pt x="4875" y="1300"/>
                    <a:pt x="4875" y="1300"/>
                    <a:pt x="4875" y="1300"/>
                  </a:cubicBezTo>
                  <a:cubicBezTo>
                    <a:pt x="4872" y="1291"/>
                    <a:pt x="4872" y="1291"/>
                    <a:pt x="4872" y="1291"/>
                  </a:cubicBezTo>
                  <a:cubicBezTo>
                    <a:pt x="4872" y="1291"/>
                    <a:pt x="4900" y="1304"/>
                    <a:pt x="4903" y="1298"/>
                  </a:cubicBezTo>
                  <a:cubicBezTo>
                    <a:pt x="4906" y="1292"/>
                    <a:pt x="4885" y="1286"/>
                    <a:pt x="4885" y="1286"/>
                  </a:cubicBezTo>
                  <a:cubicBezTo>
                    <a:pt x="4830" y="1260"/>
                    <a:pt x="4830" y="1260"/>
                    <a:pt x="4830" y="1260"/>
                  </a:cubicBezTo>
                  <a:cubicBezTo>
                    <a:pt x="4830" y="1260"/>
                    <a:pt x="4802" y="1243"/>
                    <a:pt x="4794" y="1238"/>
                  </a:cubicBezTo>
                  <a:cubicBezTo>
                    <a:pt x="4786" y="1233"/>
                    <a:pt x="4772" y="1243"/>
                    <a:pt x="4772" y="1243"/>
                  </a:cubicBezTo>
                  <a:cubicBezTo>
                    <a:pt x="4746" y="1236"/>
                    <a:pt x="4746" y="1236"/>
                    <a:pt x="4746" y="1236"/>
                  </a:cubicBezTo>
                  <a:cubicBezTo>
                    <a:pt x="4771" y="1264"/>
                    <a:pt x="4771" y="1264"/>
                    <a:pt x="4771" y="1264"/>
                  </a:cubicBezTo>
                  <a:cubicBezTo>
                    <a:pt x="4767" y="1281"/>
                    <a:pt x="4767" y="1281"/>
                    <a:pt x="4767" y="1281"/>
                  </a:cubicBezTo>
                  <a:cubicBezTo>
                    <a:pt x="4759" y="1279"/>
                    <a:pt x="4759" y="1279"/>
                    <a:pt x="4759" y="1279"/>
                  </a:cubicBezTo>
                  <a:cubicBezTo>
                    <a:pt x="4758" y="1259"/>
                    <a:pt x="4758" y="1259"/>
                    <a:pt x="4758" y="1259"/>
                  </a:cubicBezTo>
                  <a:cubicBezTo>
                    <a:pt x="4748" y="1252"/>
                    <a:pt x="4748" y="1252"/>
                    <a:pt x="4748" y="1252"/>
                  </a:cubicBezTo>
                  <a:cubicBezTo>
                    <a:pt x="4746" y="1271"/>
                    <a:pt x="4746" y="1271"/>
                    <a:pt x="4746" y="1271"/>
                  </a:cubicBezTo>
                  <a:cubicBezTo>
                    <a:pt x="4717" y="1273"/>
                    <a:pt x="4717" y="1273"/>
                    <a:pt x="4717" y="1273"/>
                  </a:cubicBezTo>
                  <a:cubicBezTo>
                    <a:pt x="4717" y="1273"/>
                    <a:pt x="4724" y="1263"/>
                    <a:pt x="4719" y="1257"/>
                  </a:cubicBezTo>
                  <a:cubicBezTo>
                    <a:pt x="4714" y="1251"/>
                    <a:pt x="4701" y="1253"/>
                    <a:pt x="4701" y="1253"/>
                  </a:cubicBezTo>
                  <a:cubicBezTo>
                    <a:pt x="4696" y="1260"/>
                    <a:pt x="4696" y="1260"/>
                    <a:pt x="4696" y="1260"/>
                  </a:cubicBezTo>
                  <a:cubicBezTo>
                    <a:pt x="4681" y="1261"/>
                    <a:pt x="4681" y="1261"/>
                    <a:pt x="4681" y="1261"/>
                  </a:cubicBezTo>
                  <a:cubicBezTo>
                    <a:pt x="4672" y="1236"/>
                    <a:pt x="4672" y="1236"/>
                    <a:pt x="4672" y="1236"/>
                  </a:cubicBezTo>
                  <a:cubicBezTo>
                    <a:pt x="4668" y="1235"/>
                    <a:pt x="4668" y="1235"/>
                    <a:pt x="4668" y="1235"/>
                  </a:cubicBezTo>
                  <a:cubicBezTo>
                    <a:pt x="4660" y="1222"/>
                    <a:pt x="4660" y="1222"/>
                    <a:pt x="4660" y="1222"/>
                  </a:cubicBezTo>
                  <a:cubicBezTo>
                    <a:pt x="4612" y="1224"/>
                    <a:pt x="4612" y="1224"/>
                    <a:pt x="4612" y="1224"/>
                  </a:cubicBezTo>
                  <a:cubicBezTo>
                    <a:pt x="4606" y="1218"/>
                    <a:pt x="4606" y="1218"/>
                    <a:pt x="4606" y="1218"/>
                  </a:cubicBezTo>
                  <a:cubicBezTo>
                    <a:pt x="4606" y="1218"/>
                    <a:pt x="4580" y="1222"/>
                    <a:pt x="4580" y="1205"/>
                  </a:cubicBezTo>
                  <a:cubicBezTo>
                    <a:pt x="4580" y="1188"/>
                    <a:pt x="4602" y="1186"/>
                    <a:pt x="4602" y="1186"/>
                  </a:cubicBezTo>
                  <a:cubicBezTo>
                    <a:pt x="4602" y="1170"/>
                    <a:pt x="4602" y="1170"/>
                    <a:pt x="4602" y="1170"/>
                  </a:cubicBezTo>
                  <a:cubicBezTo>
                    <a:pt x="4602" y="1170"/>
                    <a:pt x="4621" y="1169"/>
                    <a:pt x="4622" y="1158"/>
                  </a:cubicBezTo>
                  <a:cubicBezTo>
                    <a:pt x="4623" y="1147"/>
                    <a:pt x="4633" y="1132"/>
                    <a:pt x="4633" y="1132"/>
                  </a:cubicBezTo>
                  <a:cubicBezTo>
                    <a:pt x="4623" y="1123"/>
                    <a:pt x="4623" y="1123"/>
                    <a:pt x="4623" y="1123"/>
                  </a:cubicBezTo>
                  <a:cubicBezTo>
                    <a:pt x="4630" y="1110"/>
                    <a:pt x="4630" y="1110"/>
                    <a:pt x="4630" y="1110"/>
                  </a:cubicBezTo>
                  <a:cubicBezTo>
                    <a:pt x="4623" y="1100"/>
                    <a:pt x="4623" y="1100"/>
                    <a:pt x="4623" y="1100"/>
                  </a:cubicBezTo>
                  <a:cubicBezTo>
                    <a:pt x="4637" y="1089"/>
                    <a:pt x="4637" y="1089"/>
                    <a:pt x="4637" y="1089"/>
                  </a:cubicBezTo>
                  <a:cubicBezTo>
                    <a:pt x="4651" y="1086"/>
                    <a:pt x="4651" y="1086"/>
                    <a:pt x="4651" y="1086"/>
                  </a:cubicBezTo>
                  <a:cubicBezTo>
                    <a:pt x="4645" y="1064"/>
                    <a:pt x="4645" y="1064"/>
                    <a:pt x="4645" y="1064"/>
                  </a:cubicBezTo>
                  <a:cubicBezTo>
                    <a:pt x="4660" y="1059"/>
                    <a:pt x="4660" y="1059"/>
                    <a:pt x="4660" y="1059"/>
                  </a:cubicBezTo>
                  <a:cubicBezTo>
                    <a:pt x="4642" y="1036"/>
                    <a:pt x="4642" y="1036"/>
                    <a:pt x="4642" y="1036"/>
                  </a:cubicBezTo>
                  <a:cubicBezTo>
                    <a:pt x="4664" y="1027"/>
                    <a:pt x="4664" y="1027"/>
                    <a:pt x="4664" y="1027"/>
                  </a:cubicBezTo>
                  <a:cubicBezTo>
                    <a:pt x="4664" y="1027"/>
                    <a:pt x="4657" y="997"/>
                    <a:pt x="4673" y="987"/>
                  </a:cubicBezTo>
                  <a:cubicBezTo>
                    <a:pt x="4689" y="977"/>
                    <a:pt x="4695" y="976"/>
                    <a:pt x="4695" y="976"/>
                  </a:cubicBezTo>
                  <a:cubicBezTo>
                    <a:pt x="4695" y="976"/>
                    <a:pt x="4720" y="980"/>
                    <a:pt x="4732" y="979"/>
                  </a:cubicBezTo>
                  <a:cubicBezTo>
                    <a:pt x="4744" y="978"/>
                    <a:pt x="4796" y="982"/>
                    <a:pt x="4796" y="982"/>
                  </a:cubicBezTo>
                  <a:cubicBezTo>
                    <a:pt x="4807" y="993"/>
                    <a:pt x="4807" y="993"/>
                    <a:pt x="4807" y="993"/>
                  </a:cubicBezTo>
                  <a:cubicBezTo>
                    <a:pt x="4820" y="988"/>
                    <a:pt x="4820" y="988"/>
                    <a:pt x="4820" y="988"/>
                  </a:cubicBezTo>
                  <a:cubicBezTo>
                    <a:pt x="4815" y="976"/>
                    <a:pt x="4815" y="976"/>
                    <a:pt x="4815" y="976"/>
                  </a:cubicBezTo>
                  <a:cubicBezTo>
                    <a:pt x="4865" y="989"/>
                    <a:pt x="4865" y="989"/>
                    <a:pt x="4865" y="989"/>
                  </a:cubicBezTo>
                  <a:cubicBezTo>
                    <a:pt x="4885" y="977"/>
                    <a:pt x="4885" y="977"/>
                    <a:pt x="4885" y="977"/>
                  </a:cubicBezTo>
                  <a:cubicBezTo>
                    <a:pt x="4904" y="992"/>
                    <a:pt x="4904" y="992"/>
                    <a:pt x="4904" y="992"/>
                  </a:cubicBezTo>
                  <a:cubicBezTo>
                    <a:pt x="4909" y="968"/>
                    <a:pt x="4909" y="968"/>
                    <a:pt x="4909" y="968"/>
                  </a:cubicBezTo>
                  <a:cubicBezTo>
                    <a:pt x="4909" y="968"/>
                    <a:pt x="4932" y="966"/>
                    <a:pt x="4948" y="967"/>
                  </a:cubicBezTo>
                  <a:cubicBezTo>
                    <a:pt x="4964" y="968"/>
                    <a:pt x="4970" y="982"/>
                    <a:pt x="4976" y="980"/>
                  </a:cubicBezTo>
                  <a:cubicBezTo>
                    <a:pt x="4982" y="978"/>
                    <a:pt x="5000" y="967"/>
                    <a:pt x="5000" y="967"/>
                  </a:cubicBezTo>
                  <a:cubicBezTo>
                    <a:pt x="5016" y="981"/>
                    <a:pt x="5016" y="981"/>
                    <a:pt x="5016" y="981"/>
                  </a:cubicBezTo>
                  <a:cubicBezTo>
                    <a:pt x="5044" y="986"/>
                    <a:pt x="5044" y="986"/>
                    <a:pt x="5044" y="986"/>
                  </a:cubicBezTo>
                  <a:cubicBezTo>
                    <a:pt x="5008" y="993"/>
                    <a:pt x="5008" y="993"/>
                    <a:pt x="5008" y="993"/>
                  </a:cubicBezTo>
                  <a:cubicBezTo>
                    <a:pt x="5008" y="993"/>
                    <a:pt x="5019" y="1014"/>
                    <a:pt x="5030" y="1009"/>
                  </a:cubicBezTo>
                  <a:cubicBezTo>
                    <a:pt x="5041" y="1004"/>
                    <a:pt x="5061" y="996"/>
                    <a:pt x="5061" y="996"/>
                  </a:cubicBezTo>
                  <a:cubicBezTo>
                    <a:pt x="5079" y="1005"/>
                    <a:pt x="5079" y="1005"/>
                    <a:pt x="5079" y="1005"/>
                  </a:cubicBezTo>
                  <a:cubicBezTo>
                    <a:pt x="5094" y="993"/>
                    <a:pt x="5094" y="993"/>
                    <a:pt x="5094" y="993"/>
                  </a:cubicBezTo>
                  <a:cubicBezTo>
                    <a:pt x="5094" y="993"/>
                    <a:pt x="5121" y="1002"/>
                    <a:pt x="5129" y="998"/>
                  </a:cubicBezTo>
                  <a:cubicBezTo>
                    <a:pt x="5137" y="994"/>
                    <a:pt x="5131" y="986"/>
                    <a:pt x="5131" y="986"/>
                  </a:cubicBezTo>
                  <a:cubicBezTo>
                    <a:pt x="5155" y="988"/>
                    <a:pt x="5155" y="988"/>
                    <a:pt x="5155" y="988"/>
                  </a:cubicBezTo>
                  <a:cubicBezTo>
                    <a:pt x="5122" y="970"/>
                    <a:pt x="5122" y="970"/>
                    <a:pt x="5122" y="970"/>
                  </a:cubicBezTo>
                  <a:cubicBezTo>
                    <a:pt x="5104" y="977"/>
                    <a:pt x="5104" y="977"/>
                    <a:pt x="5104" y="977"/>
                  </a:cubicBezTo>
                  <a:cubicBezTo>
                    <a:pt x="5099" y="965"/>
                    <a:pt x="5099" y="965"/>
                    <a:pt x="5099" y="965"/>
                  </a:cubicBezTo>
                  <a:cubicBezTo>
                    <a:pt x="5099" y="965"/>
                    <a:pt x="5084" y="942"/>
                    <a:pt x="5086" y="937"/>
                  </a:cubicBezTo>
                  <a:cubicBezTo>
                    <a:pt x="5088" y="932"/>
                    <a:pt x="5105" y="918"/>
                    <a:pt x="5105" y="918"/>
                  </a:cubicBezTo>
                  <a:cubicBezTo>
                    <a:pt x="5101" y="898"/>
                    <a:pt x="5101" y="898"/>
                    <a:pt x="5101" y="898"/>
                  </a:cubicBezTo>
                  <a:cubicBezTo>
                    <a:pt x="5110" y="890"/>
                    <a:pt x="5110" y="890"/>
                    <a:pt x="5110" y="890"/>
                  </a:cubicBezTo>
                  <a:cubicBezTo>
                    <a:pt x="5110" y="890"/>
                    <a:pt x="5084" y="877"/>
                    <a:pt x="5101" y="866"/>
                  </a:cubicBezTo>
                  <a:cubicBezTo>
                    <a:pt x="5118" y="855"/>
                    <a:pt x="5154" y="866"/>
                    <a:pt x="5154" y="866"/>
                  </a:cubicBezTo>
                  <a:cubicBezTo>
                    <a:pt x="5168" y="852"/>
                    <a:pt x="5168" y="852"/>
                    <a:pt x="5168" y="852"/>
                  </a:cubicBezTo>
                  <a:cubicBezTo>
                    <a:pt x="5190" y="871"/>
                    <a:pt x="5190" y="871"/>
                    <a:pt x="5190" y="871"/>
                  </a:cubicBezTo>
                  <a:cubicBezTo>
                    <a:pt x="5209" y="860"/>
                    <a:pt x="5209" y="860"/>
                    <a:pt x="5209" y="860"/>
                  </a:cubicBezTo>
                  <a:cubicBezTo>
                    <a:pt x="5209" y="860"/>
                    <a:pt x="5222" y="893"/>
                    <a:pt x="5229" y="896"/>
                  </a:cubicBezTo>
                  <a:cubicBezTo>
                    <a:pt x="5236" y="899"/>
                    <a:pt x="5257" y="895"/>
                    <a:pt x="5257" y="895"/>
                  </a:cubicBezTo>
                  <a:cubicBezTo>
                    <a:pt x="5257" y="895"/>
                    <a:pt x="5257" y="926"/>
                    <a:pt x="5268" y="922"/>
                  </a:cubicBezTo>
                  <a:cubicBezTo>
                    <a:pt x="5279" y="918"/>
                    <a:pt x="5294" y="878"/>
                    <a:pt x="5294" y="878"/>
                  </a:cubicBezTo>
                  <a:cubicBezTo>
                    <a:pt x="5310" y="869"/>
                    <a:pt x="5310" y="869"/>
                    <a:pt x="5310" y="869"/>
                  </a:cubicBezTo>
                  <a:cubicBezTo>
                    <a:pt x="5330" y="876"/>
                    <a:pt x="5330" y="876"/>
                    <a:pt x="5330" y="876"/>
                  </a:cubicBezTo>
                  <a:cubicBezTo>
                    <a:pt x="5329" y="867"/>
                    <a:pt x="5329" y="867"/>
                    <a:pt x="5329" y="867"/>
                  </a:cubicBezTo>
                  <a:cubicBezTo>
                    <a:pt x="5310" y="857"/>
                    <a:pt x="5310" y="857"/>
                    <a:pt x="5310" y="857"/>
                  </a:cubicBezTo>
                  <a:cubicBezTo>
                    <a:pt x="5310" y="857"/>
                    <a:pt x="5263" y="823"/>
                    <a:pt x="5274" y="822"/>
                  </a:cubicBezTo>
                  <a:cubicBezTo>
                    <a:pt x="5285" y="821"/>
                    <a:pt x="5339" y="823"/>
                    <a:pt x="5339" y="823"/>
                  </a:cubicBezTo>
                  <a:cubicBezTo>
                    <a:pt x="5373" y="823"/>
                    <a:pt x="5373" y="823"/>
                    <a:pt x="5373" y="823"/>
                  </a:cubicBezTo>
                  <a:cubicBezTo>
                    <a:pt x="5373" y="823"/>
                    <a:pt x="5376" y="837"/>
                    <a:pt x="5372" y="836"/>
                  </a:cubicBezTo>
                  <a:cubicBezTo>
                    <a:pt x="5368" y="835"/>
                    <a:pt x="5329" y="823"/>
                    <a:pt x="5331" y="837"/>
                  </a:cubicBezTo>
                  <a:cubicBezTo>
                    <a:pt x="5333" y="851"/>
                    <a:pt x="5356" y="864"/>
                    <a:pt x="5356" y="864"/>
                  </a:cubicBezTo>
                  <a:cubicBezTo>
                    <a:pt x="5358" y="881"/>
                    <a:pt x="5358" y="881"/>
                    <a:pt x="5358" y="881"/>
                  </a:cubicBezTo>
                  <a:cubicBezTo>
                    <a:pt x="5378" y="884"/>
                    <a:pt x="5378" y="884"/>
                    <a:pt x="5378" y="884"/>
                  </a:cubicBezTo>
                  <a:cubicBezTo>
                    <a:pt x="5374" y="897"/>
                    <a:pt x="5374" y="897"/>
                    <a:pt x="5374" y="897"/>
                  </a:cubicBezTo>
                  <a:cubicBezTo>
                    <a:pt x="5387" y="908"/>
                    <a:pt x="5387" y="908"/>
                    <a:pt x="5387" y="908"/>
                  </a:cubicBezTo>
                  <a:cubicBezTo>
                    <a:pt x="5369" y="911"/>
                    <a:pt x="5369" y="911"/>
                    <a:pt x="5369" y="911"/>
                  </a:cubicBezTo>
                  <a:cubicBezTo>
                    <a:pt x="5364" y="922"/>
                    <a:pt x="5364" y="922"/>
                    <a:pt x="5364" y="922"/>
                  </a:cubicBezTo>
                  <a:cubicBezTo>
                    <a:pt x="5352" y="926"/>
                    <a:pt x="5352" y="926"/>
                    <a:pt x="5352" y="926"/>
                  </a:cubicBezTo>
                  <a:cubicBezTo>
                    <a:pt x="5352" y="926"/>
                    <a:pt x="5365" y="948"/>
                    <a:pt x="5358" y="960"/>
                  </a:cubicBezTo>
                  <a:cubicBezTo>
                    <a:pt x="5351" y="972"/>
                    <a:pt x="5340" y="992"/>
                    <a:pt x="5340" y="999"/>
                  </a:cubicBezTo>
                  <a:cubicBezTo>
                    <a:pt x="5340" y="1006"/>
                    <a:pt x="5358" y="1012"/>
                    <a:pt x="5345" y="1029"/>
                  </a:cubicBezTo>
                  <a:cubicBezTo>
                    <a:pt x="5332" y="1046"/>
                    <a:pt x="5310" y="1051"/>
                    <a:pt x="5310" y="1051"/>
                  </a:cubicBezTo>
                  <a:cubicBezTo>
                    <a:pt x="5313" y="1063"/>
                    <a:pt x="5313" y="1063"/>
                    <a:pt x="5313" y="1063"/>
                  </a:cubicBezTo>
                  <a:cubicBezTo>
                    <a:pt x="5300" y="1063"/>
                    <a:pt x="5300" y="1063"/>
                    <a:pt x="5300" y="1063"/>
                  </a:cubicBezTo>
                  <a:cubicBezTo>
                    <a:pt x="5300" y="1063"/>
                    <a:pt x="5324" y="1073"/>
                    <a:pt x="5322" y="1090"/>
                  </a:cubicBezTo>
                  <a:cubicBezTo>
                    <a:pt x="5320" y="1107"/>
                    <a:pt x="5313" y="1118"/>
                    <a:pt x="5320" y="1135"/>
                  </a:cubicBezTo>
                  <a:cubicBezTo>
                    <a:pt x="5327" y="1152"/>
                    <a:pt x="5392" y="1206"/>
                    <a:pt x="5392" y="1206"/>
                  </a:cubicBezTo>
                  <a:cubicBezTo>
                    <a:pt x="5432" y="1247"/>
                    <a:pt x="5432" y="1247"/>
                    <a:pt x="5432" y="1247"/>
                  </a:cubicBezTo>
                  <a:cubicBezTo>
                    <a:pt x="5441" y="1244"/>
                    <a:pt x="5441" y="1244"/>
                    <a:pt x="5441" y="1244"/>
                  </a:cubicBezTo>
                  <a:cubicBezTo>
                    <a:pt x="5494" y="1308"/>
                    <a:pt x="5494" y="1308"/>
                    <a:pt x="5494" y="1308"/>
                  </a:cubicBezTo>
                  <a:cubicBezTo>
                    <a:pt x="5529" y="1319"/>
                    <a:pt x="5529" y="1319"/>
                    <a:pt x="5529" y="1319"/>
                  </a:cubicBezTo>
                  <a:cubicBezTo>
                    <a:pt x="5544" y="1337"/>
                    <a:pt x="5544" y="1337"/>
                    <a:pt x="5544" y="1337"/>
                  </a:cubicBezTo>
                  <a:cubicBezTo>
                    <a:pt x="5544" y="1337"/>
                    <a:pt x="5583" y="1385"/>
                    <a:pt x="5590" y="1389"/>
                  </a:cubicBezTo>
                  <a:cubicBezTo>
                    <a:pt x="5597" y="1393"/>
                    <a:pt x="5608" y="1393"/>
                    <a:pt x="5608" y="1393"/>
                  </a:cubicBezTo>
                  <a:cubicBezTo>
                    <a:pt x="5608" y="1393"/>
                    <a:pt x="5602" y="1411"/>
                    <a:pt x="5617" y="1405"/>
                  </a:cubicBezTo>
                  <a:cubicBezTo>
                    <a:pt x="5632" y="1399"/>
                    <a:pt x="5630" y="1386"/>
                    <a:pt x="5630" y="1386"/>
                  </a:cubicBezTo>
                  <a:cubicBezTo>
                    <a:pt x="5623" y="1378"/>
                    <a:pt x="5623" y="1378"/>
                    <a:pt x="5623" y="1378"/>
                  </a:cubicBezTo>
                  <a:cubicBezTo>
                    <a:pt x="5623" y="1378"/>
                    <a:pt x="5638" y="1358"/>
                    <a:pt x="5635" y="1349"/>
                  </a:cubicBezTo>
                  <a:cubicBezTo>
                    <a:pt x="5632" y="1340"/>
                    <a:pt x="5601" y="1323"/>
                    <a:pt x="5608" y="1310"/>
                  </a:cubicBezTo>
                  <a:cubicBezTo>
                    <a:pt x="5615" y="1297"/>
                    <a:pt x="5624" y="1289"/>
                    <a:pt x="5627" y="1288"/>
                  </a:cubicBezTo>
                  <a:cubicBezTo>
                    <a:pt x="5630" y="1287"/>
                    <a:pt x="5650" y="1295"/>
                    <a:pt x="5650" y="1295"/>
                  </a:cubicBezTo>
                  <a:cubicBezTo>
                    <a:pt x="5650" y="1295"/>
                    <a:pt x="5628" y="1269"/>
                    <a:pt x="5622" y="1265"/>
                  </a:cubicBezTo>
                  <a:cubicBezTo>
                    <a:pt x="5616" y="1261"/>
                    <a:pt x="5601" y="1255"/>
                    <a:pt x="5604" y="1240"/>
                  </a:cubicBezTo>
                  <a:cubicBezTo>
                    <a:pt x="5607" y="1225"/>
                    <a:pt x="5625" y="1220"/>
                    <a:pt x="5625" y="1220"/>
                  </a:cubicBezTo>
                  <a:cubicBezTo>
                    <a:pt x="5625" y="1220"/>
                    <a:pt x="5654" y="1232"/>
                    <a:pt x="5652" y="1217"/>
                  </a:cubicBezTo>
                  <a:cubicBezTo>
                    <a:pt x="5650" y="1202"/>
                    <a:pt x="5637" y="1198"/>
                    <a:pt x="5621" y="1190"/>
                  </a:cubicBezTo>
                  <a:cubicBezTo>
                    <a:pt x="5605" y="1182"/>
                    <a:pt x="5591" y="1163"/>
                    <a:pt x="5590" y="1152"/>
                  </a:cubicBezTo>
                  <a:cubicBezTo>
                    <a:pt x="5589" y="1141"/>
                    <a:pt x="5583" y="1129"/>
                    <a:pt x="5583" y="1129"/>
                  </a:cubicBezTo>
                  <a:cubicBezTo>
                    <a:pt x="5590" y="1126"/>
                    <a:pt x="5590" y="1126"/>
                    <a:pt x="5590" y="1126"/>
                  </a:cubicBezTo>
                  <a:cubicBezTo>
                    <a:pt x="5590" y="1126"/>
                    <a:pt x="5616" y="1151"/>
                    <a:pt x="5622" y="1146"/>
                  </a:cubicBezTo>
                  <a:cubicBezTo>
                    <a:pt x="5628" y="1141"/>
                    <a:pt x="5604" y="1114"/>
                    <a:pt x="5604" y="1114"/>
                  </a:cubicBezTo>
                  <a:cubicBezTo>
                    <a:pt x="5581" y="1111"/>
                    <a:pt x="5581" y="1111"/>
                    <a:pt x="5581" y="1111"/>
                  </a:cubicBezTo>
                  <a:cubicBezTo>
                    <a:pt x="5548" y="1083"/>
                    <a:pt x="5548" y="1083"/>
                    <a:pt x="5548" y="1083"/>
                  </a:cubicBezTo>
                  <a:cubicBezTo>
                    <a:pt x="5548" y="1083"/>
                    <a:pt x="5552" y="1062"/>
                    <a:pt x="5536" y="1055"/>
                  </a:cubicBezTo>
                  <a:cubicBezTo>
                    <a:pt x="5520" y="1048"/>
                    <a:pt x="5508" y="1048"/>
                    <a:pt x="5508" y="1048"/>
                  </a:cubicBezTo>
                  <a:cubicBezTo>
                    <a:pt x="5509" y="1060"/>
                    <a:pt x="5509" y="1060"/>
                    <a:pt x="5509" y="1060"/>
                  </a:cubicBezTo>
                  <a:cubicBezTo>
                    <a:pt x="5509" y="1060"/>
                    <a:pt x="5465" y="1050"/>
                    <a:pt x="5464" y="1034"/>
                  </a:cubicBezTo>
                  <a:cubicBezTo>
                    <a:pt x="5463" y="1018"/>
                    <a:pt x="5471" y="1007"/>
                    <a:pt x="5463" y="992"/>
                  </a:cubicBezTo>
                  <a:cubicBezTo>
                    <a:pt x="5455" y="977"/>
                    <a:pt x="5439" y="969"/>
                    <a:pt x="5439" y="969"/>
                  </a:cubicBezTo>
                  <a:cubicBezTo>
                    <a:pt x="5439" y="969"/>
                    <a:pt x="5441" y="953"/>
                    <a:pt x="5445" y="951"/>
                  </a:cubicBezTo>
                  <a:cubicBezTo>
                    <a:pt x="5449" y="949"/>
                    <a:pt x="5458" y="956"/>
                    <a:pt x="5458" y="956"/>
                  </a:cubicBezTo>
                  <a:cubicBezTo>
                    <a:pt x="5467" y="945"/>
                    <a:pt x="5467" y="945"/>
                    <a:pt x="5467" y="945"/>
                  </a:cubicBezTo>
                  <a:cubicBezTo>
                    <a:pt x="5492" y="964"/>
                    <a:pt x="5492" y="964"/>
                    <a:pt x="5492" y="964"/>
                  </a:cubicBezTo>
                  <a:cubicBezTo>
                    <a:pt x="5497" y="959"/>
                    <a:pt x="5497" y="959"/>
                    <a:pt x="5497" y="959"/>
                  </a:cubicBezTo>
                  <a:cubicBezTo>
                    <a:pt x="5489" y="951"/>
                    <a:pt x="5489" y="951"/>
                    <a:pt x="5489" y="951"/>
                  </a:cubicBezTo>
                  <a:cubicBezTo>
                    <a:pt x="5489" y="951"/>
                    <a:pt x="5495" y="919"/>
                    <a:pt x="5506" y="925"/>
                  </a:cubicBezTo>
                  <a:cubicBezTo>
                    <a:pt x="5517" y="931"/>
                    <a:pt x="5544" y="964"/>
                    <a:pt x="5544" y="964"/>
                  </a:cubicBezTo>
                  <a:cubicBezTo>
                    <a:pt x="5551" y="931"/>
                    <a:pt x="5551" y="931"/>
                    <a:pt x="5551" y="931"/>
                  </a:cubicBezTo>
                  <a:cubicBezTo>
                    <a:pt x="5551" y="931"/>
                    <a:pt x="5608" y="924"/>
                    <a:pt x="5617" y="924"/>
                  </a:cubicBezTo>
                  <a:cubicBezTo>
                    <a:pt x="5626" y="924"/>
                    <a:pt x="5663" y="944"/>
                    <a:pt x="5663" y="944"/>
                  </a:cubicBezTo>
                  <a:cubicBezTo>
                    <a:pt x="5691" y="955"/>
                    <a:pt x="5691" y="955"/>
                    <a:pt x="5691" y="955"/>
                  </a:cubicBezTo>
                  <a:cubicBezTo>
                    <a:pt x="5671" y="915"/>
                    <a:pt x="5671" y="915"/>
                    <a:pt x="5671" y="915"/>
                  </a:cubicBezTo>
                  <a:cubicBezTo>
                    <a:pt x="5671" y="915"/>
                    <a:pt x="5703" y="916"/>
                    <a:pt x="5705" y="905"/>
                  </a:cubicBezTo>
                  <a:cubicBezTo>
                    <a:pt x="5707" y="894"/>
                    <a:pt x="5697" y="876"/>
                    <a:pt x="5697" y="876"/>
                  </a:cubicBezTo>
                  <a:cubicBezTo>
                    <a:pt x="5710" y="877"/>
                    <a:pt x="5710" y="877"/>
                    <a:pt x="5710" y="877"/>
                  </a:cubicBezTo>
                  <a:cubicBezTo>
                    <a:pt x="5713" y="861"/>
                    <a:pt x="5713" y="861"/>
                    <a:pt x="5713" y="861"/>
                  </a:cubicBezTo>
                  <a:cubicBezTo>
                    <a:pt x="5713" y="861"/>
                    <a:pt x="5752" y="870"/>
                    <a:pt x="5758" y="855"/>
                  </a:cubicBezTo>
                  <a:cubicBezTo>
                    <a:pt x="5764" y="840"/>
                    <a:pt x="5784" y="828"/>
                    <a:pt x="5784" y="828"/>
                  </a:cubicBezTo>
                  <a:cubicBezTo>
                    <a:pt x="5770" y="811"/>
                    <a:pt x="5770" y="811"/>
                    <a:pt x="5770" y="811"/>
                  </a:cubicBezTo>
                  <a:cubicBezTo>
                    <a:pt x="5791" y="813"/>
                    <a:pt x="5791" y="813"/>
                    <a:pt x="5791" y="813"/>
                  </a:cubicBezTo>
                  <a:cubicBezTo>
                    <a:pt x="5794" y="825"/>
                    <a:pt x="5794" y="825"/>
                    <a:pt x="5794" y="825"/>
                  </a:cubicBezTo>
                  <a:cubicBezTo>
                    <a:pt x="5835" y="828"/>
                    <a:pt x="5835" y="828"/>
                    <a:pt x="5835" y="828"/>
                  </a:cubicBezTo>
                  <a:cubicBezTo>
                    <a:pt x="5835" y="828"/>
                    <a:pt x="5877" y="838"/>
                    <a:pt x="5877" y="832"/>
                  </a:cubicBezTo>
                  <a:cubicBezTo>
                    <a:pt x="5877" y="826"/>
                    <a:pt x="5873" y="814"/>
                    <a:pt x="5873" y="814"/>
                  </a:cubicBezTo>
                  <a:cubicBezTo>
                    <a:pt x="5848" y="811"/>
                    <a:pt x="5848" y="811"/>
                    <a:pt x="5848" y="811"/>
                  </a:cubicBezTo>
                  <a:cubicBezTo>
                    <a:pt x="5844" y="797"/>
                    <a:pt x="5844" y="797"/>
                    <a:pt x="5844" y="797"/>
                  </a:cubicBezTo>
                  <a:cubicBezTo>
                    <a:pt x="5844" y="797"/>
                    <a:pt x="5807" y="784"/>
                    <a:pt x="5795" y="780"/>
                  </a:cubicBezTo>
                  <a:cubicBezTo>
                    <a:pt x="5783" y="776"/>
                    <a:pt x="5774" y="782"/>
                    <a:pt x="5774" y="782"/>
                  </a:cubicBezTo>
                  <a:cubicBezTo>
                    <a:pt x="5778" y="770"/>
                    <a:pt x="5778" y="770"/>
                    <a:pt x="5778" y="770"/>
                  </a:cubicBezTo>
                  <a:cubicBezTo>
                    <a:pt x="5730" y="736"/>
                    <a:pt x="5730" y="736"/>
                    <a:pt x="5730" y="736"/>
                  </a:cubicBezTo>
                  <a:cubicBezTo>
                    <a:pt x="5719" y="747"/>
                    <a:pt x="5719" y="747"/>
                    <a:pt x="5719" y="747"/>
                  </a:cubicBezTo>
                  <a:cubicBezTo>
                    <a:pt x="5719" y="747"/>
                    <a:pt x="5699" y="742"/>
                    <a:pt x="5691" y="739"/>
                  </a:cubicBezTo>
                  <a:cubicBezTo>
                    <a:pt x="5683" y="736"/>
                    <a:pt x="5672" y="727"/>
                    <a:pt x="5672" y="727"/>
                  </a:cubicBezTo>
                  <a:cubicBezTo>
                    <a:pt x="5649" y="732"/>
                    <a:pt x="5649" y="732"/>
                    <a:pt x="5649" y="732"/>
                  </a:cubicBezTo>
                  <a:cubicBezTo>
                    <a:pt x="5630" y="730"/>
                    <a:pt x="5630" y="730"/>
                    <a:pt x="5630" y="730"/>
                  </a:cubicBezTo>
                  <a:cubicBezTo>
                    <a:pt x="5630" y="730"/>
                    <a:pt x="5599" y="712"/>
                    <a:pt x="5611" y="709"/>
                  </a:cubicBezTo>
                  <a:cubicBezTo>
                    <a:pt x="5623" y="706"/>
                    <a:pt x="5635" y="713"/>
                    <a:pt x="5644" y="715"/>
                  </a:cubicBezTo>
                  <a:cubicBezTo>
                    <a:pt x="5653" y="717"/>
                    <a:pt x="5697" y="724"/>
                    <a:pt x="5697" y="724"/>
                  </a:cubicBezTo>
                  <a:cubicBezTo>
                    <a:pt x="5697" y="724"/>
                    <a:pt x="5749" y="709"/>
                    <a:pt x="5749" y="702"/>
                  </a:cubicBezTo>
                  <a:cubicBezTo>
                    <a:pt x="5749" y="695"/>
                    <a:pt x="5719" y="679"/>
                    <a:pt x="5716" y="677"/>
                  </a:cubicBezTo>
                  <a:cubicBezTo>
                    <a:pt x="5713" y="675"/>
                    <a:pt x="5664" y="658"/>
                    <a:pt x="5679" y="649"/>
                  </a:cubicBezTo>
                  <a:cubicBezTo>
                    <a:pt x="5694" y="640"/>
                    <a:pt x="5719" y="660"/>
                    <a:pt x="5719" y="660"/>
                  </a:cubicBezTo>
                  <a:cubicBezTo>
                    <a:pt x="5719" y="660"/>
                    <a:pt x="5766" y="689"/>
                    <a:pt x="5780" y="687"/>
                  </a:cubicBezTo>
                  <a:cubicBezTo>
                    <a:pt x="5794" y="685"/>
                    <a:pt x="5799" y="671"/>
                    <a:pt x="5838" y="684"/>
                  </a:cubicBezTo>
                  <a:cubicBezTo>
                    <a:pt x="5877" y="697"/>
                    <a:pt x="5911" y="711"/>
                    <a:pt x="5922" y="713"/>
                  </a:cubicBezTo>
                  <a:cubicBezTo>
                    <a:pt x="5933" y="715"/>
                    <a:pt x="5976" y="727"/>
                    <a:pt x="5976" y="727"/>
                  </a:cubicBezTo>
                  <a:cubicBezTo>
                    <a:pt x="5976" y="727"/>
                    <a:pt x="6035" y="762"/>
                    <a:pt x="6031" y="744"/>
                  </a:cubicBezTo>
                  <a:cubicBezTo>
                    <a:pt x="6027" y="726"/>
                    <a:pt x="6007" y="715"/>
                    <a:pt x="6007" y="715"/>
                  </a:cubicBezTo>
                  <a:cubicBezTo>
                    <a:pt x="6019" y="706"/>
                    <a:pt x="6019" y="706"/>
                    <a:pt x="6019" y="706"/>
                  </a:cubicBezTo>
                  <a:cubicBezTo>
                    <a:pt x="5989" y="693"/>
                    <a:pt x="5989" y="693"/>
                    <a:pt x="5989" y="693"/>
                  </a:cubicBezTo>
                  <a:cubicBezTo>
                    <a:pt x="5995" y="689"/>
                    <a:pt x="5995" y="689"/>
                    <a:pt x="5995" y="689"/>
                  </a:cubicBezTo>
                  <a:cubicBezTo>
                    <a:pt x="5962" y="672"/>
                    <a:pt x="5962" y="672"/>
                    <a:pt x="5962" y="672"/>
                  </a:cubicBezTo>
                  <a:cubicBezTo>
                    <a:pt x="5998" y="679"/>
                    <a:pt x="5998" y="679"/>
                    <a:pt x="5998" y="679"/>
                  </a:cubicBezTo>
                  <a:cubicBezTo>
                    <a:pt x="5994" y="666"/>
                    <a:pt x="5994" y="666"/>
                    <a:pt x="5994" y="666"/>
                  </a:cubicBezTo>
                  <a:cubicBezTo>
                    <a:pt x="5994" y="666"/>
                    <a:pt x="6045" y="678"/>
                    <a:pt x="6034" y="664"/>
                  </a:cubicBezTo>
                  <a:close/>
                  <a:moveTo>
                    <a:pt x="3574" y="1289"/>
                  </a:moveTo>
                  <a:cubicBezTo>
                    <a:pt x="3574" y="1289"/>
                    <a:pt x="3571" y="1303"/>
                    <a:pt x="3570" y="1306"/>
                  </a:cubicBezTo>
                  <a:cubicBezTo>
                    <a:pt x="3569" y="1309"/>
                    <a:pt x="3556" y="1316"/>
                    <a:pt x="3556" y="1316"/>
                  </a:cubicBezTo>
                  <a:cubicBezTo>
                    <a:pt x="3556" y="1316"/>
                    <a:pt x="3544" y="1322"/>
                    <a:pt x="3540" y="1322"/>
                  </a:cubicBezTo>
                  <a:cubicBezTo>
                    <a:pt x="3535" y="1322"/>
                    <a:pt x="3536" y="1334"/>
                    <a:pt x="3536" y="1334"/>
                  </a:cubicBezTo>
                  <a:cubicBezTo>
                    <a:pt x="3536" y="1334"/>
                    <a:pt x="3534" y="1327"/>
                    <a:pt x="3514" y="1334"/>
                  </a:cubicBezTo>
                  <a:cubicBezTo>
                    <a:pt x="3493" y="1340"/>
                    <a:pt x="3522" y="1350"/>
                    <a:pt x="3522" y="1350"/>
                  </a:cubicBezTo>
                  <a:cubicBezTo>
                    <a:pt x="3522" y="1350"/>
                    <a:pt x="3512" y="1358"/>
                    <a:pt x="3510" y="1367"/>
                  </a:cubicBezTo>
                  <a:cubicBezTo>
                    <a:pt x="3509" y="1377"/>
                    <a:pt x="3494" y="1368"/>
                    <a:pt x="3494" y="1368"/>
                  </a:cubicBezTo>
                  <a:cubicBezTo>
                    <a:pt x="3494" y="1368"/>
                    <a:pt x="3491" y="1382"/>
                    <a:pt x="3471" y="1382"/>
                  </a:cubicBezTo>
                  <a:cubicBezTo>
                    <a:pt x="3450" y="1382"/>
                    <a:pt x="3451" y="1377"/>
                    <a:pt x="3451" y="1377"/>
                  </a:cubicBezTo>
                  <a:cubicBezTo>
                    <a:pt x="3428" y="1371"/>
                    <a:pt x="3428" y="1371"/>
                    <a:pt x="3428" y="1371"/>
                  </a:cubicBezTo>
                  <a:cubicBezTo>
                    <a:pt x="3439" y="1365"/>
                    <a:pt x="3439" y="1365"/>
                    <a:pt x="3439" y="1365"/>
                  </a:cubicBezTo>
                  <a:cubicBezTo>
                    <a:pt x="3461" y="1365"/>
                    <a:pt x="3461" y="1365"/>
                    <a:pt x="3461" y="1365"/>
                  </a:cubicBezTo>
                  <a:cubicBezTo>
                    <a:pt x="3462" y="1360"/>
                    <a:pt x="3462" y="1360"/>
                    <a:pt x="3462" y="1360"/>
                  </a:cubicBezTo>
                  <a:cubicBezTo>
                    <a:pt x="3462" y="1360"/>
                    <a:pt x="3478" y="1360"/>
                    <a:pt x="3485" y="1353"/>
                  </a:cubicBezTo>
                  <a:cubicBezTo>
                    <a:pt x="3491" y="1347"/>
                    <a:pt x="3492" y="1328"/>
                    <a:pt x="3492" y="1328"/>
                  </a:cubicBezTo>
                  <a:cubicBezTo>
                    <a:pt x="3492" y="1328"/>
                    <a:pt x="3496" y="1327"/>
                    <a:pt x="3505" y="1325"/>
                  </a:cubicBezTo>
                  <a:cubicBezTo>
                    <a:pt x="3514" y="1323"/>
                    <a:pt x="3514" y="1307"/>
                    <a:pt x="3514" y="1307"/>
                  </a:cubicBezTo>
                  <a:cubicBezTo>
                    <a:pt x="3514" y="1307"/>
                    <a:pt x="3507" y="1303"/>
                    <a:pt x="3508" y="1297"/>
                  </a:cubicBezTo>
                  <a:cubicBezTo>
                    <a:pt x="3509" y="1292"/>
                    <a:pt x="3528" y="1275"/>
                    <a:pt x="3528" y="1275"/>
                  </a:cubicBezTo>
                  <a:cubicBezTo>
                    <a:pt x="3528" y="1264"/>
                    <a:pt x="3528" y="1264"/>
                    <a:pt x="3528" y="1264"/>
                  </a:cubicBezTo>
                  <a:cubicBezTo>
                    <a:pt x="3542" y="1251"/>
                    <a:pt x="3542" y="1251"/>
                    <a:pt x="3542" y="1251"/>
                  </a:cubicBezTo>
                  <a:cubicBezTo>
                    <a:pt x="3534" y="1240"/>
                    <a:pt x="3534" y="1240"/>
                    <a:pt x="3534" y="1240"/>
                  </a:cubicBezTo>
                  <a:cubicBezTo>
                    <a:pt x="3533" y="1187"/>
                    <a:pt x="3533" y="1187"/>
                    <a:pt x="3533" y="1187"/>
                  </a:cubicBezTo>
                  <a:cubicBezTo>
                    <a:pt x="3533" y="1187"/>
                    <a:pt x="3518" y="1165"/>
                    <a:pt x="3536" y="1160"/>
                  </a:cubicBezTo>
                  <a:cubicBezTo>
                    <a:pt x="3555" y="1156"/>
                    <a:pt x="3551" y="1181"/>
                    <a:pt x="3551" y="1181"/>
                  </a:cubicBezTo>
                  <a:cubicBezTo>
                    <a:pt x="3551" y="1181"/>
                    <a:pt x="3560" y="1188"/>
                    <a:pt x="3564" y="1203"/>
                  </a:cubicBezTo>
                  <a:cubicBezTo>
                    <a:pt x="3569" y="1219"/>
                    <a:pt x="3571" y="1229"/>
                    <a:pt x="3571" y="1229"/>
                  </a:cubicBezTo>
                  <a:cubicBezTo>
                    <a:pt x="3585" y="1248"/>
                    <a:pt x="3585" y="1248"/>
                    <a:pt x="3585" y="1248"/>
                  </a:cubicBezTo>
                  <a:cubicBezTo>
                    <a:pt x="3579" y="1259"/>
                    <a:pt x="3579" y="1259"/>
                    <a:pt x="3579" y="1259"/>
                  </a:cubicBezTo>
                  <a:cubicBezTo>
                    <a:pt x="3579" y="1259"/>
                    <a:pt x="3566" y="1265"/>
                    <a:pt x="3568" y="1272"/>
                  </a:cubicBezTo>
                  <a:cubicBezTo>
                    <a:pt x="3569" y="1280"/>
                    <a:pt x="3585" y="1271"/>
                    <a:pt x="3585" y="1271"/>
                  </a:cubicBezTo>
                  <a:cubicBezTo>
                    <a:pt x="3587" y="1282"/>
                    <a:pt x="3587" y="1282"/>
                    <a:pt x="3587" y="1282"/>
                  </a:cubicBezTo>
                  <a:lnTo>
                    <a:pt x="3574" y="1289"/>
                  </a:lnTo>
                  <a:close/>
                  <a:moveTo>
                    <a:pt x="4656" y="1185"/>
                  </a:moveTo>
                  <a:cubicBezTo>
                    <a:pt x="4650" y="1193"/>
                    <a:pt x="4662" y="1221"/>
                    <a:pt x="4684" y="1223"/>
                  </a:cubicBezTo>
                  <a:cubicBezTo>
                    <a:pt x="4702" y="1225"/>
                    <a:pt x="4662" y="1177"/>
                    <a:pt x="4656" y="1185"/>
                  </a:cubicBezTo>
                  <a:close/>
                  <a:moveTo>
                    <a:pt x="1020" y="0"/>
                  </a:moveTo>
                  <a:cubicBezTo>
                    <a:pt x="986" y="0"/>
                    <a:pt x="986" y="0"/>
                    <a:pt x="986" y="0"/>
                  </a:cubicBezTo>
                  <a:cubicBezTo>
                    <a:pt x="986" y="10"/>
                    <a:pt x="986" y="10"/>
                    <a:pt x="986" y="10"/>
                  </a:cubicBezTo>
                  <a:cubicBezTo>
                    <a:pt x="1007" y="11"/>
                    <a:pt x="1007" y="11"/>
                    <a:pt x="1007" y="11"/>
                  </a:cubicBezTo>
                  <a:cubicBezTo>
                    <a:pt x="1021" y="10"/>
                    <a:pt x="1020" y="0"/>
                    <a:pt x="1020" y="0"/>
                  </a:cubicBezTo>
                  <a:close/>
                  <a:moveTo>
                    <a:pt x="1012" y="37"/>
                  </a:moveTo>
                  <a:cubicBezTo>
                    <a:pt x="1026" y="35"/>
                    <a:pt x="1035" y="23"/>
                    <a:pt x="1017" y="23"/>
                  </a:cubicBezTo>
                  <a:cubicBezTo>
                    <a:pt x="999" y="23"/>
                    <a:pt x="1002" y="38"/>
                    <a:pt x="1012" y="37"/>
                  </a:cubicBezTo>
                  <a:close/>
                  <a:moveTo>
                    <a:pt x="943" y="537"/>
                  </a:moveTo>
                  <a:cubicBezTo>
                    <a:pt x="965" y="542"/>
                    <a:pt x="973" y="535"/>
                    <a:pt x="980" y="531"/>
                  </a:cubicBezTo>
                  <a:cubicBezTo>
                    <a:pt x="987" y="527"/>
                    <a:pt x="993" y="519"/>
                    <a:pt x="993" y="519"/>
                  </a:cubicBezTo>
                  <a:cubicBezTo>
                    <a:pt x="1002" y="518"/>
                    <a:pt x="1002" y="518"/>
                    <a:pt x="1002" y="518"/>
                  </a:cubicBezTo>
                  <a:cubicBezTo>
                    <a:pt x="1002" y="518"/>
                    <a:pt x="994" y="507"/>
                    <a:pt x="968" y="501"/>
                  </a:cubicBezTo>
                  <a:cubicBezTo>
                    <a:pt x="942" y="495"/>
                    <a:pt x="927" y="518"/>
                    <a:pt x="927" y="518"/>
                  </a:cubicBezTo>
                  <a:cubicBezTo>
                    <a:pt x="927" y="521"/>
                    <a:pt x="921" y="533"/>
                    <a:pt x="943" y="537"/>
                  </a:cubicBezTo>
                  <a:close/>
                  <a:moveTo>
                    <a:pt x="996" y="48"/>
                  </a:moveTo>
                  <a:cubicBezTo>
                    <a:pt x="1007" y="61"/>
                    <a:pt x="1000" y="62"/>
                    <a:pt x="1023" y="55"/>
                  </a:cubicBezTo>
                  <a:cubicBezTo>
                    <a:pt x="1045" y="48"/>
                    <a:pt x="1020" y="45"/>
                    <a:pt x="1016" y="45"/>
                  </a:cubicBezTo>
                  <a:cubicBezTo>
                    <a:pt x="1012" y="45"/>
                    <a:pt x="996" y="48"/>
                    <a:pt x="996" y="48"/>
                  </a:cubicBezTo>
                  <a:close/>
                  <a:moveTo>
                    <a:pt x="966" y="65"/>
                  </a:moveTo>
                  <a:cubicBezTo>
                    <a:pt x="976" y="65"/>
                    <a:pt x="1009" y="63"/>
                    <a:pt x="1003" y="62"/>
                  </a:cubicBezTo>
                  <a:cubicBezTo>
                    <a:pt x="997" y="61"/>
                    <a:pt x="985" y="52"/>
                    <a:pt x="985" y="52"/>
                  </a:cubicBezTo>
                  <a:cubicBezTo>
                    <a:pt x="954" y="52"/>
                    <a:pt x="954" y="52"/>
                    <a:pt x="954" y="52"/>
                  </a:cubicBezTo>
                  <a:cubicBezTo>
                    <a:pt x="954" y="52"/>
                    <a:pt x="957" y="65"/>
                    <a:pt x="966" y="65"/>
                  </a:cubicBezTo>
                  <a:close/>
                  <a:moveTo>
                    <a:pt x="893" y="23"/>
                  </a:moveTo>
                  <a:cubicBezTo>
                    <a:pt x="876" y="24"/>
                    <a:pt x="885" y="35"/>
                    <a:pt x="885" y="35"/>
                  </a:cubicBezTo>
                  <a:cubicBezTo>
                    <a:pt x="910" y="30"/>
                    <a:pt x="910" y="21"/>
                    <a:pt x="893" y="23"/>
                  </a:cubicBezTo>
                  <a:close/>
                  <a:moveTo>
                    <a:pt x="940" y="48"/>
                  </a:moveTo>
                  <a:cubicBezTo>
                    <a:pt x="924" y="45"/>
                    <a:pt x="924" y="45"/>
                    <a:pt x="924" y="45"/>
                  </a:cubicBezTo>
                  <a:cubicBezTo>
                    <a:pt x="930" y="61"/>
                    <a:pt x="930" y="61"/>
                    <a:pt x="930" y="61"/>
                  </a:cubicBezTo>
                  <a:lnTo>
                    <a:pt x="940" y="48"/>
                  </a:lnTo>
                  <a:close/>
                  <a:moveTo>
                    <a:pt x="972" y="10"/>
                  </a:moveTo>
                  <a:cubicBezTo>
                    <a:pt x="972" y="27"/>
                    <a:pt x="972" y="27"/>
                    <a:pt x="972" y="27"/>
                  </a:cubicBezTo>
                  <a:cubicBezTo>
                    <a:pt x="995" y="20"/>
                    <a:pt x="995" y="20"/>
                    <a:pt x="995" y="20"/>
                  </a:cubicBezTo>
                  <a:lnTo>
                    <a:pt x="972" y="10"/>
                  </a:lnTo>
                  <a:close/>
                  <a:moveTo>
                    <a:pt x="936" y="31"/>
                  </a:moveTo>
                  <a:cubicBezTo>
                    <a:pt x="936" y="31"/>
                    <a:pt x="931" y="25"/>
                    <a:pt x="924" y="25"/>
                  </a:cubicBezTo>
                  <a:cubicBezTo>
                    <a:pt x="917" y="25"/>
                    <a:pt x="919" y="38"/>
                    <a:pt x="919" y="38"/>
                  </a:cubicBezTo>
                  <a:lnTo>
                    <a:pt x="936" y="31"/>
                  </a:lnTo>
                  <a:close/>
                  <a:moveTo>
                    <a:pt x="957" y="31"/>
                  </a:moveTo>
                  <a:cubicBezTo>
                    <a:pt x="938" y="39"/>
                    <a:pt x="938" y="39"/>
                    <a:pt x="938" y="39"/>
                  </a:cubicBezTo>
                  <a:cubicBezTo>
                    <a:pt x="957" y="39"/>
                    <a:pt x="957" y="39"/>
                    <a:pt x="957" y="39"/>
                  </a:cubicBezTo>
                  <a:lnTo>
                    <a:pt x="957" y="31"/>
                  </a:lnTo>
                  <a:close/>
                  <a:moveTo>
                    <a:pt x="979" y="42"/>
                  </a:moveTo>
                  <a:cubicBezTo>
                    <a:pt x="995" y="47"/>
                    <a:pt x="1009" y="30"/>
                    <a:pt x="990" y="28"/>
                  </a:cubicBezTo>
                  <a:cubicBezTo>
                    <a:pt x="972" y="27"/>
                    <a:pt x="964" y="38"/>
                    <a:pt x="979" y="42"/>
                  </a:cubicBezTo>
                  <a:close/>
                  <a:moveTo>
                    <a:pt x="966" y="23"/>
                  </a:moveTo>
                  <a:cubicBezTo>
                    <a:pt x="965" y="7"/>
                    <a:pt x="965" y="7"/>
                    <a:pt x="965" y="7"/>
                  </a:cubicBezTo>
                  <a:cubicBezTo>
                    <a:pt x="938" y="14"/>
                    <a:pt x="938" y="14"/>
                    <a:pt x="938" y="14"/>
                  </a:cubicBezTo>
                  <a:cubicBezTo>
                    <a:pt x="944" y="24"/>
                    <a:pt x="944" y="24"/>
                    <a:pt x="944" y="24"/>
                  </a:cubicBezTo>
                  <a:lnTo>
                    <a:pt x="966" y="23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A72251C-3378-EB99-E728-F96E77DD0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8071" y="2807605"/>
              <a:ext cx="64022" cy="50303"/>
            </a:xfrm>
            <a:custGeom>
              <a:avLst/>
              <a:gdLst>
                <a:gd name="T0" fmla="*/ 5 w 111"/>
                <a:gd name="T1" fmla="*/ 2 h 87"/>
                <a:gd name="T2" fmla="*/ 5 w 111"/>
                <a:gd name="T3" fmla="*/ 1 h 87"/>
                <a:gd name="T4" fmla="*/ 5 w 111"/>
                <a:gd name="T5" fmla="*/ 0 h 87"/>
                <a:gd name="T6" fmla="*/ 5 w 111"/>
                <a:gd name="T7" fmla="*/ 0 h 87"/>
                <a:gd name="T8" fmla="*/ 4 w 111"/>
                <a:gd name="T9" fmla="*/ 0 h 87"/>
                <a:gd name="T10" fmla="*/ 4 w 111"/>
                <a:gd name="T11" fmla="*/ 0 h 87"/>
                <a:gd name="T12" fmla="*/ 3 w 111"/>
                <a:gd name="T13" fmla="*/ 0 h 87"/>
                <a:gd name="T14" fmla="*/ 2 w 111"/>
                <a:gd name="T15" fmla="*/ 0 h 87"/>
                <a:gd name="T16" fmla="*/ 2 w 111"/>
                <a:gd name="T17" fmla="*/ 0 h 87"/>
                <a:gd name="T18" fmla="*/ 2 w 111"/>
                <a:gd name="T19" fmla="*/ 1 h 87"/>
                <a:gd name="T20" fmla="*/ 1 w 111"/>
                <a:gd name="T21" fmla="*/ 1 h 87"/>
                <a:gd name="T22" fmla="*/ 1 w 111"/>
                <a:gd name="T23" fmla="*/ 1 h 87"/>
                <a:gd name="T24" fmla="*/ 0 w 111"/>
                <a:gd name="T25" fmla="*/ 2 h 87"/>
                <a:gd name="T26" fmla="*/ 0 w 111"/>
                <a:gd name="T27" fmla="*/ 2 h 87"/>
                <a:gd name="T28" fmla="*/ 0 w 111"/>
                <a:gd name="T29" fmla="*/ 3 h 87"/>
                <a:gd name="T30" fmla="*/ 0 w 111"/>
                <a:gd name="T31" fmla="*/ 3 h 87"/>
                <a:gd name="T32" fmla="*/ 1 w 111"/>
                <a:gd name="T33" fmla="*/ 4 h 87"/>
                <a:gd name="T34" fmla="*/ 1 w 111"/>
                <a:gd name="T35" fmla="*/ 5 h 87"/>
                <a:gd name="T36" fmla="*/ 2 w 111"/>
                <a:gd name="T37" fmla="*/ 4 h 87"/>
                <a:gd name="T38" fmla="*/ 2 w 111"/>
                <a:gd name="T39" fmla="*/ 5 h 87"/>
                <a:gd name="T40" fmla="*/ 2 w 111"/>
                <a:gd name="T41" fmla="*/ 4 h 87"/>
                <a:gd name="T42" fmla="*/ 3 w 111"/>
                <a:gd name="T43" fmla="*/ 5 h 87"/>
                <a:gd name="T44" fmla="*/ 3 w 111"/>
                <a:gd name="T45" fmla="*/ 4 h 87"/>
                <a:gd name="T46" fmla="*/ 5 w 111"/>
                <a:gd name="T47" fmla="*/ 3 h 87"/>
                <a:gd name="T48" fmla="*/ 6 w 111"/>
                <a:gd name="T49" fmla="*/ 2 h 87"/>
                <a:gd name="T50" fmla="*/ 5 w 111"/>
                <a:gd name="T51" fmla="*/ 2 h 8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1"/>
                <a:gd name="T79" fmla="*/ 0 h 87"/>
                <a:gd name="T80" fmla="*/ 111 w 111"/>
                <a:gd name="T81" fmla="*/ 87 h 8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1" h="87">
                  <a:moveTo>
                    <a:pt x="100" y="26"/>
                  </a:moveTo>
                  <a:cubicBezTo>
                    <a:pt x="88" y="17"/>
                    <a:pt x="88" y="17"/>
                    <a:pt x="88" y="17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7" y="14"/>
                    <a:pt x="30" y="14"/>
                  </a:cubicBezTo>
                  <a:cubicBezTo>
                    <a:pt x="23" y="14"/>
                    <a:pt x="18" y="14"/>
                    <a:pt x="18" y="1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3" y="59"/>
                    <a:pt x="3" y="64"/>
                  </a:cubicBezTo>
                  <a:cubicBezTo>
                    <a:pt x="3" y="69"/>
                    <a:pt x="11" y="70"/>
                    <a:pt x="11" y="70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30" y="80"/>
                    <a:pt x="31" y="84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6" y="87"/>
                    <a:pt x="60" y="81"/>
                  </a:cubicBezTo>
                  <a:cubicBezTo>
                    <a:pt x="64" y="75"/>
                    <a:pt x="63" y="70"/>
                    <a:pt x="63" y="70"/>
                  </a:cubicBezTo>
                  <a:cubicBezTo>
                    <a:pt x="63" y="70"/>
                    <a:pt x="82" y="74"/>
                    <a:pt x="90" y="66"/>
                  </a:cubicBezTo>
                  <a:cubicBezTo>
                    <a:pt x="98" y="58"/>
                    <a:pt x="105" y="55"/>
                    <a:pt x="108" y="44"/>
                  </a:cubicBezTo>
                  <a:cubicBezTo>
                    <a:pt x="111" y="33"/>
                    <a:pt x="100" y="26"/>
                    <a:pt x="100" y="2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0285CCA-6833-414B-F740-2F9E40347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7401" y="2630783"/>
              <a:ext cx="233223" cy="141763"/>
            </a:xfrm>
            <a:custGeom>
              <a:avLst/>
              <a:gdLst>
                <a:gd name="T0" fmla="*/ 19 w 411"/>
                <a:gd name="T1" fmla="*/ 13 h 248"/>
                <a:gd name="T2" fmla="*/ 19 w 411"/>
                <a:gd name="T3" fmla="*/ 10 h 248"/>
                <a:gd name="T4" fmla="*/ 20 w 411"/>
                <a:gd name="T5" fmla="*/ 8 h 248"/>
                <a:gd name="T6" fmla="*/ 18 w 411"/>
                <a:gd name="T7" fmla="*/ 9 h 248"/>
                <a:gd name="T8" fmla="*/ 17 w 411"/>
                <a:gd name="T9" fmla="*/ 6 h 248"/>
                <a:gd name="T10" fmla="*/ 17 w 411"/>
                <a:gd name="T11" fmla="*/ 5 h 248"/>
                <a:gd name="T12" fmla="*/ 16 w 411"/>
                <a:gd name="T13" fmla="*/ 3 h 248"/>
                <a:gd name="T14" fmla="*/ 16 w 411"/>
                <a:gd name="T15" fmla="*/ 3 h 248"/>
                <a:gd name="T16" fmla="*/ 15 w 411"/>
                <a:gd name="T17" fmla="*/ 2 h 248"/>
                <a:gd name="T18" fmla="*/ 13 w 411"/>
                <a:gd name="T19" fmla="*/ 0 h 248"/>
                <a:gd name="T20" fmla="*/ 12 w 411"/>
                <a:gd name="T21" fmla="*/ 1 h 248"/>
                <a:gd name="T22" fmla="*/ 10 w 411"/>
                <a:gd name="T23" fmla="*/ 1 h 248"/>
                <a:gd name="T24" fmla="*/ 9 w 411"/>
                <a:gd name="T25" fmla="*/ 1 h 248"/>
                <a:gd name="T26" fmla="*/ 7 w 411"/>
                <a:gd name="T27" fmla="*/ 1 h 248"/>
                <a:gd name="T28" fmla="*/ 6 w 411"/>
                <a:gd name="T29" fmla="*/ 1 h 248"/>
                <a:gd name="T30" fmla="*/ 5 w 411"/>
                <a:gd name="T31" fmla="*/ 2 h 248"/>
                <a:gd name="T32" fmla="*/ 4 w 411"/>
                <a:gd name="T33" fmla="*/ 3 h 248"/>
                <a:gd name="T34" fmla="*/ 2 w 411"/>
                <a:gd name="T35" fmla="*/ 5 h 248"/>
                <a:gd name="T36" fmla="*/ 1 w 411"/>
                <a:gd name="T37" fmla="*/ 6 h 248"/>
                <a:gd name="T38" fmla="*/ 1 w 411"/>
                <a:gd name="T39" fmla="*/ 6 h 248"/>
                <a:gd name="T40" fmla="*/ 0 w 411"/>
                <a:gd name="T41" fmla="*/ 6 h 248"/>
                <a:gd name="T42" fmla="*/ 1 w 411"/>
                <a:gd name="T43" fmla="*/ 7 h 248"/>
                <a:gd name="T44" fmla="*/ 2 w 411"/>
                <a:gd name="T45" fmla="*/ 9 h 248"/>
                <a:gd name="T46" fmla="*/ 3 w 411"/>
                <a:gd name="T47" fmla="*/ 9 h 248"/>
                <a:gd name="T48" fmla="*/ 4 w 411"/>
                <a:gd name="T49" fmla="*/ 10 h 248"/>
                <a:gd name="T50" fmla="*/ 5 w 411"/>
                <a:gd name="T51" fmla="*/ 10 h 248"/>
                <a:gd name="T52" fmla="*/ 6 w 411"/>
                <a:gd name="T53" fmla="*/ 11 h 248"/>
                <a:gd name="T54" fmla="*/ 6 w 411"/>
                <a:gd name="T55" fmla="*/ 11 h 248"/>
                <a:gd name="T56" fmla="*/ 6 w 411"/>
                <a:gd name="T57" fmla="*/ 12 h 248"/>
                <a:gd name="T58" fmla="*/ 6 w 411"/>
                <a:gd name="T59" fmla="*/ 12 h 248"/>
                <a:gd name="T60" fmla="*/ 7 w 411"/>
                <a:gd name="T61" fmla="*/ 12 h 248"/>
                <a:gd name="T62" fmla="*/ 9 w 411"/>
                <a:gd name="T63" fmla="*/ 13 h 248"/>
                <a:gd name="T64" fmla="*/ 10 w 411"/>
                <a:gd name="T65" fmla="*/ 13 h 248"/>
                <a:gd name="T66" fmla="*/ 12 w 411"/>
                <a:gd name="T67" fmla="*/ 13 h 248"/>
                <a:gd name="T68" fmla="*/ 14 w 411"/>
                <a:gd name="T69" fmla="*/ 12 h 248"/>
                <a:gd name="T70" fmla="*/ 15 w 411"/>
                <a:gd name="T71" fmla="*/ 12 h 248"/>
                <a:gd name="T72" fmla="*/ 16 w 411"/>
                <a:gd name="T73" fmla="*/ 12 h 248"/>
                <a:gd name="T74" fmla="*/ 17 w 411"/>
                <a:gd name="T75" fmla="*/ 13 h 24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11"/>
                <a:gd name="T115" fmla="*/ 0 h 248"/>
                <a:gd name="T116" fmla="*/ 411 w 411"/>
                <a:gd name="T117" fmla="*/ 248 h 24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11" h="248">
                  <a:moveTo>
                    <a:pt x="341" y="240"/>
                  </a:moveTo>
                  <a:cubicBezTo>
                    <a:pt x="344" y="242"/>
                    <a:pt x="353" y="242"/>
                    <a:pt x="360" y="241"/>
                  </a:cubicBezTo>
                  <a:cubicBezTo>
                    <a:pt x="358" y="230"/>
                    <a:pt x="359" y="216"/>
                    <a:pt x="364" y="209"/>
                  </a:cubicBezTo>
                  <a:cubicBezTo>
                    <a:pt x="373" y="197"/>
                    <a:pt x="379" y="187"/>
                    <a:pt x="379" y="187"/>
                  </a:cubicBezTo>
                  <a:cubicBezTo>
                    <a:pt x="379" y="187"/>
                    <a:pt x="411" y="197"/>
                    <a:pt x="407" y="174"/>
                  </a:cubicBezTo>
                  <a:cubicBezTo>
                    <a:pt x="404" y="158"/>
                    <a:pt x="399" y="149"/>
                    <a:pt x="396" y="146"/>
                  </a:cubicBezTo>
                  <a:cubicBezTo>
                    <a:pt x="395" y="148"/>
                    <a:pt x="391" y="152"/>
                    <a:pt x="382" y="151"/>
                  </a:cubicBezTo>
                  <a:cubicBezTo>
                    <a:pt x="370" y="150"/>
                    <a:pt x="374" y="164"/>
                    <a:pt x="353" y="161"/>
                  </a:cubicBezTo>
                  <a:cubicBezTo>
                    <a:pt x="332" y="158"/>
                    <a:pt x="336" y="135"/>
                    <a:pt x="336" y="135"/>
                  </a:cubicBezTo>
                  <a:cubicBezTo>
                    <a:pt x="336" y="135"/>
                    <a:pt x="330" y="128"/>
                    <a:pt x="330" y="121"/>
                  </a:cubicBezTo>
                  <a:cubicBezTo>
                    <a:pt x="330" y="114"/>
                    <a:pt x="337" y="101"/>
                    <a:pt x="337" y="101"/>
                  </a:cubicBezTo>
                  <a:cubicBezTo>
                    <a:pt x="332" y="98"/>
                    <a:pt x="332" y="98"/>
                    <a:pt x="332" y="98"/>
                  </a:cubicBezTo>
                  <a:cubicBezTo>
                    <a:pt x="332" y="98"/>
                    <a:pt x="335" y="85"/>
                    <a:pt x="334" y="76"/>
                  </a:cubicBezTo>
                  <a:cubicBezTo>
                    <a:pt x="333" y="67"/>
                    <a:pt x="317" y="66"/>
                    <a:pt x="317" y="66"/>
                  </a:cubicBezTo>
                  <a:cubicBezTo>
                    <a:pt x="315" y="56"/>
                    <a:pt x="315" y="56"/>
                    <a:pt x="315" y="56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1" y="41"/>
                    <a:pt x="301" y="41"/>
                    <a:pt x="301" y="41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0" y="6"/>
                    <a:pt x="263" y="3"/>
                  </a:cubicBezTo>
                  <a:cubicBezTo>
                    <a:pt x="246" y="0"/>
                    <a:pt x="248" y="18"/>
                    <a:pt x="238" y="18"/>
                  </a:cubicBezTo>
                  <a:cubicBezTo>
                    <a:pt x="228" y="18"/>
                    <a:pt x="225" y="17"/>
                    <a:pt x="225" y="17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21"/>
                    <a:pt x="204" y="30"/>
                    <a:pt x="194" y="33"/>
                  </a:cubicBezTo>
                  <a:cubicBezTo>
                    <a:pt x="184" y="36"/>
                    <a:pt x="178" y="17"/>
                    <a:pt x="172" y="16"/>
                  </a:cubicBezTo>
                  <a:cubicBezTo>
                    <a:pt x="166" y="15"/>
                    <a:pt x="151" y="23"/>
                    <a:pt x="151" y="23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7" y="14"/>
                    <a:pt x="123" y="14"/>
                  </a:cubicBezTo>
                  <a:cubicBezTo>
                    <a:pt x="119" y="14"/>
                    <a:pt x="110" y="14"/>
                    <a:pt x="110" y="14"/>
                  </a:cubicBezTo>
                  <a:cubicBezTo>
                    <a:pt x="110" y="14"/>
                    <a:pt x="100" y="27"/>
                    <a:pt x="90" y="28"/>
                  </a:cubicBezTo>
                  <a:cubicBezTo>
                    <a:pt x="80" y="29"/>
                    <a:pt x="71" y="29"/>
                    <a:pt x="70" y="35"/>
                  </a:cubicBezTo>
                  <a:cubicBezTo>
                    <a:pt x="69" y="41"/>
                    <a:pt x="69" y="53"/>
                    <a:pt x="69" y="53"/>
                  </a:cubicBezTo>
                  <a:cubicBezTo>
                    <a:pt x="69" y="53"/>
                    <a:pt x="72" y="65"/>
                    <a:pt x="62" y="70"/>
                  </a:cubicBezTo>
                  <a:cubicBezTo>
                    <a:pt x="52" y="75"/>
                    <a:pt x="46" y="83"/>
                    <a:pt x="46" y="83"/>
                  </a:cubicBezTo>
                  <a:cubicBezTo>
                    <a:pt x="46" y="83"/>
                    <a:pt x="51" y="91"/>
                    <a:pt x="45" y="97"/>
                  </a:cubicBezTo>
                  <a:cubicBezTo>
                    <a:pt x="39" y="103"/>
                    <a:pt x="29" y="107"/>
                    <a:pt x="29" y="107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4"/>
                    <a:pt x="36" y="165"/>
                    <a:pt x="38" y="160"/>
                  </a:cubicBezTo>
                  <a:cubicBezTo>
                    <a:pt x="40" y="155"/>
                    <a:pt x="52" y="156"/>
                    <a:pt x="54" y="162"/>
                  </a:cubicBezTo>
                  <a:cubicBezTo>
                    <a:pt x="56" y="168"/>
                    <a:pt x="51" y="177"/>
                    <a:pt x="51" y="17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3" y="219"/>
                    <a:pt x="123" y="219"/>
                    <a:pt x="125" y="223"/>
                  </a:cubicBezTo>
                  <a:cubicBezTo>
                    <a:pt x="127" y="227"/>
                    <a:pt x="118" y="232"/>
                    <a:pt x="118" y="236"/>
                  </a:cubicBezTo>
                  <a:cubicBezTo>
                    <a:pt x="118" y="240"/>
                    <a:pt x="135" y="239"/>
                    <a:pt x="135" y="23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58" y="239"/>
                    <a:pt x="158" y="239"/>
                    <a:pt x="158" y="239"/>
                  </a:cubicBezTo>
                  <a:cubicBezTo>
                    <a:pt x="158" y="239"/>
                    <a:pt x="167" y="244"/>
                    <a:pt x="180" y="244"/>
                  </a:cubicBezTo>
                  <a:cubicBezTo>
                    <a:pt x="193" y="244"/>
                    <a:pt x="188" y="235"/>
                    <a:pt x="188" y="235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4" y="241"/>
                    <a:pt x="225" y="246"/>
                    <a:pt x="236" y="247"/>
                  </a:cubicBezTo>
                  <a:cubicBezTo>
                    <a:pt x="247" y="248"/>
                    <a:pt x="246" y="232"/>
                    <a:pt x="253" y="230"/>
                  </a:cubicBezTo>
                  <a:cubicBezTo>
                    <a:pt x="260" y="228"/>
                    <a:pt x="266" y="229"/>
                    <a:pt x="266" y="229"/>
                  </a:cubicBezTo>
                  <a:cubicBezTo>
                    <a:pt x="265" y="224"/>
                    <a:pt x="265" y="224"/>
                    <a:pt x="265" y="224"/>
                  </a:cubicBezTo>
                  <a:cubicBezTo>
                    <a:pt x="284" y="226"/>
                    <a:pt x="284" y="226"/>
                    <a:pt x="284" y="226"/>
                  </a:cubicBezTo>
                  <a:cubicBezTo>
                    <a:pt x="284" y="226"/>
                    <a:pt x="281" y="220"/>
                    <a:pt x="290" y="220"/>
                  </a:cubicBezTo>
                  <a:cubicBezTo>
                    <a:pt x="299" y="220"/>
                    <a:pt x="306" y="228"/>
                    <a:pt x="315" y="228"/>
                  </a:cubicBezTo>
                  <a:cubicBezTo>
                    <a:pt x="324" y="228"/>
                    <a:pt x="333" y="230"/>
                    <a:pt x="333" y="230"/>
                  </a:cubicBezTo>
                  <a:cubicBezTo>
                    <a:pt x="333" y="230"/>
                    <a:pt x="336" y="237"/>
                    <a:pt x="341" y="24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5CA189B1-B54F-80B8-653B-B4B602A63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601" y="2720719"/>
              <a:ext cx="99082" cy="86887"/>
            </a:xfrm>
            <a:custGeom>
              <a:avLst/>
              <a:gdLst>
                <a:gd name="T0" fmla="*/ 9 w 173"/>
                <a:gd name="T1" fmla="*/ 3 h 153"/>
                <a:gd name="T2" fmla="*/ 8 w 173"/>
                <a:gd name="T3" fmla="*/ 3 h 153"/>
                <a:gd name="T4" fmla="*/ 8 w 173"/>
                <a:gd name="T5" fmla="*/ 2 h 153"/>
                <a:gd name="T6" fmla="*/ 9 w 173"/>
                <a:gd name="T7" fmla="*/ 1 h 153"/>
                <a:gd name="T8" fmla="*/ 8 w 173"/>
                <a:gd name="T9" fmla="*/ 1 h 153"/>
                <a:gd name="T10" fmla="*/ 8 w 173"/>
                <a:gd name="T11" fmla="*/ 1 h 153"/>
                <a:gd name="T12" fmla="*/ 7 w 173"/>
                <a:gd name="T13" fmla="*/ 1 h 153"/>
                <a:gd name="T14" fmla="*/ 7 w 173"/>
                <a:gd name="T15" fmla="*/ 0 h 153"/>
                <a:gd name="T16" fmla="*/ 6 w 173"/>
                <a:gd name="T17" fmla="*/ 0 h 153"/>
                <a:gd name="T18" fmla="*/ 5 w 173"/>
                <a:gd name="T19" fmla="*/ 0 h 153"/>
                <a:gd name="T20" fmla="*/ 4 w 173"/>
                <a:gd name="T21" fmla="*/ 0 h 153"/>
                <a:gd name="T22" fmla="*/ 4 w 173"/>
                <a:gd name="T23" fmla="*/ 0 h 153"/>
                <a:gd name="T24" fmla="*/ 3 w 173"/>
                <a:gd name="T25" fmla="*/ 0 h 153"/>
                <a:gd name="T26" fmla="*/ 2 w 173"/>
                <a:gd name="T27" fmla="*/ 0 h 153"/>
                <a:gd name="T28" fmla="*/ 2 w 173"/>
                <a:gd name="T29" fmla="*/ 0 h 153"/>
                <a:gd name="T30" fmla="*/ 1 w 173"/>
                <a:gd name="T31" fmla="*/ 0 h 153"/>
                <a:gd name="T32" fmla="*/ 0 w 173"/>
                <a:gd name="T33" fmla="*/ 1 h 153"/>
                <a:gd name="T34" fmla="*/ 0 w 173"/>
                <a:gd name="T35" fmla="*/ 1 h 153"/>
                <a:gd name="T36" fmla="*/ 0 w 173"/>
                <a:gd name="T37" fmla="*/ 1 h 153"/>
                <a:gd name="T38" fmla="*/ 1 w 173"/>
                <a:gd name="T39" fmla="*/ 1 h 153"/>
                <a:gd name="T40" fmla="*/ 1 w 173"/>
                <a:gd name="T41" fmla="*/ 2 h 153"/>
                <a:gd name="T42" fmla="*/ 2 w 173"/>
                <a:gd name="T43" fmla="*/ 2 h 153"/>
                <a:gd name="T44" fmla="*/ 2 w 173"/>
                <a:gd name="T45" fmla="*/ 3 h 153"/>
                <a:gd name="T46" fmla="*/ 2 w 173"/>
                <a:gd name="T47" fmla="*/ 3 h 153"/>
                <a:gd name="T48" fmla="*/ 3 w 173"/>
                <a:gd name="T49" fmla="*/ 4 h 153"/>
                <a:gd name="T50" fmla="*/ 4 w 173"/>
                <a:gd name="T51" fmla="*/ 5 h 153"/>
                <a:gd name="T52" fmla="*/ 4 w 173"/>
                <a:gd name="T53" fmla="*/ 6 h 153"/>
                <a:gd name="T54" fmla="*/ 5 w 173"/>
                <a:gd name="T55" fmla="*/ 6 h 153"/>
                <a:gd name="T56" fmla="*/ 7 w 173"/>
                <a:gd name="T57" fmla="*/ 8 h 153"/>
                <a:gd name="T58" fmla="*/ 8 w 173"/>
                <a:gd name="T59" fmla="*/ 7 h 153"/>
                <a:gd name="T60" fmla="*/ 7 w 173"/>
                <a:gd name="T61" fmla="*/ 7 h 153"/>
                <a:gd name="T62" fmla="*/ 7 w 173"/>
                <a:gd name="T63" fmla="*/ 6 h 153"/>
                <a:gd name="T64" fmla="*/ 7 w 173"/>
                <a:gd name="T65" fmla="*/ 6 h 153"/>
                <a:gd name="T66" fmla="*/ 8 w 173"/>
                <a:gd name="T67" fmla="*/ 5 h 153"/>
                <a:gd name="T68" fmla="*/ 8 w 173"/>
                <a:gd name="T69" fmla="*/ 6 h 153"/>
                <a:gd name="T70" fmla="*/ 8 w 173"/>
                <a:gd name="T71" fmla="*/ 4 h 153"/>
                <a:gd name="T72" fmla="*/ 9 w 173"/>
                <a:gd name="T73" fmla="*/ 4 h 153"/>
                <a:gd name="T74" fmla="*/ 9 w 173"/>
                <a:gd name="T75" fmla="*/ 3 h 153"/>
                <a:gd name="T76" fmla="*/ 9 w 173"/>
                <a:gd name="T77" fmla="*/ 3 h 153"/>
                <a:gd name="T78" fmla="*/ 9 w 173"/>
                <a:gd name="T79" fmla="*/ 3 h 1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3"/>
                <a:gd name="T121" fmla="*/ 0 h 153"/>
                <a:gd name="T122" fmla="*/ 173 w 173"/>
                <a:gd name="T123" fmla="*/ 153 h 1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3" h="153">
                  <a:moveTo>
                    <a:pt x="162" y="51"/>
                  </a:moveTo>
                  <a:cubicBezTo>
                    <a:pt x="155" y="49"/>
                    <a:pt x="151" y="52"/>
                    <a:pt x="151" y="52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63" y="27"/>
                    <a:pt x="163" y="22"/>
                  </a:cubicBezTo>
                  <a:cubicBezTo>
                    <a:pt x="163" y="17"/>
                    <a:pt x="144" y="23"/>
                    <a:pt x="144" y="23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15" y="8"/>
                    <a:pt x="109" y="7"/>
                  </a:cubicBezTo>
                  <a:cubicBezTo>
                    <a:pt x="103" y="6"/>
                    <a:pt x="96" y="8"/>
                    <a:pt x="93" y="8"/>
                  </a:cubicBezTo>
                  <a:cubicBezTo>
                    <a:pt x="90" y="8"/>
                    <a:pt x="80" y="5"/>
                    <a:pt x="80" y="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16" y="0"/>
                    <a:pt x="12" y="1"/>
                  </a:cubicBezTo>
                  <a:cubicBezTo>
                    <a:pt x="8" y="2"/>
                    <a:pt x="9" y="15"/>
                    <a:pt x="9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23" y="39"/>
                    <a:pt x="26" y="43"/>
                  </a:cubicBezTo>
                  <a:cubicBezTo>
                    <a:pt x="29" y="47"/>
                    <a:pt x="26" y="57"/>
                    <a:pt x="26" y="57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51" y="84"/>
                    <a:pt x="75" y="99"/>
                  </a:cubicBezTo>
                  <a:cubicBezTo>
                    <a:pt x="90" y="108"/>
                    <a:pt x="86" y="116"/>
                    <a:pt x="81" y="120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89" y="121"/>
                    <a:pt x="116" y="148"/>
                    <a:pt x="125" y="153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8" y="137"/>
                    <a:pt x="127" y="131"/>
                    <a:pt x="124" y="128"/>
                  </a:cubicBezTo>
                  <a:cubicBezTo>
                    <a:pt x="121" y="125"/>
                    <a:pt x="125" y="118"/>
                    <a:pt x="125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6" y="107"/>
                    <a:pt x="139" y="103"/>
                  </a:cubicBezTo>
                  <a:cubicBezTo>
                    <a:pt x="142" y="99"/>
                    <a:pt x="150" y="104"/>
                    <a:pt x="150" y="104"/>
                  </a:cubicBezTo>
                  <a:cubicBezTo>
                    <a:pt x="150" y="89"/>
                    <a:pt x="150" y="89"/>
                    <a:pt x="150" y="89"/>
                  </a:cubicBezTo>
                  <a:cubicBezTo>
                    <a:pt x="150" y="89"/>
                    <a:pt x="169" y="93"/>
                    <a:pt x="171" y="86"/>
                  </a:cubicBezTo>
                  <a:cubicBezTo>
                    <a:pt x="173" y="79"/>
                    <a:pt x="159" y="66"/>
                    <a:pt x="159" y="66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3" y="64"/>
                    <a:pt x="169" y="53"/>
                    <a:pt x="162" y="5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D5E6B2A6-E50F-21EE-023D-4EA63383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5822" y="2684135"/>
              <a:ext cx="141763" cy="106703"/>
            </a:xfrm>
            <a:custGeom>
              <a:avLst/>
              <a:gdLst>
                <a:gd name="T0" fmla="*/ 12 w 246"/>
                <a:gd name="T1" fmla="*/ 4 h 186"/>
                <a:gd name="T2" fmla="*/ 12 w 246"/>
                <a:gd name="T3" fmla="*/ 3 h 186"/>
                <a:gd name="T4" fmla="*/ 12 w 246"/>
                <a:gd name="T5" fmla="*/ 3 h 186"/>
                <a:gd name="T6" fmla="*/ 12 w 246"/>
                <a:gd name="T7" fmla="*/ 2 h 186"/>
                <a:gd name="T8" fmla="*/ 10 w 246"/>
                <a:gd name="T9" fmla="*/ 2 h 186"/>
                <a:gd name="T10" fmla="*/ 9 w 246"/>
                <a:gd name="T11" fmla="*/ 2 h 186"/>
                <a:gd name="T12" fmla="*/ 8 w 246"/>
                <a:gd name="T13" fmla="*/ 1 h 186"/>
                <a:gd name="T14" fmla="*/ 6 w 246"/>
                <a:gd name="T15" fmla="*/ 0 h 186"/>
                <a:gd name="T16" fmla="*/ 5 w 246"/>
                <a:gd name="T17" fmla="*/ 1 h 186"/>
                <a:gd name="T18" fmla="*/ 5 w 246"/>
                <a:gd name="T19" fmla="*/ 2 h 186"/>
                <a:gd name="T20" fmla="*/ 4 w 246"/>
                <a:gd name="T21" fmla="*/ 2 h 186"/>
                <a:gd name="T22" fmla="*/ 3 w 246"/>
                <a:gd name="T23" fmla="*/ 3 h 186"/>
                <a:gd name="T24" fmla="*/ 2 w 246"/>
                <a:gd name="T25" fmla="*/ 2 h 186"/>
                <a:gd name="T26" fmla="*/ 1 w 246"/>
                <a:gd name="T27" fmla="*/ 3 h 186"/>
                <a:gd name="T28" fmla="*/ 1 w 246"/>
                <a:gd name="T29" fmla="*/ 3 h 186"/>
                <a:gd name="T30" fmla="*/ 0 w 246"/>
                <a:gd name="T31" fmla="*/ 3 h 186"/>
                <a:gd name="T32" fmla="*/ 2 w 246"/>
                <a:gd name="T33" fmla="*/ 4 h 186"/>
                <a:gd name="T34" fmla="*/ 3 w 246"/>
                <a:gd name="T35" fmla="*/ 5 h 186"/>
                <a:gd name="T36" fmla="*/ 4 w 246"/>
                <a:gd name="T37" fmla="*/ 6 h 186"/>
                <a:gd name="T38" fmla="*/ 5 w 246"/>
                <a:gd name="T39" fmla="*/ 9 h 186"/>
                <a:gd name="T40" fmla="*/ 8 w 246"/>
                <a:gd name="T41" fmla="*/ 9 h 186"/>
                <a:gd name="T42" fmla="*/ 9 w 246"/>
                <a:gd name="T43" fmla="*/ 10 h 186"/>
                <a:gd name="T44" fmla="*/ 7 w 246"/>
                <a:gd name="T45" fmla="*/ 8 h 186"/>
                <a:gd name="T46" fmla="*/ 6 w 246"/>
                <a:gd name="T47" fmla="*/ 6 h 186"/>
                <a:gd name="T48" fmla="*/ 6 w 246"/>
                <a:gd name="T49" fmla="*/ 6 h 186"/>
                <a:gd name="T50" fmla="*/ 5 w 246"/>
                <a:gd name="T51" fmla="*/ 5 h 186"/>
                <a:gd name="T52" fmla="*/ 5 w 246"/>
                <a:gd name="T53" fmla="*/ 4 h 186"/>
                <a:gd name="T54" fmla="*/ 6 w 246"/>
                <a:gd name="T55" fmla="*/ 4 h 186"/>
                <a:gd name="T56" fmla="*/ 8 w 246"/>
                <a:gd name="T57" fmla="*/ 4 h 186"/>
                <a:gd name="T58" fmla="*/ 9 w 246"/>
                <a:gd name="T59" fmla="*/ 4 h 186"/>
                <a:gd name="T60" fmla="*/ 11 w 246"/>
                <a:gd name="T61" fmla="*/ 4 h 186"/>
                <a:gd name="T62" fmla="*/ 12 w 246"/>
                <a:gd name="T63" fmla="*/ 5 h 18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6"/>
                <a:gd name="T97" fmla="*/ 0 h 186"/>
                <a:gd name="T98" fmla="*/ 246 w 246"/>
                <a:gd name="T99" fmla="*/ 186 h 18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6" h="186">
                  <a:moveTo>
                    <a:pt x="230" y="84"/>
                  </a:moveTo>
                  <a:cubicBezTo>
                    <a:pt x="232" y="77"/>
                    <a:pt x="232" y="77"/>
                    <a:pt x="232" y="77"/>
                  </a:cubicBezTo>
                  <a:cubicBezTo>
                    <a:pt x="232" y="77"/>
                    <a:pt x="246" y="74"/>
                    <a:pt x="245" y="71"/>
                  </a:cubicBezTo>
                  <a:cubicBezTo>
                    <a:pt x="244" y="68"/>
                    <a:pt x="228" y="65"/>
                    <a:pt x="228" y="65"/>
                  </a:cubicBezTo>
                  <a:cubicBezTo>
                    <a:pt x="231" y="53"/>
                    <a:pt x="231" y="53"/>
                    <a:pt x="231" y="53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1" y="38"/>
                    <a:pt x="211" y="38"/>
                    <a:pt x="211" y="38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41" y="16"/>
                    <a:pt x="139" y="13"/>
                  </a:cubicBezTo>
                  <a:cubicBezTo>
                    <a:pt x="137" y="10"/>
                    <a:pt x="125" y="0"/>
                    <a:pt x="125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5" y="6"/>
                    <a:pt x="109" y="10"/>
                  </a:cubicBezTo>
                  <a:cubicBezTo>
                    <a:pt x="103" y="14"/>
                    <a:pt x="93" y="14"/>
                    <a:pt x="93" y="14"/>
                  </a:cubicBezTo>
                  <a:cubicBezTo>
                    <a:pt x="93" y="14"/>
                    <a:pt x="84" y="14"/>
                    <a:pt x="84" y="18"/>
                  </a:cubicBezTo>
                  <a:cubicBezTo>
                    <a:pt x="84" y="22"/>
                    <a:pt x="87" y="31"/>
                    <a:pt x="87" y="31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4" y="51"/>
                    <a:pt x="69" y="53"/>
                  </a:cubicBezTo>
                  <a:cubicBezTo>
                    <a:pt x="64" y="55"/>
                    <a:pt x="59" y="53"/>
                    <a:pt x="59" y="53"/>
                  </a:cubicBezTo>
                  <a:cubicBezTo>
                    <a:pt x="59" y="53"/>
                    <a:pt x="52" y="54"/>
                    <a:pt x="46" y="53"/>
                  </a:cubicBezTo>
                  <a:cubicBezTo>
                    <a:pt x="40" y="52"/>
                    <a:pt x="40" y="45"/>
                    <a:pt x="40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3" y="62"/>
                    <a:pt x="1" y="67"/>
                    <a:pt x="1" y="67"/>
                  </a:cubicBezTo>
                  <a:cubicBezTo>
                    <a:pt x="1" y="67"/>
                    <a:pt x="0" y="97"/>
                    <a:pt x="8" y="88"/>
                  </a:cubicBezTo>
                  <a:cubicBezTo>
                    <a:pt x="16" y="79"/>
                    <a:pt x="27" y="64"/>
                    <a:pt x="31" y="70"/>
                  </a:cubicBezTo>
                  <a:cubicBezTo>
                    <a:pt x="35" y="76"/>
                    <a:pt x="35" y="91"/>
                    <a:pt x="35" y="91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48" y="107"/>
                    <a:pt x="60" y="111"/>
                  </a:cubicBezTo>
                  <a:cubicBezTo>
                    <a:pt x="72" y="115"/>
                    <a:pt x="68" y="123"/>
                    <a:pt x="68" y="123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25" y="162"/>
                    <a:pt x="142" y="163"/>
                    <a:pt x="146" y="171"/>
                  </a:cubicBezTo>
                  <a:cubicBezTo>
                    <a:pt x="146" y="171"/>
                    <a:pt x="142" y="180"/>
                    <a:pt x="148" y="184"/>
                  </a:cubicBezTo>
                  <a:cubicBezTo>
                    <a:pt x="165" y="186"/>
                    <a:pt x="165" y="186"/>
                    <a:pt x="165" y="186"/>
                  </a:cubicBezTo>
                  <a:cubicBezTo>
                    <a:pt x="170" y="182"/>
                    <a:pt x="174" y="174"/>
                    <a:pt x="159" y="165"/>
                  </a:cubicBezTo>
                  <a:cubicBezTo>
                    <a:pt x="135" y="150"/>
                    <a:pt x="131" y="146"/>
                    <a:pt x="131" y="146"/>
                  </a:cubicBezTo>
                  <a:cubicBezTo>
                    <a:pt x="121" y="126"/>
                    <a:pt x="121" y="126"/>
                    <a:pt x="121" y="126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10" y="123"/>
                    <a:pt x="113" y="113"/>
                    <a:pt x="110" y="109"/>
                  </a:cubicBezTo>
                  <a:cubicBezTo>
                    <a:pt x="107" y="105"/>
                    <a:pt x="102" y="105"/>
                    <a:pt x="102" y="10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3" y="81"/>
                    <a:pt x="92" y="68"/>
                    <a:pt x="96" y="67"/>
                  </a:cubicBezTo>
                  <a:cubicBezTo>
                    <a:pt x="100" y="66"/>
                    <a:pt x="112" y="74"/>
                    <a:pt x="112" y="74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42" y="68"/>
                    <a:pt x="142" y="68"/>
                    <a:pt x="142" y="68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4" y="71"/>
                    <a:pt x="174" y="74"/>
                    <a:pt x="177" y="74"/>
                  </a:cubicBezTo>
                  <a:cubicBezTo>
                    <a:pt x="180" y="74"/>
                    <a:pt x="187" y="72"/>
                    <a:pt x="193" y="73"/>
                  </a:cubicBezTo>
                  <a:cubicBezTo>
                    <a:pt x="199" y="74"/>
                    <a:pt x="210" y="74"/>
                    <a:pt x="210" y="7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30" y="8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17C63BD-0EB7-EED0-5B9A-442CA4ED1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6796" y="2623162"/>
              <a:ext cx="163104" cy="85362"/>
            </a:xfrm>
            <a:custGeom>
              <a:avLst/>
              <a:gdLst>
                <a:gd name="T0" fmla="*/ 1 w 286"/>
                <a:gd name="T1" fmla="*/ 2 h 148"/>
                <a:gd name="T2" fmla="*/ 1 w 286"/>
                <a:gd name="T3" fmla="*/ 2 h 148"/>
                <a:gd name="T4" fmla="*/ 1 w 286"/>
                <a:gd name="T5" fmla="*/ 3 h 148"/>
                <a:gd name="T6" fmla="*/ 1 w 286"/>
                <a:gd name="T7" fmla="*/ 3 h 148"/>
                <a:gd name="T8" fmla="*/ 1 w 286"/>
                <a:gd name="T9" fmla="*/ 3 h 148"/>
                <a:gd name="T10" fmla="*/ 1 w 286"/>
                <a:gd name="T11" fmla="*/ 4 h 148"/>
                <a:gd name="T12" fmla="*/ 0 w 286"/>
                <a:gd name="T13" fmla="*/ 5 h 148"/>
                <a:gd name="T14" fmla="*/ 0 w 286"/>
                <a:gd name="T15" fmla="*/ 5 h 148"/>
                <a:gd name="T16" fmla="*/ 0 w 286"/>
                <a:gd name="T17" fmla="*/ 5 h 148"/>
                <a:gd name="T18" fmla="*/ 0 w 286"/>
                <a:gd name="T19" fmla="*/ 5 h 148"/>
                <a:gd name="T20" fmla="*/ 1 w 286"/>
                <a:gd name="T21" fmla="*/ 6 h 148"/>
                <a:gd name="T22" fmla="*/ 2 w 286"/>
                <a:gd name="T23" fmla="*/ 6 h 148"/>
                <a:gd name="T24" fmla="*/ 3 w 286"/>
                <a:gd name="T25" fmla="*/ 8 h 148"/>
                <a:gd name="T26" fmla="*/ 3 w 286"/>
                <a:gd name="T27" fmla="*/ 8 h 148"/>
                <a:gd name="T28" fmla="*/ 4 w 286"/>
                <a:gd name="T29" fmla="*/ 8 h 148"/>
                <a:gd name="T30" fmla="*/ 4 w 286"/>
                <a:gd name="T31" fmla="*/ 8 h 148"/>
                <a:gd name="T32" fmla="*/ 6 w 286"/>
                <a:gd name="T33" fmla="*/ 8 h 148"/>
                <a:gd name="T34" fmla="*/ 6 w 286"/>
                <a:gd name="T35" fmla="*/ 8 h 148"/>
                <a:gd name="T36" fmla="*/ 6 w 286"/>
                <a:gd name="T37" fmla="*/ 8 h 148"/>
                <a:gd name="T38" fmla="*/ 6 w 286"/>
                <a:gd name="T39" fmla="*/ 7 h 148"/>
                <a:gd name="T40" fmla="*/ 7 w 286"/>
                <a:gd name="T41" fmla="*/ 7 h 148"/>
                <a:gd name="T42" fmla="*/ 7 w 286"/>
                <a:gd name="T43" fmla="*/ 7 h 148"/>
                <a:gd name="T44" fmla="*/ 9 w 286"/>
                <a:gd name="T45" fmla="*/ 7 h 148"/>
                <a:gd name="T46" fmla="*/ 9 w 286"/>
                <a:gd name="T47" fmla="*/ 7 h 148"/>
                <a:gd name="T48" fmla="*/ 10 w 286"/>
                <a:gd name="T49" fmla="*/ 7 h 148"/>
                <a:gd name="T50" fmla="*/ 10 w 286"/>
                <a:gd name="T51" fmla="*/ 6 h 148"/>
                <a:gd name="T52" fmla="*/ 11 w 286"/>
                <a:gd name="T53" fmla="*/ 6 h 148"/>
                <a:gd name="T54" fmla="*/ 12 w 286"/>
                <a:gd name="T55" fmla="*/ 6 h 148"/>
                <a:gd name="T56" fmla="*/ 12 w 286"/>
                <a:gd name="T57" fmla="*/ 5 h 148"/>
                <a:gd name="T58" fmla="*/ 12 w 286"/>
                <a:gd name="T59" fmla="*/ 5 h 148"/>
                <a:gd name="T60" fmla="*/ 13 w 286"/>
                <a:gd name="T61" fmla="*/ 3 h 148"/>
                <a:gd name="T62" fmla="*/ 13 w 286"/>
                <a:gd name="T63" fmla="*/ 3 h 148"/>
                <a:gd name="T64" fmla="*/ 14 w 286"/>
                <a:gd name="T65" fmla="*/ 2 h 148"/>
                <a:gd name="T66" fmla="*/ 15 w 286"/>
                <a:gd name="T67" fmla="*/ 2 h 148"/>
                <a:gd name="T68" fmla="*/ 14 w 286"/>
                <a:gd name="T69" fmla="*/ 1 h 148"/>
                <a:gd name="T70" fmla="*/ 13 w 286"/>
                <a:gd name="T71" fmla="*/ 0 h 148"/>
                <a:gd name="T72" fmla="*/ 12 w 286"/>
                <a:gd name="T73" fmla="*/ 1 h 148"/>
                <a:gd name="T74" fmla="*/ 11 w 286"/>
                <a:gd name="T75" fmla="*/ 0 h 148"/>
                <a:gd name="T76" fmla="*/ 11 w 286"/>
                <a:gd name="T77" fmla="*/ 1 h 148"/>
                <a:gd name="T78" fmla="*/ 10 w 286"/>
                <a:gd name="T79" fmla="*/ 1 h 148"/>
                <a:gd name="T80" fmla="*/ 10 w 286"/>
                <a:gd name="T81" fmla="*/ 0 h 148"/>
                <a:gd name="T82" fmla="*/ 9 w 286"/>
                <a:gd name="T83" fmla="*/ 0 h 148"/>
                <a:gd name="T84" fmla="*/ 9 w 286"/>
                <a:gd name="T85" fmla="*/ 1 h 148"/>
                <a:gd name="T86" fmla="*/ 7 w 286"/>
                <a:gd name="T87" fmla="*/ 1 h 148"/>
                <a:gd name="T88" fmla="*/ 7 w 286"/>
                <a:gd name="T89" fmla="*/ 2 h 148"/>
                <a:gd name="T90" fmla="*/ 6 w 286"/>
                <a:gd name="T91" fmla="*/ 1 h 148"/>
                <a:gd name="T92" fmla="*/ 6 w 286"/>
                <a:gd name="T93" fmla="*/ 2 h 148"/>
                <a:gd name="T94" fmla="*/ 3 w 286"/>
                <a:gd name="T95" fmla="*/ 2 h 148"/>
                <a:gd name="T96" fmla="*/ 2 w 286"/>
                <a:gd name="T97" fmla="*/ 2 h 148"/>
                <a:gd name="T98" fmla="*/ 2 w 286"/>
                <a:gd name="T99" fmla="*/ 2 h 148"/>
                <a:gd name="T100" fmla="*/ 1 w 286"/>
                <a:gd name="T101" fmla="*/ 2 h 148"/>
                <a:gd name="T102" fmla="*/ 1 w 286"/>
                <a:gd name="T103" fmla="*/ 2 h 1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6"/>
                <a:gd name="T157" fmla="*/ 0 h 148"/>
                <a:gd name="T158" fmla="*/ 286 w 286"/>
                <a:gd name="T159" fmla="*/ 148 h 1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6" h="148">
                  <a:moveTo>
                    <a:pt x="3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32" y="117"/>
                    <a:pt x="34" y="120"/>
                  </a:cubicBezTo>
                  <a:cubicBezTo>
                    <a:pt x="36" y="123"/>
                    <a:pt x="54" y="137"/>
                    <a:pt x="54" y="137"/>
                  </a:cubicBezTo>
                  <a:cubicBezTo>
                    <a:pt x="63" y="141"/>
                    <a:pt x="63" y="141"/>
                    <a:pt x="63" y="141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33" y="136"/>
                    <a:pt x="133" y="136"/>
                    <a:pt x="133" y="136"/>
                  </a:cubicBezTo>
                  <a:cubicBezTo>
                    <a:pt x="133" y="136"/>
                    <a:pt x="142" y="131"/>
                    <a:pt x="145" y="125"/>
                  </a:cubicBezTo>
                  <a:cubicBezTo>
                    <a:pt x="148" y="119"/>
                    <a:pt x="163" y="125"/>
                    <a:pt x="163" y="125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4" y="118"/>
                    <a:pt x="194" y="118"/>
                    <a:pt x="194" y="118"/>
                  </a:cubicBezTo>
                  <a:cubicBezTo>
                    <a:pt x="205" y="120"/>
                    <a:pt x="205" y="120"/>
                    <a:pt x="205" y="120"/>
                  </a:cubicBezTo>
                  <a:cubicBezTo>
                    <a:pt x="205" y="120"/>
                    <a:pt x="215" y="116"/>
                    <a:pt x="221" y="110"/>
                  </a:cubicBezTo>
                  <a:cubicBezTo>
                    <a:pt x="227" y="104"/>
                    <a:pt x="222" y="96"/>
                    <a:pt x="222" y="96"/>
                  </a:cubicBezTo>
                  <a:cubicBezTo>
                    <a:pt x="222" y="96"/>
                    <a:pt x="228" y="88"/>
                    <a:pt x="238" y="83"/>
                  </a:cubicBezTo>
                  <a:cubicBezTo>
                    <a:pt x="248" y="78"/>
                    <a:pt x="245" y="66"/>
                    <a:pt x="245" y="66"/>
                  </a:cubicBezTo>
                  <a:cubicBezTo>
                    <a:pt x="245" y="66"/>
                    <a:pt x="245" y="54"/>
                    <a:pt x="246" y="48"/>
                  </a:cubicBezTo>
                  <a:cubicBezTo>
                    <a:pt x="247" y="42"/>
                    <a:pt x="256" y="42"/>
                    <a:pt x="266" y="41"/>
                  </a:cubicBezTo>
                  <a:cubicBezTo>
                    <a:pt x="276" y="40"/>
                    <a:pt x="286" y="27"/>
                    <a:pt x="286" y="27"/>
                  </a:cubicBezTo>
                  <a:cubicBezTo>
                    <a:pt x="286" y="27"/>
                    <a:pt x="270" y="20"/>
                    <a:pt x="264" y="19"/>
                  </a:cubicBezTo>
                  <a:cubicBezTo>
                    <a:pt x="258" y="18"/>
                    <a:pt x="256" y="8"/>
                    <a:pt x="248" y="6"/>
                  </a:cubicBezTo>
                  <a:cubicBezTo>
                    <a:pt x="240" y="4"/>
                    <a:pt x="219" y="10"/>
                    <a:pt x="219" y="10"/>
                  </a:cubicBezTo>
                  <a:cubicBezTo>
                    <a:pt x="219" y="10"/>
                    <a:pt x="218" y="0"/>
                    <a:pt x="213" y="0"/>
                  </a:cubicBezTo>
                  <a:cubicBezTo>
                    <a:pt x="208" y="0"/>
                    <a:pt x="208" y="11"/>
                    <a:pt x="208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0"/>
                    <a:pt x="172" y="13"/>
                    <a:pt x="169" y="16"/>
                  </a:cubicBezTo>
                  <a:cubicBezTo>
                    <a:pt x="166" y="19"/>
                    <a:pt x="143" y="20"/>
                    <a:pt x="143" y="2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82" y="43"/>
                    <a:pt x="65" y="44"/>
                  </a:cubicBezTo>
                  <a:cubicBezTo>
                    <a:pt x="48" y="45"/>
                    <a:pt x="45" y="28"/>
                    <a:pt x="45" y="2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39"/>
                    <a:pt x="31" y="43"/>
                    <a:pt x="31" y="4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B09B950C-4D1A-5A14-CC5C-7524233A2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3444" y="2438718"/>
              <a:ext cx="239320" cy="172250"/>
            </a:xfrm>
            <a:custGeom>
              <a:avLst/>
              <a:gdLst>
                <a:gd name="T0" fmla="*/ 16 w 419"/>
                <a:gd name="T1" fmla="*/ 15 h 301"/>
                <a:gd name="T2" fmla="*/ 18 w 419"/>
                <a:gd name="T3" fmla="*/ 15 h 301"/>
                <a:gd name="T4" fmla="*/ 19 w 419"/>
                <a:gd name="T5" fmla="*/ 16 h 301"/>
                <a:gd name="T6" fmla="*/ 19 w 419"/>
                <a:gd name="T7" fmla="*/ 14 h 301"/>
                <a:gd name="T8" fmla="*/ 22 w 419"/>
                <a:gd name="T9" fmla="*/ 12 h 301"/>
                <a:gd name="T10" fmla="*/ 22 w 419"/>
                <a:gd name="T11" fmla="*/ 11 h 301"/>
                <a:gd name="T12" fmla="*/ 21 w 419"/>
                <a:gd name="T13" fmla="*/ 10 h 301"/>
                <a:gd name="T14" fmla="*/ 21 w 419"/>
                <a:gd name="T15" fmla="*/ 9 h 301"/>
                <a:gd name="T16" fmla="*/ 20 w 419"/>
                <a:gd name="T17" fmla="*/ 8 h 301"/>
                <a:gd name="T18" fmla="*/ 20 w 419"/>
                <a:gd name="T19" fmla="*/ 6 h 301"/>
                <a:gd name="T20" fmla="*/ 21 w 419"/>
                <a:gd name="T21" fmla="*/ 6 h 301"/>
                <a:gd name="T22" fmla="*/ 21 w 419"/>
                <a:gd name="T23" fmla="*/ 4 h 301"/>
                <a:gd name="T24" fmla="*/ 19 w 419"/>
                <a:gd name="T25" fmla="*/ 2 h 301"/>
                <a:gd name="T26" fmla="*/ 18 w 419"/>
                <a:gd name="T27" fmla="*/ 1 h 301"/>
                <a:gd name="T28" fmla="*/ 16 w 419"/>
                <a:gd name="T29" fmla="*/ 2 h 301"/>
                <a:gd name="T30" fmla="*/ 13 w 419"/>
                <a:gd name="T31" fmla="*/ 1 h 301"/>
                <a:gd name="T32" fmla="*/ 12 w 419"/>
                <a:gd name="T33" fmla="*/ 1 h 301"/>
                <a:gd name="T34" fmla="*/ 10 w 419"/>
                <a:gd name="T35" fmla="*/ 1 h 301"/>
                <a:gd name="T36" fmla="*/ 8 w 419"/>
                <a:gd name="T37" fmla="*/ 0 h 301"/>
                <a:gd name="T38" fmla="*/ 4 w 419"/>
                <a:gd name="T39" fmla="*/ 2 h 301"/>
                <a:gd name="T40" fmla="*/ 0 w 419"/>
                <a:gd name="T41" fmla="*/ 3 h 301"/>
                <a:gd name="T42" fmla="*/ 0 w 419"/>
                <a:gd name="T43" fmla="*/ 3 h 301"/>
                <a:gd name="T44" fmla="*/ 1 w 419"/>
                <a:gd name="T45" fmla="*/ 4 h 301"/>
                <a:gd name="T46" fmla="*/ 0 w 419"/>
                <a:gd name="T47" fmla="*/ 5 h 301"/>
                <a:gd name="T48" fmla="*/ 1 w 419"/>
                <a:gd name="T49" fmla="*/ 6 h 301"/>
                <a:gd name="T50" fmla="*/ 1 w 419"/>
                <a:gd name="T51" fmla="*/ 6 h 301"/>
                <a:gd name="T52" fmla="*/ 1 w 419"/>
                <a:gd name="T53" fmla="*/ 7 h 301"/>
                <a:gd name="T54" fmla="*/ 1 w 419"/>
                <a:gd name="T55" fmla="*/ 8 h 301"/>
                <a:gd name="T56" fmla="*/ 1 w 419"/>
                <a:gd name="T57" fmla="*/ 9 h 301"/>
                <a:gd name="T58" fmla="*/ 2 w 419"/>
                <a:gd name="T59" fmla="*/ 9 h 301"/>
                <a:gd name="T60" fmla="*/ 2 w 419"/>
                <a:gd name="T61" fmla="*/ 10 h 301"/>
                <a:gd name="T62" fmla="*/ 3 w 419"/>
                <a:gd name="T63" fmla="*/ 11 h 301"/>
                <a:gd name="T64" fmla="*/ 3 w 419"/>
                <a:gd name="T65" fmla="*/ 11 h 301"/>
                <a:gd name="T66" fmla="*/ 5 w 419"/>
                <a:gd name="T67" fmla="*/ 11 h 301"/>
                <a:gd name="T68" fmla="*/ 5 w 419"/>
                <a:gd name="T69" fmla="*/ 12 h 301"/>
                <a:gd name="T70" fmla="*/ 5 w 419"/>
                <a:gd name="T71" fmla="*/ 12 h 301"/>
                <a:gd name="T72" fmla="*/ 7 w 419"/>
                <a:gd name="T73" fmla="*/ 12 h 301"/>
                <a:gd name="T74" fmla="*/ 8 w 419"/>
                <a:gd name="T75" fmla="*/ 12 h 301"/>
                <a:gd name="T76" fmla="*/ 9 w 419"/>
                <a:gd name="T77" fmla="*/ 13 h 301"/>
                <a:gd name="T78" fmla="*/ 10 w 419"/>
                <a:gd name="T79" fmla="*/ 14 h 301"/>
                <a:gd name="T80" fmla="*/ 10 w 419"/>
                <a:gd name="T81" fmla="*/ 14 h 301"/>
                <a:gd name="T82" fmla="*/ 12 w 419"/>
                <a:gd name="T83" fmla="*/ 14 h 301"/>
                <a:gd name="T84" fmla="*/ 13 w 419"/>
                <a:gd name="T85" fmla="*/ 15 h 301"/>
                <a:gd name="T86" fmla="*/ 13 w 419"/>
                <a:gd name="T87" fmla="*/ 15 h 301"/>
                <a:gd name="T88" fmla="*/ 15 w 419"/>
                <a:gd name="T89" fmla="*/ 15 h 3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9"/>
                <a:gd name="T136" fmla="*/ 0 h 301"/>
                <a:gd name="T137" fmla="*/ 419 w 419"/>
                <a:gd name="T138" fmla="*/ 301 h 3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9" h="301">
                  <a:moveTo>
                    <a:pt x="288" y="284"/>
                  </a:moveTo>
                  <a:cubicBezTo>
                    <a:pt x="293" y="284"/>
                    <a:pt x="298" y="276"/>
                    <a:pt x="312" y="276"/>
                  </a:cubicBezTo>
                  <a:cubicBezTo>
                    <a:pt x="326" y="276"/>
                    <a:pt x="325" y="283"/>
                    <a:pt x="332" y="289"/>
                  </a:cubicBezTo>
                  <a:cubicBezTo>
                    <a:pt x="339" y="295"/>
                    <a:pt x="345" y="293"/>
                    <a:pt x="351" y="293"/>
                  </a:cubicBezTo>
                  <a:cubicBezTo>
                    <a:pt x="357" y="293"/>
                    <a:pt x="355" y="300"/>
                    <a:pt x="355" y="300"/>
                  </a:cubicBezTo>
                  <a:cubicBezTo>
                    <a:pt x="371" y="301"/>
                    <a:pt x="371" y="301"/>
                    <a:pt x="371" y="301"/>
                  </a:cubicBezTo>
                  <a:cubicBezTo>
                    <a:pt x="371" y="301"/>
                    <a:pt x="362" y="295"/>
                    <a:pt x="363" y="285"/>
                  </a:cubicBezTo>
                  <a:cubicBezTo>
                    <a:pt x="364" y="275"/>
                    <a:pt x="364" y="265"/>
                    <a:pt x="364" y="265"/>
                  </a:cubicBezTo>
                  <a:cubicBezTo>
                    <a:pt x="399" y="230"/>
                    <a:pt x="399" y="230"/>
                    <a:pt x="399" y="230"/>
                  </a:cubicBezTo>
                  <a:cubicBezTo>
                    <a:pt x="399" y="230"/>
                    <a:pt x="419" y="229"/>
                    <a:pt x="417" y="224"/>
                  </a:cubicBezTo>
                  <a:cubicBezTo>
                    <a:pt x="415" y="219"/>
                    <a:pt x="409" y="211"/>
                    <a:pt x="409" y="211"/>
                  </a:cubicBezTo>
                  <a:cubicBezTo>
                    <a:pt x="416" y="203"/>
                    <a:pt x="416" y="203"/>
                    <a:pt x="416" y="203"/>
                  </a:cubicBezTo>
                  <a:cubicBezTo>
                    <a:pt x="416" y="203"/>
                    <a:pt x="404" y="200"/>
                    <a:pt x="401" y="191"/>
                  </a:cubicBezTo>
                  <a:cubicBezTo>
                    <a:pt x="398" y="182"/>
                    <a:pt x="390" y="180"/>
                    <a:pt x="390" y="180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9" y="167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86" y="158"/>
                    <a:pt x="389" y="144"/>
                    <a:pt x="387" y="140"/>
                  </a:cubicBezTo>
                  <a:cubicBezTo>
                    <a:pt x="385" y="136"/>
                    <a:pt x="371" y="133"/>
                    <a:pt x="369" y="127"/>
                  </a:cubicBezTo>
                  <a:cubicBezTo>
                    <a:pt x="367" y="121"/>
                    <a:pt x="376" y="123"/>
                    <a:pt x="379" y="123"/>
                  </a:cubicBezTo>
                  <a:cubicBezTo>
                    <a:pt x="382" y="123"/>
                    <a:pt x="380" y="111"/>
                    <a:pt x="380" y="111"/>
                  </a:cubicBezTo>
                  <a:cubicBezTo>
                    <a:pt x="394" y="106"/>
                    <a:pt x="394" y="106"/>
                    <a:pt x="394" y="106"/>
                  </a:cubicBezTo>
                  <a:cubicBezTo>
                    <a:pt x="394" y="106"/>
                    <a:pt x="396" y="98"/>
                    <a:pt x="398" y="94"/>
                  </a:cubicBezTo>
                  <a:cubicBezTo>
                    <a:pt x="400" y="90"/>
                    <a:pt x="392" y="78"/>
                    <a:pt x="392" y="78"/>
                  </a:cubicBezTo>
                  <a:cubicBezTo>
                    <a:pt x="392" y="78"/>
                    <a:pt x="381" y="69"/>
                    <a:pt x="381" y="64"/>
                  </a:cubicBezTo>
                  <a:cubicBezTo>
                    <a:pt x="381" y="59"/>
                    <a:pt x="373" y="46"/>
                    <a:pt x="373" y="46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57" y="24"/>
                    <a:pt x="344" y="22"/>
                  </a:cubicBezTo>
                  <a:cubicBezTo>
                    <a:pt x="331" y="20"/>
                    <a:pt x="336" y="27"/>
                    <a:pt x="336" y="27"/>
                  </a:cubicBezTo>
                  <a:cubicBezTo>
                    <a:pt x="336" y="27"/>
                    <a:pt x="321" y="27"/>
                    <a:pt x="313" y="26"/>
                  </a:cubicBezTo>
                  <a:cubicBezTo>
                    <a:pt x="305" y="25"/>
                    <a:pt x="274" y="27"/>
                    <a:pt x="274" y="27"/>
                  </a:cubicBezTo>
                  <a:cubicBezTo>
                    <a:pt x="274" y="27"/>
                    <a:pt x="266" y="22"/>
                    <a:pt x="257" y="20"/>
                  </a:cubicBezTo>
                  <a:cubicBezTo>
                    <a:pt x="248" y="18"/>
                    <a:pt x="236" y="23"/>
                    <a:pt x="236" y="23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1" y="19"/>
                    <a:pt x="195" y="23"/>
                    <a:pt x="189" y="22"/>
                  </a:cubicBezTo>
                  <a:cubicBezTo>
                    <a:pt x="183" y="21"/>
                    <a:pt x="178" y="4"/>
                    <a:pt x="178" y="4"/>
                  </a:cubicBezTo>
                  <a:cubicBezTo>
                    <a:pt x="178" y="4"/>
                    <a:pt x="164" y="0"/>
                    <a:pt x="149" y="0"/>
                  </a:cubicBezTo>
                  <a:cubicBezTo>
                    <a:pt x="134" y="0"/>
                    <a:pt x="94" y="17"/>
                    <a:pt x="94" y="17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10" y="44"/>
                    <a:pt x="12" y="48"/>
                  </a:cubicBezTo>
                  <a:cubicBezTo>
                    <a:pt x="14" y="52"/>
                    <a:pt x="14" y="62"/>
                    <a:pt x="14" y="62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61"/>
                    <a:pt x="9" y="65"/>
                    <a:pt x="8" y="68"/>
                  </a:cubicBezTo>
                  <a:cubicBezTo>
                    <a:pt x="6" y="74"/>
                    <a:pt x="11" y="66"/>
                    <a:pt x="14" y="75"/>
                  </a:cubicBezTo>
                  <a:cubicBezTo>
                    <a:pt x="16" y="83"/>
                    <a:pt x="18" y="85"/>
                    <a:pt x="12" y="89"/>
                  </a:cubicBezTo>
                  <a:cubicBezTo>
                    <a:pt x="6" y="94"/>
                    <a:pt x="0" y="95"/>
                    <a:pt x="3" y="102"/>
                  </a:cubicBezTo>
                  <a:cubicBezTo>
                    <a:pt x="6" y="109"/>
                    <a:pt x="10" y="105"/>
                    <a:pt x="10" y="105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8" y="107"/>
                    <a:pt x="21" y="111"/>
                  </a:cubicBezTo>
                  <a:cubicBezTo>
                    <a:pt x="24" y="116"/>
                    <a:pt x="24" y="122"/>
                    <a:pt x="24" y="122"/>
                  </a:cubicBezTo>
                  <a:cubicBezTo>
                    <a:pt x="24" y="122"/>
                    <a:pt x="18" y="125"/>
                    <a:pt x="19" y="128"/>
                  </a:cubicBezTo>
                  <a:cubicBezTo>
                    <a:pt x="20" y="131"/>
                    <a:pt x="25" y="132"/>
                    <a:pt x="25" y="132"/>
                  </a:cubicBezTo>
                  <a:cubicBezTo>
                    <a:pt x="25" y="132"/>
                    <a:pt x="22" y="139"/>
                    <a:pt x="24" y="139"/>
                  </a:cubicBezTo>
                  <a:cubicBezTo>
                    <a:pt x="26" y="140"/>
                    <a:pt x="29" y="142"/>
                    <a:pt x="29" y="142"/>
                  </a:cubicBezTo>
                  <a:cubicBezTo>
                    <a:pt x="29" y="142"/>
                    <a:pt x="20" y="148"/>
                    <a:pt x="20" y="153"/>
                  </a:cubicBezTo>
                  <a:cubicBezTo>
                    <a:pt x="21" y="159"/>
                    <a:pt x="30" y="161"/>
                    <a:pt x="30" y="161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29" y="173"/>
                    <a:pt x="37" y="167"/>
                    <a:pt x="38" y="173"/>
                  </a:cubicBezTo>
                  <a:cubicBezTo>
                    <a:pt x="40" y="178"/>
                    <a:pt x="36" y="183"/>
                    <a:pt x="36" y="183"/>
                  </a:cubicBezTo>
                  <a:cubicBezTo>
                    <a:pt x="36" y="183"/>
                    <a:pt x="42" y="184"/>
                    <a:pt x="41" y="187"/>
                  </a:cubicBezTo>
                  <a:cubicBezTo>
                    <a:pt x="40" y="189"/>
                    <a:pt x="39" y="192"/>
                    <a:pt x="37" y="195"/>
                  </a:cubicBezTo>
                  <a:cubicBezTo>
                    <a:pt x="50" y="197"/>
                    <a:pt x="50" y="197"/>
                    <a:pt x="50" y="197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5" y="203"/>
                    <a:pt x="67" y="207"/>
                  </a:cubicBezTo>
                  <a:cubicBezTo>
                    <a:pt x="79" y="211"/>
                    <a:pt x="77" y="217"/>
                    <a:pt x="80" y="217"/>
                  </a:cubicBezTo>
                  <a:cubicBezTo>
                    <a:pt x="83" y="217"/>
                    <a:pt x="96" y="216"/>
                    <a:pt x="96" y="216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8" y="228"/>
                    <a:pt x="98" y="228"/>
                    <a:pt x="98" y="228"/>
                  </a:cubicBezTo>
                  <a:cubicBezTo>
                    <a:pt x="98" y="228"/>
                    <a:pt x="98" y="234"/>
                    <a:pt x="102" y="236"/>
                  </a:cubicBezTo>
                  <a:cubicBezTo>
                    <a:pt x="106" y="238"/>
                    <a:pt x="117" y="240"/>
                    <a:pt x="117" y="240"/>
                  </a:cubicBezTo>
                  <a:cubicBezTo>
                    <a:pt x="117" y="240"/>
                    <a:pt x="119" y="236"/>
                    <a:pt x="132" y="232"/>
                  </a:cubicBezTo>
                  <a:cubicBezTo>
                    <a:pt x="145" y="228"/>
                    <a:pt x="140" y="235"/>
                    <a:pt x="140" y="235"/>
                  </a:cubicBezTo>
                  <a:cubicBezTo>
                    <a:pt x="140" y="235"/>
                    <a:pt x="140" y="235"/>
                    <a:pt x="148" y="236"/>
                  </a:cubicBezTo>
                  <a:cubicBezTo>
                    <a:pt x="156" y="237"/>
                    <a:pt x="161" y="250"/>
                    <a:pt x="161" y="250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72" y="253"/>
                    <a:pt x="176" y="253"/>
                  </a:cubicBezTo>
                  <a:cubicBezTo>
                    <a:pt x="180" y="253"/>
                    <a:pt x="190" y="255"/>
                    <a:pt x="190" y="255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96" y="266"/>
                    <a:pt x="196" y="266"/>
                    <a:pt x="196" y="266"/>
                  </a:cubicBezTo>
                  <a:cubicBezTo>
                    <a:pt x="196" y="266"/>
                    <a:pt x="206" y="278"/>
                    <a:pt x="209" y="278"/>
                  </a:cubicBezTo>
                  <a:cubicBezTo>
                    <a:pt x="212" y="278"/>
                    <a:pt x="222" y="270"/>
                    <a:pt x="229" y="272"/>
                  </a:cubicBezTo>
                  <a:cubicBezTo>
                    <a:pt x="236" y="274"/>
                    <a:pt x="237" y="281"/>
                    <a:pt x="237" y="281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44" y="281"/>
                    <a:pt x="241" y="288"/>
                    <a:pt x="250" y="288"/>
                  </a:cubicBezTo>
                  <a:cubicBezTo>
                    <a:pt x="259" y="288"/>
                    <a:pt x="258" y="279"/>
                    <a:pt x="258" y="279"/>
                  </a:cubicBezTo>
                  <a:cubicBezTo>
                    <a:pt x="277" y="280"/>
                    <a:pt x="277" y="280"/>
                    <a:pt x="277" y="280"/>
                  </a:cubicBezTo>
                  <a:cubicBezTo>
                    <a:pt x="277" y="280"/>
                    <a:pt x="283" y="284"/>
                    <a:pt x="288" y="28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40EDF0CF-0AD2-94B9-7500-DD5ED9210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7034" y="2511885"/>
              <a:ext cx="428337" cy="236271"/>
            </a:xfrm>
            <a:custGeom>
              <a:avLst/>
              <a:gdLst>
                <a:gd name="T0" fmla="*/ 3 w 750"/>
                <a:gd name="T1" fmla="*/ 12 h 415"/>
                <a:gd name="T2" fmla="*/ 4 w 750"/>
                <a:gd name="T3" fmla="*/ 12 h 415"/>
                <a:gd name="T4" fmla="*/ 7 w 750"/>
                <a:gd name="T5" fmla="*/ 12 h 415"/>
                <a:gd name="T6" fmla="*/ 9 w 750"/>
                <a:gd name="T7" fmla="*/ 12 h 415"/>
                <a:gd name="T8" fmla="*/ 11 w 750"/>
                <a:gd name="T9" fmla="*/ 11 h 415"/>
                <a:gd name="T10" fmla="*/ 13 w 750"/>
                <a:gd name="T11" fmla="*/ 11 h 415"/>
                <a:gd name="T12" fmla="*/ 15 w 750"/>
                <a:gd name="T13" fmla="*/ 12 h 415"/>
                <a:gd name="T14" fmla="*/ 16 w 750"/>
                <a:gd name="T15" fmla="*/ 13 h 415"/>
                <a:gd name="T16" fmla="*/ 16 w 750"/>
                <a:gd name="T17" fmla="*/ 15 h 415"/>
                <a:gd name="T18" fmla="*/ 17 w 750"/>
                <a:gd name="T19" fmla="*/ 16 h 415"/>
                <a:gd name="T20" fmla="*/ 16 w 750"/>
                <a:gd name="T21" fmla="*/ 17 h 415"/>
                <a:gd name="T22" fmla="*/ 15 w 750"/>
                <a:gd name="T23" fmla="*/ 19 h 415"/>
                <a:gd name="T24" fmla="*/ 15 w 750"/>
                <a:gd name="T25" fmla="*/ 19 h 415"/>
                <a:gd name="T26" fmla="*/ 17 w 750"/>
                <a:gd name="T27" fmla="*/ 18 h 415"/>
                <a:gd name="T28" fmla="*/ 21 w 750"/>
                <a:gd name="T29" fmla="*/ 16 h 415"/>
                <a:gd name="T30" fmla="*/ 23 w 750"/>
                <a:gd name="T31" fmla="*/ 16 h 415"/>
                <a:gd name="T32" fmla="*/ 22 w 750"/>
                <a:gd name="T33" fmla="*/ 16 h 415"/>
                <a:gd name="T34" fmla="*/ 26 w 750"/>
                <a:gd name="T35" fmla="*/ 17 h 415"/>
                <a:gd name="T36" fmla="*/ 26 w 750"/>
                <a:gd name="T37" fmla="*/ 20 h 415"/>
                <a:gd name="T38" fmla="*/ 28 w 750"/>
                <a:gd name="T39" fmla="*/ 21 h 415"/>
                <a:gd name="T40" fmla="*/ 31 w 750"/>
                <a:gd name="T41" fmla="*/ 20 h 415"/>
                <a:gd name="T42" fmla="*/ 33 w 750"/>
                <a:gd name="T43" fmla="*/ 19 h 415"/>
                <a:gd name="T44" fmla="*/ 29 w 750"/>
                <a:gd name="T45" fmla="*/ 18 h 415"/>
                <a:gd name="T46" fmla="*/ 26 w 750"/>
                <a:gd name="T47" fmla="*/ 17 h 415"/>
                <a:gd name="T48" fmla="*/ 28 w 750"/>
                <a:gd name="T49" fmla="*/ 17 h 415"/>
                <a:gd name="T50" fmla="*/ 31 w 750"/>
                <a:gd name="T51" fmla="*/ 15 h 415"/>
                <a:gd name="T52" fmla="*/ 36 w 750"/>
                <a:gd name="T53" fmla="*/ 14 h 415"/>
                <a:gd name="T54" fmla="*/ 37 w 750"/>
                <a:gd name="T55" fmla="*/ 12 h 415"/>
                <a:gd name="T56" fmla="*/ 38 w 750"/>
                <a:gd name="T57" fmla="*/ 10 h 415"/>
                <a:gd name="T58" fmla="*/ 39 w 750"/>
                <a:gd name="T59" fmla="*/ 9 h 415"/>
                <a:gd name="T60" fmla="*/ 37 w 750"/>
                <a:gd name="T61" fmla="*/ 7 h 415"/>
                <a:gd name="T62" fmla="*/ 35 w 750"/>
                <a:gd name="T63" fmla="*/ 6 h 415"/>
                <a:gd name="T64" fmla="*/ 33 w 750"/>
                <a:gd name="T65" fmla="*/ 5 h 415"/>
                <a:gd name="T66" fmla="*/ 30 w 750"/>
                <a:gd name="T67" fmla="*/ 6 h 415"/>
                <a:gd name="T68" fmla="*/ 28 w 750"/>
                <a:gd name="T69" fmla="*/ 5 h 415"/>
                <a:gd name="T70" fmla="*/ 25 w 750"/>
                <a:gd name="T71" fmla="*/ 3 h 415"/>
                <a:gd name="T72" fmla="*/ 25 w 750"/>
                <a:gd name="T73" fmla="*/ 1 h 415"/>
                <a:gd name="T74" fmla="*/ 22 w 750"/>
                <a:gd name="T75" fmla="*/ 0 h 415"/>
                <a:gd name="T76" fmla="*/ 21 w 750"/>
                <a:gd name="T77" fmla="*/ 1 h 415"/>
                <a:gd name="T78" fmla="*/ 17 w 750"/>
                <a:gd name="T79" fmla="*/ 3 h 415"/>
                <a:gd name="T80" fmla="*/ 14 w 750"/>
                <a:gd name="T81" fmla="*/ 2 h 415"/>
                <a:gd name="T82" fmla="*/ 13 w 750"/>
                <a:gd name="T83" fmla="*/ 2 h 415"/>
                <a:gd name="T84" fmla="*/ 12 w 750"/>
                <a:gd name="T85" fmla="*/ 2 h 415"/>
                <a:gd name="T86" fmla="*/ 10 w 750"/>
                <a:gd name="T87" fmla="*/ 2 h 415"/>
                <a:gd name="T88" fmla="*/ 8 w 750"/>
                <a:gd name="T89" fmla="*/ 1 h 415"/>
                <a:gd name="T90" fmla="*/ 6 w 750"/>
                <a:gd name="T91" fmla="*/ 1 h 415"/>
                <a:gd name="T92" fmla="*/ 3 w 750"/>
                <a:gd name="T93" fmla="*/ 2 h 415"/>
                <a:gd name="T94" fmla="*/ 4 w 750"/>
                <a:gd name="T95" fmla="*/ 4 h 415"/>
                <a:gd name="T96" fmla="*/ 3 w 750"/>
                <a:gd name="T97" fmla="*/ 5 h 415"/>
                <a:gd name="T98" fmla="*/ 1 w 750"/>
                <a:gd name="T99" fmla="*/ 9 h 415"/>
                <a:gd name="T100" fmla="*/ 0 w 750"/>
                <a:gd name="T101" fmla="*/ 10 h 41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50"/>
                <a:gd name="T154" fmla="*/ 0 h 415"/>
                <a:gd name="T155" fmla="*/ 750 w 750"/>
                <a:gd name="T156" fmla="*/ 415 h 41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50" h="415">
                  <a:moveTo>
                    <a:pt x="16" y="215"/>
                  </a:moveTo>
                  <a:cubicBezTo>
                    <a:pt x="22" y="216"/>
                    <a:pt x="38" y="223"/>
                    <a:pt x="38" y="223"/>
                  </a:cubicBezTo>
                  <a:cubicBezTo>
                    <a:pt x="38" y="223"/>
                    <a:pt x="47" y="223"/>
                    <a:pt x="51" y="223"/>
                  </a:cubicBezTo>
                  <a:cubicBezTo>
                    <a:pt x="55" y="223"/>
                    <a:pt x="57" y="230"/>
                    <a:pt x="57" y="230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9" y="232"/>
                    <a:pt x="79" y="232"/>
                    <a:pt x="79" y="232"/>
                  </a:cubicBezTo>
                  <a:cubicBezTo>
                    <a:pt x="79" y="232"/>
                    <a:pt x="94" y="224"/>
                    <a:pt x="100" y="225"/>
                  </a:cubicBezTo>
                  <a:cubicBezTo>
                    <a:pt x="106" y="226"/>
                    <a:pt x="112" y="245"/>
                    <a:pt x="122" y="242"/>
                  </a:cubicBezTo>
                  <a:cubicBezTo>
                    <a:pt x="132" y="239"/>
                    <a:pt x="132" y="230"/>
                    <a:pt x="132" y="230"/>
                  </a:cubicBezTo>
                  <a:cubicBezTo>
                    <a:pt x="149" y="233"/>
                    <a:pt x="149" y="233"/>
                    <a:pt x="149" y="233"/>
                  </a:cubicBezTo>
                  <a:cubicBezTo>
                    <a:pt x="153" y="226"/>
                    <a:pt x="153" y="226"/>
                    <a:pt x="153" y="226"/>
                  </a:cubicBezTo>
                  <a:cubicBezTo>
                    <a:pt x="153" y="226"/>
                    <a:pt x="156" y="227"/>
                    <a:pt x="166" y="227"/>
                  </a:cubicBezTo>
                  <a:cubicBezTo>
                    <a:pt x="176" y="227"/>
                    <a:pt x="174" y="209"/>
                    <a:pt x="191" y="212"/>
                  </a:cubicBezTo>
                  <a:cubicBezTo>
                    <a:pt x="193" y="204"/>
                    <a:pt x="193" y="204"/>
                    <a:pt x="193" y="204"/>
                  </a:cubicBezTo>
                  <a:cubicBezTo>
                    <a:pt x="193" y="204"/>
                    <a:pt x="203" y="210"/>
                    <a:pt x="209" y="209"/>
                  </a:cubicBezTo>
                  <a:cubicBezTo>
                    <a:pt x="215" y="208"/>
                    <a:pt x="215" y="203"/>
                    <a:pt x="224" y="202"/>
                  </a:cubicBezTo>
                  <a:cubicBezTo>
                    <a:pt x="233" y="201"/>
                    <a:pt x="239" y="210"/>
                    <a:pt x="239" y="210"/>
                  </a:cubicBezTo>
                  <a:cubicBezTo>
                    <a:pt x="243" y="208"/>
                    <a:pt x="243" y="208"/>
                    <a:pt x="243" y="208"/>
                  </a:cubicBezTo>
                  <a:cubicBezTo>
                    <a:pt x="243" y="208"/>
                    <a:pt x="239" y="213"/>
                    <a:pt x="248" y="213"/>
                  </a:cubicBezTo>
                  <a:cubicBezTo>
                    <a:pt x="257" y="213"/>
                    <a:pt x="264" y="210"/>
                    <a:pt x="269" y="214"/>
                  </a:cubicBezTo>
                  <a:cubicBezTo>
                    <a:pt x="274" y="218"/>
                    <a:pt x="274" y="225"/>
                    <a:pt x="274" y="225"/>
                  </a:cubicBezTo>
                  <a:cubicBezTo>
                    <a:pt x="274" y="225"/>
                    <a:pt x="283" y="219"/>
                    <a:pt x="294" y="227"/>
                  </a:cubicBezTo>
                  <a:cubicBezTo>
                    <a:pt x="305" y="235"/>
                    <a:pt x="296" y="244"/>
                    <a:pt x="296" y="244"/>
                  </a:cubicBezTo>
                  <a:cubicBezTo>
                    <a:pt x="296" y="244"/>
                    <a:pt x="293" y="259"/>
                    <a:pt x="296" y="259"/>
                  </a:cubicBezTo>
                  <a:cubicBezTo>
                    <a:pt x="299" y="259"/>
                    <a:pt x="308" y="257"/>
                    <a:pt x="308" y="257"/>
                  </a:cubicBezTo>
                  <a:cubicBezTo>
                    <a:pt x="313" y="262"/>
                    <a:pt x="313" y="262"/>
                    <a:pt x="313" y="262"/>
                  </a:cubicBezTo>
                  <a:cubicBezTo>
                    <a:pt x="313" y="262"/>
                    <a:pt x="304" y="276"/>
                    <a:pt x="311" y="278"/>
                  </a:cubicBezTo>
                  <a:cubicBezTo>
                    <a:pt x="318" y="280"/>
                    <a:pt x="331" y="277"/>
                    <a:pt x="332" y="284"/>
                  </a:cubicBezTo>
                  <a:cubicBezTo>
                    <a:pt x="333" y="291"/>
                    <a:pt x="334" y="305"/>
                    <a:pt x="334" y="305"/>
                  </a:cubicBezTo>
                  <a:cubicBezTo>
                    <a:pt x="334" y="305"/>
                    <a:pt x="324" y="309"/>
                    <a:pt x="317" y="310"/>
                  </a:cubicBezTo>
                  <a:cubicBezTo>
                    <a:pt x="310" y="311"/>
                    <a:pt x="304" y="303"/>
                    <a:pt x="304" y="303"/>
                  </a:cubicBezTo>
                  <a:cubicBezTo>
                    <a:pt x="304" y="303"/>
                    <a:pt x="287" y="303"/>
                    <a:pt x="288" y="307"/>
                  </a:cubicBezTo>
                  <a:cubicBezTo>
                    <a:pt x="289" y="311"/>
                    <a:pt x="304" y="321"/>
                    <a:pt x="304" y="321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79" y="338"/>
                    <a:pt x="279" y="342"/>
                  </a:cubicBezTo>
                  <a:cubicBezTo>
                    <a:pt x="279" y="346"/>
                    <a:pt x="283" y="356"/>
                    <a:pt x="283" y="356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3" y="353"/>
                    <a:pt x="264" y="348"/>
                    <a:pt x="264" y="345"/>
                  </a:cubicBezTo>
                  <a:cubicBezTo>
                    <a:pt x="263" y="350"/>
                    <a:pt x="263" y="367"/>
                    <a:pt x="281" y="370"/>
                  </a:cubicBezTo>
                  <a:cubicBezTo>
                    <a:pt x="302" y="373"/>
                    <a:pt x="298" y="359"/>
                    <a:pt x="310" y="360"/>
                  </a:cubicBezTo>
                  <a:cubicBezTo>
                    <a:pt x="319" y="361"/>
                    <a:pt x="323" y="357"/>
                    <a:pt x="324" y="355"/>
                  </a:cubicBezTo>
                  <a:cubicBezTo>
                    <a:pt x="324" y="353"/>
                    <a:pt x="323" y="353"/>
                    <a:pt x="323" y="353"/>
                  </a:cubicBezTo>
                  <a:cubicBezTo>
                    <a:pt x="323" y="353"/>
                    <a:pt x="340" y="346"/>
                    <a:pt x="348" y="340"/>
                  </a:cubicBezTo>
                  <a:cubicBezTo>
                    <a:pt x="357" y="334"/>
                    <a:pt x="370" y="310"/>
                    <a:pt x="370" y="310"/>
                  </a:cubicBezTo>
                  <a:cubicBezTo>
                    <a:pt x="391" y="301"/>
                    <a:pt x="391" y="301"/>
                    <a:pt x="391" y="301"/>
                  </a:cubicBezTo>
                  <a:cubicBezTo>
                    <a:pt x="400" y="290"/>
                    <a:pt x="400" y="290"/>
                    <a:pt x="400" y="290"/>
                  </a:cubicBezTo>
                  <a:cubicBezTo>
                    <a:pt x="411" y="295"/>
                    <a:pt x="411" y="295"/>
                    <a:pt x="411" y="295"/>
                  </a:cubicBezTo>
                  <a:cubicBezTo>
                    <a:pt x="411" y="295"/>
                    <a:pt x="433" y="299"/>
                    <a:pt x="436" y="299"/>
                  </a:cubicBezTo>
                  <a:cubicBezTo>
                    <a:pt x="439" y="299"/>
                    <a:pt x="447" y="293"/>
                    <a:pt x="447" y="293"/>
                  </a:cubicBezTo>
                  <a:cubicBezTo>
                    <a:pt x="435" y="309"/>
                    <a:pt x="435" y="309"/>
                    <a:pt x="435" y="309"/>
                  </a:cubicBezTo>
                  <a:cubicBezTo>
                    <a:pt x="435" y="309"/>
                    <a:pt x="417" y="303"/>
                    <a:pt x="420" y="310"/>
                  </a:cubicBezTo>
                  <a:cubicBezTo>
                    <a:pt x="423" y="317"/>
                    <a:pt x="443" y="322"/>
                    <a:pt x="443" y="322"/>
                  </a:cubicBezTo>
                  <a:cubicBezTo>
                    <a:pt x="475" y="323"/>
                    <a:pt x="475" y="323"/>
                    <a:pt x="475" y="323"/>
                  </a:cubicBezTo>
                  <a:cubicBezTo>
                    <a:pt x="488" y="324"/>
                    <a:pt x="488" y="324"/>
                    <a:pt x="488" y="324"/>
                  </a:cubicBezTo>
                  <a:cubicBezTo>
                    <a:pt x="495" y="335"/>
                    <a:pt x="495" y="335"/>
                    <a:pt x="495" y="335"/>
                  </a:cubicBezTo>
                  <a:cubicBezTo>
                    <a:pt x="495" y="335"/>
                    <a:pt x="449" y="361"/>
                    <a:pt x="452" y="364"/>
                  </a:cubicBezTo>
                  <a:cubicBezTo>
                    <a:pt x="455" y="367"/>
                    <a:pt x="497" y="368"/>
                    <a:pt x="499" y="381"/>
                  </a:cubicBezTo>
                  <a:cubicBezTo>
                    <a:pt x="501" y="395"/>
                    <a:pt x="489" y="409"/>
                    <a:pt x="494" y="411"/>
                  </a:cubicBezTo>
                  <a:cubicBezTo>
                    <a:pt x="500" y="413"/>
                    <a:pt x="521" y="415"/>
                    <a:pt x="521" y="415"/>
                  </a:cubicBezTo>
                  <a:cubicBezTo>
                    <a:pt x="521" y="415"/>
                    <a:pt x="535" y="396"/>
                    <a:pt x="542" y="396"/>
                  </a:cubicBezTo>
                  <a:cubicBezTo>
                    <a:pt x="550" y="396"/>
                    <a:pt x="553" y="402"/>
                    <a:pt x="563" y="396"/>
                  </a:cubicBezTo>
                  <a:cubicBezTo>
                    <a:pt x="573" y="390"/>
                    <a:pt x="571" y="378"/>
                    <a:pt x="578" y="377"/>
                  </a:cubicBezTo>
                  <a:cubicBezTo>
                    <a:pt x="585" y="376"/>
                    <a:pt x="591" y="385"/>
                    <a:pt x="591" y="385"/>
                  </a:cubicBezTo>
                  <a:cubicBezTo>
                    <a:pt x="614" y="381"/>
                    <a:pt x="614" y="381"/>
                    <a:pt x="614" y="381"/>
                  </a:cubicBezTo>
                  <a:cubicBezTo>
                    <a:pt x="616" y="370"/>
                    <a:pt x="616" y="370"/>
                    <a:pt x="616" y="370"/>
                  </a:cubicBezTo>
                  <a:cubicBezTo>
                    <a:pt x="622" y="361"/>
                    <a:pt x="622" y="361"/>
                    <a:pt x="622" y="361"/>
                  </a:cubicBezTo>
                  <a:cubicBezTo>
                    <a:pt x="622" y="361"/>
                    <a:pt x="608" y="355"/>
                    <a:pt x="602" y="361"/>
                  </a:cubicBezTo>
                  <a:cubicBezTo>
                    <a:pt x="596" y="367"/>
                    <a:pt x="572" y="368"/>
                    <a:pt x="572" y="368"/>
                  </a:cubicBezTo>
                  <a:cubicBezTo>
                    <a:pt x="572" y="368"/>
                    <a:pt x="554" y="362"/>
                    <a:pt x="553" y="352"/>
                  </a:cubicBezTo>
                  <a:cubicBezTo>
                    <a:pt x="552" y="342"/>
                    <a:pt x="540" y="343"/>
                    <a:pt x="540" y="343"/>
                  </a:cubicBezTo>
                  <a:cubicBezTo>
                    <a:pt x="528" y="330"/>
                    <a:pt x="528" y="330"/>
                    <a:pt x="528" y="330"/>
                  </a:cubicBezTo>
                  <a:cubicBezTo>
                    <a:pt x="503" y="328"/>
                    <a:pt x="503" y="328"/>
                    <a:pt x="503" y="328"/>
                  </a:cubicBezTo>
                  <a:cubicBezTo>
                    <a:pt x="496" y="320"/>
                    <a:pt x="496" y="320"/>
                    <a:pt x="496" y="320"/>
                  </a:cubicBezTo>
                  <a:cubicBezTo>
                    <a:pt x="512" y="319"/>
                    <a:pt x="512" y="319"/>
                    <a:pt x="512" y="319"/>
                  </a:cubicBezTo>
                  <a:cubicBezTo>
                    <a:pt x="512" y="319"/>
                    <a:pt x="531" y="323"/>
                    <a:pt x="537" y="322"/>
                  </a:cubicBezTo>
                  <a:cubicBezTo>
                    <a:pt x="544" y="320"/>
                    <a:pt x="559" y="308"/>
                    <a:pt x="559" y="308"/>
                  </a:cubicBezTo>
                  <a:cubicBezTo>
                    <a:pt x="565" y="313"/>
                    <a:pt x="565" y="313"/>
                    <a:pt x="565" y="313"/>
                  </a:cubicBezTo>
                  <a:cubicBezTo>
                    <a:pt x="565" y="313"/>
                    <a:pt x="579" y="300"/>
                    <a:pt x="588" y="297"/>
                  </a:cubicBezTo>
                  <a:cubicBezTo>
                    <a:pt x="598" y="294"/>
                    <a:pt x="624" y="293"/>
                    <a:pt x="624" y="293"/>
                  </a:cubicBezTo>
                  <a:cubicBezTo>
                    <a:pt x="652" y="271"/>
                    <a:pt x="652" y="271"/>
                    <a:pt x="652" y="271"/>
                  </a:cubicBezTo>
                  <a:cubicBezTo>
                    <a:pt x="652" y="271"/>
                    <a:pt x="667" y="278"/>
                    <a:pt x="679" y="273"/>
                  </a:cubicBezTo>
                  <a:cubicBezTo>
                    <a:pt x="676" y="248"/>
                    <a:pt x="676" y="248"/>
                    <a:pt x="676" y="248"/>
                  </a:cubicBezTo>
                  <a:cubicBezTo>
                    <a:pt x="676" y="248"/>
                    <a:pt x="689" y="248"/>
                    <a:pt x="692" y="244"/>
                  </a:cubicBezTo>
                  <a:cubicBezTo>
                    <a:pt x="695" y="240"/>
                    <a:pt x="703" y="231"/>
                    <a:pt x="703" y="231"/>
                  </a:cubicBezTo>
                  <a:cubicBezTo>
                    <a:pt x="703" y="231"/>
                    <a:pt x="726" y="233"/>
                    <a:pt x="738" y="229"/>
                  </a:cubicBezTo>
                  <a:cubicBezTo>
                    <a:pt x="750" y="225"/>
                    <a:pt x="742" y="212"/>
                    <a:pt x="741" y="206"/>
                  </a:cubicBezTo>
                  <a:cubicBezTo>
                    <a:pt x="740" y="200"/>
                    <a:pt x="728" y="192"/>
                    <a:pt x="727" y="189"/>
                  </a:cubicBezTo>
                  <a:cubicBezTo>
                    <a:pt x="726" y="186"/>
                    <a:pt x="743" y="188"/>
                    <a:pt x="744" y="182"/>
                  </a:cubicBezTo>
                  <a:cubicBezTo>
                    <a:pt x="745" y="176"/>
                    <a:pt x="728" y="173"/>
                    <a:pt x="728" y="173"/>
                  </a:cubicBezTo>
                  <a:cubicBezTo>
                    <a:pt x="742" y="166"/>
                    <a:pt x="742" y="166"/>
                    <a:pt x="742" y="166"/>
                  </a:cubicBezTo>
                  <a:cubicBezTo>
                    <a:pt x="742" y="166"/>
                    <a:pt x="741" y="159"/>
                    <a:pt x="740" y="149"/>
                  </a:cubicBezTo>
                  <a:cubicBezTo>
                    <a:pt x="739" y="139"/>
                    <a:pt x="722" y="145"/>
                    <a:pt x="722" y="145"/>
                  </a:cubicBezTo>
                  <a:cubicBezTo>
                    <a:pt x="709" y="136"/>
                    <a:pt x="709" y="136"/>
                    <a:pt x="709" y="136"/>
                  </a:cubicBezTo>
                  <a:cubicBezTo>
                    <a:pt x="709" y="136"/>
                    <a:pt x="707" y="130"/>
                    <a:pt x="700" y="128"/>
                  </a:cubicBezTo>
                  <a:cubicBezTo>
                    <a:pt x="693" y="126"/>
                    <a:pt x="679" y="128"/>
                    <a:pt x="679" y="128"/>
                  </a:cubicBezTo>
                  <a:cubicBezTo>
                    <a:pt x="679" y="128"/>
                    <a:pt x="666" y="119"/>
                    <a:pt x="662" y="119"/>
                  </a:cubicBezTo>
                  <a:cubicBezTo>
                    <a:pt x="658" y="119"/>
                    <a:pt x="646" y="125"/>
                    <a:pt x="646" y="125"/>
                  </a:cubicBezTo>
                  <a:cubicBezTo>
                    <a:pt x="646" y="125"/>
                    <a:pt x="643" y="120"/>
                    <a:pt x="637" y="116"/>
                  </a:cubicBezTo>
                  <a:cubicBezTo>
                    <a:pt x="631" y="112"/>
                    <a:pt x="629" y="101"/>
                    <a:pt x="620" y="100"/>
                  </a:cubicBezTo>
                  <a:cubicBezTo>
                    <a:pt x="611" y="99"/>
                    <a:pt x="615" y="109"/>
                    <a:pt x="615" y="109"/>
                  </a:cubicBezTo>
                  <a:cubicBezTo>
                    <a:pt x="615" y="109"/>
                    <a:pt x="606" y="103"/>
                    <a:pt x="595" y="104"/>
                  </a:cubicBezTo>
                  <a:cubicBezTo>
                    <a:pt x="584" y="105"/>
                    <a:pt x="586" y="110"/>
                    <a:pt x="578" y="106"/>
                  </a:cubicBezTo>
                  <a:cubicBezTo>
                    <a:pt x="570" y="102"/>
                    <a:pt x="562" y="98"/>
                    <a:pt x="562" y="98"/>
                  </a:cubicBezTo>
                  <a:cubicBezTo>
                    <a:pt x="544" y="102"/>
                    <a:pt x="544" y="102"/>
                    <a:pt x="544" y="102"/>
                  </a:cubicBezTo>
                  <a:cubicBezTo>
                    <a:pt x="540" y="99"/>
                    <a:pt x="540" y="99"/>
                    <a:pt x="540" y="99"/>
                  </a:cubicBezTo>
                  <a:cubicBezTo>
                    <a:pt x="533" y="70"/>
                    <a:pt x="533" y="70"/>
                    <a:pt x="533" y="70"/>
                  </a:cubicBezTo>
                  <a:cubicBezTo>
                    <a:pt x="505" y="58"/>
                    <a:pt x="505" y="58"/>
                    <a:pt x="505" y="58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1" y="45"/>
                    <a:pt x="481" y="45"/>
                    <a:pt x="481" y="45"/>
                  </a:cubicBezTo>
                  <a:cubicBezTo>
                    <a:pt x="476" y="33"/>
                    <a:pt x="476" y="33"/>
                    <a:pt x="476" y="33"/>
                  </a:cubicBezTo>
                  <a:cubicBezTo>
                    <a:pt x="476" y="33"/>
                    <a:pt x="484" y="32"/>
                    <a:pt x="486" y="26"/>
                  </a:cubicBezTo>
                  <a:cubicBezTo>
                    <a:pt x="488" y="20"/>
                    <a:pt x="467" y="14"/>
                    <a:pt x="467" y="1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31" y="1"/>
                    <a:pt x="431" y="1"/>
                    <a:pt x="431" y="1"/>
                  </a:cubicBezTo>
                  <a:cubicBezTo>
                    <a:pt x="420" y="6"/>
                    <a:pt x="420" y="6"/>
                    <a:pt x="420" y="6"/>
                  </a:cubicBezTo>
                  <a:cubicBezTo>
                    <a:pt x="402" y="3"/>
                    <a:pt x="402" y="3"/>
                    <a:pt x="402" y="3"/>
                  </a:cubicBezTo>
                  <a:cubicBezTo>
                    <a:pt x="402" y="3"/>
                    <a:pt x="406" y="12"/>
                    <a:pt x="398" y="16"/>
                  </a:cubicBezTo>
                  <a:cubicBezTo>
                    <a:pt x="390" y="20"/>
                    <a:pt x="356" y="12"/>
                    <a:pt x="349" y="12"/>
                  </a:cubicBezTo>
                  <a:cubicBezTo>
                    <a:pt x="342" y="12"/>
                    <a:pt x="326" y="37"/>
                    <a:pt x="326" y="37"/>
                  </a:cubicBezTo>
                  <a:cubicBezTo>
                    <a:pt x="326" y="37"/>
                    <a:pt x="336" y="50"/>
                    <a:pt x="327" y="53"/>
                  </a:cubicBezTo>
                  <a:cubicBezTo>
                    <a:pt x="318" y="56"/>
                    <a:pt x="304" y="47"/>
                    <a:pt x="304" y="47"/>
                  </a:cubicBezTo>
                  <a:cubicBezTo>
                    <a:pt x="304" y="47"/>
                    <a:pt x="293" y="50"/>
                    <a:pt x="285" y="51"/>
                  </a:cubicBezTo>
                  <a:cubicBezTo>
                    <a:pt x="277" y="52"/>
                    <a:pt x="285" y="40"/>
                    <a:pt x="273" y="39"/>
                  </a:cubicBezTo>
                  <a:cubicBezTo>
                    <a:pt x="261" y="38"/>
                    <a:pt x="262" y="48"/>
                    <a:pt x="262" y="48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1" y="41"/>
                    <a:pt x="241" y="41"/>
                    <a:pt x="241" y="41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19" y="45"/>
                    <a:pt x="219" y="45"/>
                    <a:pt x="219" y="45"/>
                  </a:cubicBezTo>
                  <a:cubicBezTo>
                    <a:pt x="207" y="37"/>
                    <a:pt x="207" y="37"/>
                    <a:pt x="207" y="37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67" y="28"/>
                    <a:pt x="157" y="28"/>
                  </a:cubicBezTo>
                  <a:cubicBezTo>
                    <a:pt x="147" y="28"/>
                    <a:pt x="147" y="20"/>
                    <a:pt x="147" y="20"/>
                  </a:cubicBezTo>
                  <a:cubicBezTo>
                    <a:pt x="147" y="20"/>
                    <a:pt x="120" y="19"/>
                    <a:pt x="117" y="20"/>
                  </a:cubicBezTo>
                  <a:cubicBezTo>
                    <a:pt x="114" y="21"/>
                    <a:pt x="103" y="27"/>
                    <a:pt x="103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6" y="37"/>
                    <a:pt x="68" y="42"/>
                  </a:cubicBezTo>
                  <a:cubicBezTo>
                    <a:pt x="60" y="47"/>
                    <a:pt x="47" y="40"/>
                    <a:pt x="47" y="40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7" y="55"/>
                    <a:pt x="60" y="64"/>
                  </a:cubicBezTo>
                  <a:cubicBezTo>
                    <a:pt x="63" y="73"/>
                    <a:pt x="75" y="76"/>
                    <a:pt x="75" y="76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74" y="92"/>
                    <a:pt x="76" y="97"/>
                  </a:cubicBezTo>
                  <a:cubicBezTo>
                    <a:pt x="78" y="102"/>
                    <a:pt x="58" y="103"/>
                    <a:pt x="58" y="103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48"/>
                    <a:pt x="22" y="158"/>
                  </a:cubicBezTo>
                  <a:cubicBezTo>
                    <a:pt x="21" y="168"/>
                    <a:pt x="30" y="174"/>
                    <a:pt x="30" y="174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3" y="180"/>
                    <a:pt x="11" y="186"/>
                  </a:cubicBezTo>
                  <a:cubicBezTo>
                    <a:pt x="9" y="192"/>
                    <a:pt x="1" y="194"/>
                    <a:pt x="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8" y="204"/>
                    <a:pt x="10" y="214"/>
                    <a:pt x="16" y="21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55689B0C-C506-C000-FD93-73E49587C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2341" y="2691756"/>
              <a:ext cx="105179" cy="131092"/>
            </a:xfrm>
            <a:custGeom>
              <a:avLst/>
              <a:gdLst>
                <a:gd name="T0" fmla="*/ 9 w 185"/>
                <a:gd name="T1" fmla="*/ 8 h 233"/>
                <a:gd name="T2" fmla="*/ 8 w 185"/>
                <a:gd name="T3" fmla="*/ 7 h 233"/>
                <a:gd name="T4" fmla="*/ 9 w 185"/>
                <a:gd name="T5" fmla="*/ 6 h 233"/>
                <a:gd name="T6" fmla="*/ 8 w 185"/>
                <a:gd name="T7" fmla="*/ 5 h 233"/>
                <a:gd name="T8" fmla="*/ 9 w 185"/>
                <a:gd name="T9" fmla="*/ 4 h 233"/>
                <a:gd name="T10" fmla="*/ 7 w 185"/>
                <a:gd name="T11" fmla="*/ 5 h 233"/>
                <a:gd name="T12" fmla="*/ 6 w 185"/>
                <a:gd name="T13" fmla="*/ 4 h 233"/>
                <a:gd name="T14" fmla="*/ 6 w 185"/>
                <a:gd name="T15" fmla="*/ 3 h 233"/>
                <a:gd name="T16" fmla="*/ 5 w 185"/>
                <a:gd name="T17" fmla="*/ 3 h 233"/>
                <a:gd name="T18" fmla="*/ 4 w 185"/>
                <a:gd name="T19" fmla="*/ 1 h 233"/>
                <a:gd name="T20" fmla="*/ 3 w 185"/>
                <a:gd name="T21" fmla="*/ 0 h 233"/>
                <a:gd name="T22" fmla="*/ 1 w 185"/>
                <a:gd name="T23" fmla="*/ 1 h 233"/>
                <a:gd name="T24" fmla="*/ 0 w 185"/>
                <a:gd name="T25" fmla="*/ 1 h 233"/>
                <a:gd name="T26" fmla="*/ 0 w 185"/>
                <a:gd name="T27" fmla="*/ 2 h 233"/>
                <a:gd name="T28" fmla="*/ 0 w 185"/>
                <a:gd name="T29" fmla="*/ 3 h 233"/>
                <a:gd name="T30" fmla="*/ 0 w 185"/>
                <a:gd name="T31" fmla="*/ 3 h 233"/>
                <a:gd name="T32" fmla="*/ 0 w 185"/>
                <a:gd name="T33" fmla="*/ 4 h 233"/>
                <a:gd name="T34" fmla="*/ 1 w 185"/>
                <a:gd name="T35" fmla="*/ 4 h 233"/>
                <a:gd name="T36" fmla="*/ 1 w 185"/>
                <a:gd name="T37" fmla="*/ 5 h 233"/>
                <a:gd name="T38" fmla="*/ 2 w 185"/>
                <a:gd name="T39" fmla="*/ 6 h 233"/>
                <a:gd name="T40" fmla="*/ 2 w 185"/>
                <a:gd name="T41" fmla="*/ 7 h 233"/>
                <a:gd name="T42" fmla="*/ 2 w 185"/>
                <a:gd name="T43" fmla="*/ 8 h 233"/>
                <a:gd name="T44" fmla="*/ 3 w 185"/>
                <a:gd name="T45" fmla="*/ 9 h 233"/>
                <a:gd name="T46" fmla="*/ 3 w 185"/>
                <a:gd name="T47" fmla="*/ 10 h 233"/>
                <a:gd name="T48" fmla="*/ 4 w 185"/>
                <a:gd name="T49" fmla="*/ 11 h 233"/>
                <a:gd name="T50" fmla="*/ 4 w 185"/>
                <a:gd name="T51" fmla="*/ 11 h 233"/>
                <a:gd name="T52" fmla="*/ 5 w 185"/>
                <a:gd name="T53" fmla="*/ 11 h 233"/>
                <a:gd name="T54" fmla="*/ 6 w 185"/>
                <a:gd name="T55" fmla="*/ 11 h 233"/>
                <a:gd name="T56" fmla="*/ 7 w 185"/>
                <a:gd name="T57" fmla="*/ 11 h 233"/>
                <a:gd name="T58" fmla="*/ 8 w 185"/>
                <a:gd name="T59" fmla="*/ 10 h 233"/>
                <a:gd name="T60" fmla="*/ 9 w 185"/>
                <a:gd name="T61" fmla="*/ 10 h 233"/>
                <a:gd name="T62" fmla="*/ 9 w 185"/>
                <a:gd name="T63" fmla="*/ 9 h 233"/>
                <a:gd name="T64" fmla="*/ 9 w 185"/>
                <a:gd name="T65" fmla="*/ 8 h 233"/>
                <a:gd name="T66" fmla="*/ 1 w 185"/>
                <a:gd name="T67" fmla="*/ 7 h 233"/>
                <a:gd name="T68" fmla="*/ 1 w 185"/>
                <a:gd name="T69" fmla="*/ 7 h 233"/>
                <a:gd name="T70" fmla="*/ 1 w 185"/>
                <a:gd name="T71" fmla="*/ 7 h 2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85"/>
                <a:gd name="T109" fmla="*/ 0 h 233"/>
                <a:gd name="T110" fmla="*/ 185 w 185"/>
                <a:gd name="T111" fmla="*/ 233 h 2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85" h="233">
                  <a:moveTo>
                    <a:pt x="180" y="159"/>
                  </a:moveTo>
                  <a:cubicBezTo>
                    <a:pt x="167" y="152"/>
                    <a:pt x="167" y="152"/>
                    <a:pt x="167" y="152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7" y="62"/>
                    <a:pt x="115" y="56"/>
                  </a:cubicBezTo>
                  <a:cubicBezTo>
                    <a:pt x="113" y="50"/>
                    <a:pt x="101" y="49"/>
                    <a:pt x="99" y="54"/>
                  </a:cubicBezTo>
                  <a:cubicBezTo>
                    <a:pt x="97" y="59"/>
                    <a:pt x="91" y="48"/>
                    <a:pt x="91" y="48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33" y="0"/>
                    <a:pt x="30" y="6"/>
                  </a:cubicBezTo>
                  <a:cubicBezTo>
                    <a:pt x="27" y="12"/>
                    <a:pt x="18" y="17"/>
                    <a:pt x="18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24" y="56"/>
                    <a:pt x="25" y="59"/>
                  </a:cubicBezTo>
                  <a:cubicBezTo>
                    <a:pt x="26" y="62"/>
                    <a:pt x="12" y="65"/>
                    <a:pt x="12" y="6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27" y="71"/>
                    <a:pt x="27" y="76"/>
                  </a:cubicBezTo>
                  <a:cubicBezTo>
                    <a:pt x="27" y="81"/>
                    <a:pt x="15" y="95"/>
                    <a:pt x="15" y="9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9" y="103"/>
                    <a:pt x="26" y="105"/>
                  </a:cubicBezTo>
                  <a:cubicBezTo>
                    <a:pt x="33" y="107"/>
                    <a:pt x="37" y="118"/>
                    <a:pt x="37" y="118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23" y="120"/>
                    <a:pt x="37" y="133"/>
                    <a:pt x="35" y="140"/>
                  </a:cubicBezTo>
                  <a:cubicBezTo>
                    <a:pt x="34" y="142"/>
                    <a:pt x="33" y="143"/>
                    <a:pt x="31" y="14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3" y="196"/>
                    <a:pt x="63" y="196"/>
                    <a:pt x="63" y="196"/>
                  </a:cubicBezTo>
                  <a:cubicBezTo>
                    <a:pt x="71" y="211"/>
                    <a:pt x="71" y="211"/>
                    <a:pt x="71" y="211"/>
                  </a:cubicBezTo>
                  <a:cubicBezTo>
                    <a:pt x="80" y="211"/>
                    <a:pt x="80" y="211"/>
                    <a:pt x="80" y="21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33"/>
                    <a:pt x="84" y="233"/>
                    <a:pt x="84" y="233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100" y="221"/>
                    <a:pt x="105" y="221"/>
                    <a:pt x="112" y="221"/>
                  </a:cubicBezTo>
                  <a:cubicBezTo>
                    <a:pt x="119" y="221"/>
                    <a:pt x="115" y="213"/>
                    <a:pt x="115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2" y="209"/>
                    <a:pt x="132" y="209"/>
                    <a:pt x="132" y="209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7"/>
                    <a:pt x="166" y="206"/>
                    <a:pt x="167" y="203"/>
                  </a:cubicBezTo>
                  <a:cubicBezTo>
                    <a:pt x="168" y="200"/>
                    <a:pt x="165" y="192"/>
                    <a:pt x="165" y="192"/>
                  </a:cubicBezTo>
                  <a:cubicBezTo>
                    <a:pt x="165" y="192"/>
                    <a:pt x="162" y="185"/>
                    <a:pt x="164" y="181"/>
                  </a:cubicBezTo>
                  <a:cubicBezTo>
                    <a:pt x="166" y="177"/>
                    <a:pt x="177" y="180"/>
                    <a:pt x="177" y="180"/>
                  </a:cubicBezTo>
                  <a:cubicBezTo>
                    <a:pt x="177" y="180"/>
                    <a:pt x="181" y="173"/>
                    <a:pt x="183" y="169"/>
                  </a:cubicBezTo>
                  <a:cubicBezTo>
                    <a:pt x="185" y="165"/>
                    <a:pt x="180" y="159"/>
                    <a:pt x="180" y="159"/>
                  </a:cubicBezTo>
                  <a:close/>
                  <a:moveTo>
                    <a:pt x="24" y="144"/>
                  </a:moveTo>
                  <a:cubicBezTo>
                    <a:pt x="25" y="144"/>
                    <a:pt x="26" y="144"/>
                    <a:pt x="27" y="144"/>
                  </a:cubicBezTo>
                  <a:cubicBezTo>
                    <a:pt x="26" y="144"/>
                    <a:pt x="25" y="144"/>
                    <a:pt x="24" y="144"/>
                  </a:cubicBezTo>
                  <a:close/>
                  <a:moveTo>
                    <a:pt x="24" y="144"/>
                  </a:moveTo>
                  <a:cubicBezTo>
                    <a:pt x="22" y="144"/>
                    <a:pt x="19" y="144"/>
                    <a:pt x="18" y="143"/>
                  </a:cubicBezTo>
                  <a:cubicBezTo>
                    <a:pt x="19" y="144"/>
                    <a:pt x="22" y="144"/>
                    <a:pt x="24" y="14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FEAA6BF8-CC88-A1B9-0998-E2C51EDCC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7779" y="2359452"/>
              <a:ext cx="111276" cy="89936"/>
            </a:xfrm>
            <a:custGeom>
              <a:avLst/>
              <a:gdLst>
                <a:gd name="T0" fmla="*/ 5 w 196"/>
                <a:gd name="T1" fmla="*/ 1 h 158"/>
                <a:gd name="T2" fmla="*/ 4 w 196"/>
                <a:gd name="T3" fmla="*/ 0 h 158"/>
                <a:gd name="T4" fmla="*/ 3 w 196"/>
                <a:gd name="T5" fmla="*/ 3 h 158"/>
                <a:gd name="T6" fmla="*/ 2 w 196"/>
                <a:gd name="T7" fmla="*/ 1 h 158"/>
                <a:gd name="T8" fmla="*/ 1 w 196"/>
                <a:gd name="T9" fmla="*/ 2 h 158"/>
                <a:gd name="T10" fmla="*/ 0 w 196"/>
                <a:gd name="T11" fmla="*/ 3 h 158"/>
                <a:gd name="T12" fmla="*/ 1 w 196"/>
                <a:gd name="T13" fmla="*/ 5 h 158"/>
                <a:gd name="T14" fmla="*/ 1 w 196"/>
                <a:gd name="T15" fmla="*/ 6 h 158"/>
                <a:gd name="T16" fmla="*/ 1 w 196"/>
                <a:gd name="T17" fmla="*/ 7 h 158"/>
                <a:gd name="T18" fmla="*/ 2 w 196"/>
                <a:gd name="T19" fmla="*/ 7 h 158"/>
                <a:gd name="T20" fmla="*/ 3 w 196"/>
                <a:gd name="T21" fmla="*/ 7 h 158"/>
                <a:gd name="T22" fmla="*/ 4 w 196"/>
                <a:gd name="T23" fmla="*/ 7 h 158"/>
                <a:gd name="T24" fmla="*/ 3 w 196"/>
                <a:gd name="T25" fmla="*/ 7 h 158"/>
                <a:gd name="T26" fmla="*/ 3 w 196"/>
                <a:gd name="T27" fmla="*/ 5 h 158"/>
                <a:gd name="T28" fmla="*/ 4 w 196"/>
                <a:gd name="T29" fmla="*/ 4 h 158"/>
                <a:gd name="T30" fmla="*/ 6 w 196"/>
                <a:gd name="T31" fmla="*/ 3 h 158"/>
                <a:gd name="T32" fmla="*/ 4 w 196"/>
                <a:gd name="T33" fmla="*/ 2 h 158"/>
                <a:gd name="T34" fmla="*/ 4 w 196"/>
                <a:gd name="T35" fmla="*/ 7 h 158"/>
                <a:gd name="T36" fmla="*/ 5 w 196"/>
                <a:gd name="T37" fmla="*/ 6 h 158"/>
                <a:gd name="T38" fmla="*/ 4 w 196"/>
                <a:gd name="T39" fmla="*/ 6 h 158"/>
                <a:gd name="T40" fmla="*/ 7 w 196"/>
                <a:gd name="T41" fmla="*/ 7 h 158"/>
                <a:gd name="T42" fmla="*/ 8 w 196"/>
                <a:gd name="T43" fmla="*/ 7 h 158"/>
                <a:gd name="T44" fmla="*/ 9 w 196"/>
                <a:gd name="T45" fmla="*/ 6 h 158"/>
                <a:gd name="T46" fmla="*/ 9 w 196"/>
                <a:gd name="T47" fmla="*/ 5 h 158"/>
                <a:gd name="T48" fmla="*/ 9 w 196"/>
                <a:gd name="T49" fmla="*/ 4 h 158"/>
                <a:gd name="T50" fmla="*/ 8 w 196"/>
                <a:gd name="T51" fmla="*/ 5 h 158"/>
                <a:gd name="T52" fmla="*/ 7 w 196"/>
                <a:gd name="T53" fmla="*/ 4 h 158"/>
                <a:gd name="T54" fmla="*/ 7 w 196"/>
                <a:gd name="T55" fmla="*/ 6 h 158"/>
                <a:gd name="T56" fmla="*/ 9 w 196"/>
                <a:gd name="T57" fmla="*/ 7 h 158"/>
                <a:gd name="T58" fmla="*/ 7 w 196"/>
                <a:gd name="T59" fmla="*/ 7 h 158"/>
                <a:gd name="T60" fmla="*/ 7 w 196"/>
                <a:gd name="T61" fmla="*/ 8 h 158"/>
                <a:gd name="T62" fmla="*/ 9 w 196"/>
                <a:gd name="T63" fmla="*/ 7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6"/>
                <a:gd name="T97" fmla="*/ 0 h 158"/>
                <a:gd name="T98" fmla="*/ 196 w 196"/>
                <a:gd name="T99" fmla="*/ 158 h 15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6" h="158">
                  <a:moveTo>
                    <a:pt x="83" y="36"/>
                  </a:moveTo>
                  <a:cubicBezTo>
                    <a:pt x="87" y="33"/>
                    <a:pt x="100" y="19"/>
                    <a:pt x="97" y="14"/>
                  </a:cubicBezTo>
                  <a:cubicBezTo>
                    <a:pt x="94" y="9"/>
                    <a:pt x="90" y="2"/>
                    <a:pt x="90" y="2"/>
                  </a:cubicBezTo>
                  <a:cubicBezTo>
                    <a:pt x="90" y="2"/>
                    <a:pt x="72" y="0"/>
                    <a:pt x="71" y="3"/>
                  </a:cubicBezTo>
                  <a:cubicBezTo>
                    <a:pt x="70" y="6"/>
                    <a:pt x="50" y="31"/>
                    <a:pt x="50" y="36"/>
                  </a:cubicBezTo>
                  <a:cubicBezTo>
                    <a:pt x="50" y="41"/>
                    <a:pt x="53" y="53"/>
                    <a:pt x="53" y="53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9" y="37"/>
                    <a:pt x="10" y="40"/>
                  </a:cubicBezTo>
                  <a:cubicBezTo>
                    <a:pt x="11" y="43"/>
                    <a:pt x="24" y="41"/>
                    <a:pt x="25" y="44"/>
                  </a:cubicBezTo>
                  <a:cubicBezTo>
                    <a:pt x="26" y="47"/>
                    <a:pt x="35" y="61"/>
                    <a:pt x="35" y="61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2" y="57"/>
                    <a:pt x="0" y="72"/>
                    <a:pt x="1" y="80"/>
                  </a:cubicBezTo>
                  <a:cubicBezTo>
                    <a:pt x="2" y="88"/>
                    <a:pt x="18" y="90"/>
                    <a:pt x="18" y="90"/>
                  </a:cubicBezTo>
                  <a:cubicBezTo>
                    <a:pt x="18" y="90"/>
                    <a:pt x="4" y="106"/>
                    <a:pt x="7" y="108"/>
                  </a:cubicBezTo>
                  <a:cubicBezTo>
                    <a:pt x="10" y="110"/>
                    <a:pt x="24" y="110"/>
                    <a:pt x="24" y="110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25" y="140"/>
                    <a:pt x="32" y="140"/>
                    <a:pt x="36" y="140"/>
                  </a:cubicBezTo>
                  <a:cubicBezTo>
                    <a:pt x="40" y="140"/>
                    <a:pt x="48" y="145"/>
                    <a:pt x="48" y="145"/>
                  </a:cubicBezTo>
                  <a:cubicBezTo>
                    <a:pt x="48" y="145"/>
                    <a:pt x="50" y="143"/>
                    <a:pt x="58" y="143"/>
                  </a:cubicBezTo>
                  <a:cubicBezTo>
                    <a:pt x="65" y="142"/>
                    <a:pt x="66" y="146"/>
                    <a:pt x="66" y="146"/>
                  </a:cubicBezTo>
                  <a:cubicBezTo>
                    <a:pt x="66" y="146"/>
                    <a:pt x="67" y="145"/>
                    <a:pt x="69" y="144"/>
                  </a:cubicBezTo>
                  <a:cubicBezTo>
                    <a:pt x="69" y="144"/>
                    <a:pt x="69" y="144"/>
                    <a:pt x="69" y="144"/>
                  </a:cubicBezTo>
                  <a:cubicBezTo>
                    <a:pt x="65" y="134"/>
                    <a:pt x="62" y="128"/>
                    <a:pt x="62" y="128"/>
                  </a:cubicBezTo>
                  <a:cubicBezTo>
                    <a:pt x="73" y="115"/>
                    <a:pt x="73" y="115"/>
                    <a:pt x="73" y="115"/>
                  </a:cubicBezTo>
                  <a:cubicBezTo>
                    <a:pt x="73" y="115"/>
                    <a:pt x="55" y="100"/>
                    <a:pt x="65" y="98"/>
                  </a:cubicBezTo>
                  <a:cubicBezTo>
                    <a:pt x="75" y="96"/>
                    <a:pt x="83" y="89"/>
                    <a:pt x="83" y="89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101" y="70"/>
                    <a:pt x="101" y="70"/>
                    <a:pt x="101" y="70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79" y="39"/>
                    <a:pt x="83" y="36"/>
                  </a:cubicBezTo>
                  <a:close/>
                  <a:moveTo>
                    <a:pt x="77" y="104"/>
                  </a:moveTo>
                  <a:cubicBezTo>
                    <a:pt x="79" y="128"/>
                    <a:pt x="79" y="128"/>
                    <a:pt x="79" y="128"/>
                  </a:cubicBezTo>
                  <a:cubicBezTo>
                    <a:pt x="85" y="128"/>
                    <a:pt x="95" y="138"/>
                    <a:pt x="95" y="138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89" y="106"/>
                    <a:pt x="89" y="106"/>
                    <a:pt x="89" y="106"/>
                  </a:cubicBezTo>
                  <a:lnTo>
                    <a:pt x="77" y="104"/>
                  </a:lnTo>
                  <a:close/>
                  <a:moveTo>
                    <a:pt x="129" y="116"/>
                  </a:moveTo>
                  <a:cubicBezTo>
                    <a:pt x="128" y="127"/>
                    <a:pt x="119" y="129"/>
                    <a:pt x="131" y="130"/>
                  </a:cubicBezTo>
                  <a:cubicBezTo>
                    <a:pt x="143" y="131"/>
                    <a:pt x="148" y="129"/>
                    <a:pt x="148" y="129"/>
                  </a:cubicBezTo>
                  <a:cubicBezTo>
                    <a:pt x="148" y="129"/>
                    <a:pt x="156" y="148"/>
                    <a:pt x="157" y="141"/>
                  </a:cubicBezTo>
                  <a:cubicBezTo>
                    <a:pt x="159" y="135"/>
                    <a:pt x="169" y="121"/>
                    <a:pt x="171" y="120"/>
                  </a:cubicBezTo>
                  <a:cubicBezTo>
                    <a:pt x="173" y="120"/>
                    <a:pt x="182" y="120"/>
                    <a:pt x="174" y="115"/>
                  </a:cubicBezTo>
                  <a:cubicBezTo>
                    <a:pt x="166" y="110"/>
                    <a:pt x="159" y="103"/>
                    <a:pt x="162" y="103"/>
                  </a:cubicBezTo>
                  <a:cubicBezTo>
                    <a:pt x="165" y="102"/>
                    <a:pt x="172" y="103"/>
                    <a:pt x="167" y="100"/>
                  </a:cubicBezTo>
                  <a:cubicBezTo>
                    <a:pt x="162" y="96"/>
                    <a:pt x="176" y="87"/>
                    <a:pt x="176" y="87"/>
                  </a:cubicBezTo>
                  <a:cubicBezTo>
                    <a:pt x="176" y="87"/>
                    <a:pt x="168" y="75"/>
                    <a:pt x="167" y="76"/>
                  </a:cubicBezTo>
                  <a:cubicBezTo>
                    <a:pt x="166" y="76"/>
                    <a:pt x="153" y="81"/>
                    <a:pt x="153" y="86"/>
                  </a:cubicBezTo>
                  <a:cubicBezTo>
                    <a:pt x="153" y="91"/>
                    <a:pt x="153" y="95"/>
                    <a:pt x="153" y="95"/>
                  </a:cubicBezTo>
                  <a:cubicBezTo>
                    <a:pt x="153" y="95"/>
                    <a:pt x="144" y="83"/>
                    <a:pt x="142" y="84"/>
                  </a:cubicBezTo>
                  <a:cubicBezTo>
                    <a:pt x="140" y="85"/>
                    <a:pt x="137" y="89"/>
                    <a:pt x="137" y="89"/>
                  </a:cubicBezTo>
                  <a:cubicBezTo>
                    <a:pt x="121" y="100"/>
                    <a:pt x="121" y="100"/>
                    <a:pt x="121" y="100"/>
                  </a:cubicBezTo>
                  <a:cubicBezTo>
                    <a:pt x="121" y="100"/>
                    <a:pt x="130" y="105"/>
                    <a:pt x="129" y="116"/>
                  </a:cubicBezTo>
                  <a:close/>
                  <a:moveTo>
                    <a:pt x="181" y="136"/>
                  </a:moveTo>
                  <a:cubicBezTo>
                    <a:pt x="164" y="142"/>
                    <a:pt x="164" y="142"/>
                    <a:pt x="164" y="142"/>
                  </a:cubicBezTo>
                  <a:cubicBezTo>
                    <a:pt x="164" y="142"/>
                    <a:pt x="154" y="146"/>
                    <a:pt x="150" y="145"/>
                  </a:cubicBezTo>
                  <a:cubicBezTo>
                    <a:pt x="146" y="145"/>
                    <a:pt x="130" y="138"/>
                    <a:pt x="125" y="138"/>
                  </a:cubicBezTo>
                  <a:cubicBezTo>
                    <a:pt x="115" y="138"/>
                    <a:pt x="117" y="149"/>
                    <a:pt x="125" y="148"/>
                  </a:cubicBezTo>
                  <a:cubicBezTo>
                    <a:pt x="133" y="146"/>
                    <a:pt x="144" y="158"/>
                    <a:pt x="144" y="158"/>
                  </a:cubicBezTo>
                  <a:cubicBezTo>
                    <a:pt x="144" y="158"/>
                    <a:pt x="161" y="155"/>
                    <a:pt x="178" y="151"/>
                  </a:cubicBezTo>
                  <a:cubicBezTo>
                    <a:pt x="196" y="148"/>
                    <a:pt x="181" y="136"/>
                    <a:pt x="181" y="13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4F2E203C-5B7F-E514-03F8-5F2237D40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767" y="2546945"/>
              <a:ext cx="310963" cy="263709"/>
            </a:xfrm>
            <a:custGeom>
              <a:avLst/>
              <a:gdLst>
                <a:gd name="T0" fmla="*/ 27 w 548"/>
                <a:gd name="T1" fmla="*/ 5 h 463"/>
                <a:gd name="T2" fmla="*/ 26 w 548"/>
                <a:gd name="T3" fmla="*/ 5 h 463"/>
                <a:gd name="T4" fmla="*/ 25 w 548"/>
                <a:gd name="T5" fmla="*/ 4 h 463"/>
                <a:gd name="T6" fmla="*/ 24 w 548"/>
                <a:gd name="T7" fmla="*/ 4 h 463"/>
                <a:gd name="T8" fmla="*/ 23 w 548"/>
                <a:gd name="T9" fmla="*/ 4 h 463"/>
                <a:gd name="T10" fmla="*/ 22 w 548"/>
                <a:gd name="T11" fmla="*/ 4 h 463"/>
                <a:gd name="T12" fmla="*/ 21 w 548"/>
                <a:gd name="T13" fmla="*/ 3 h 463"/>
                <a:gd name="T14" fmla="*/ 20 w 548"/>
                <a:gd name="T15" fmla="*/ 3 h 463"/>
                <a:gd name="T16" fmla="*/ 19 w 548"/>
                <a:gd name="T17" fmla="*/ 2 h 463"/>
                <a:gd name="T18" fmla="*/ 17 w 548"/>
                <a:gd name="T19" fmla="*/ 1 h 463"/>
                <a:gd name="T20" fmla="*/ 17 w 548"/>
                <a:gd name="T21" fmla="*/ 0 h 463"/>
                <a:gd name="T22" fmla="*/ 14 w 548"/>
                <a:gd name="T23" fmla="*/ 0 h 463"/>
                <a:gd name="T24" fmla="*/ 14 w 548"/>
                <a:gd name="T25" fmla="*/ 3 h 463"/>
                <a:gd name="T26" fmla="*/ 11 w 548"/>
                <a:gd name="T27" fmla="*/ 4 h 463"/>
                <a:gd name="T28" fmla="*/ 10 w 548"/>
                <a:gd name="T29" fmla="*/ 5 h 463"/>
                <a:gd name="T30" fmla="*/ 8 w 548"/>
                <a:gd name="T31" fmla="*/ 4 h 463"/>
                <a:gd name="T32" fmla="*/ 7 w 548"/>
                <a:gd name="T33" fmla="*/ 5 h 463"/>
                <a:gd name="T34" fmla="*/ 6 w 548"/>
                <a:gd name="T35" fmla="*/ 7 h 463"/>
                <a:gd name="T36" fmla="*/ 4 w 548"/>
                <a:gd name="T37" fmla="*/ 6 h 463"/>
                <a:gd name="T38" fmla="*/ 0 w 548"/>
                <a:gd name="T39" fmla="*/ 7 h 463"/>
                <a:gd name="T40" fmla="*/ 0 w 548"/>
                <a:gd name="T41" fmla="*/ 8 h 463"/>
                <a:gd name="T42" fmla="*/ 2 w 548"/>
                <a:gd name="T43" fmla="*/ 9 h 463"/>
                <a:gd name="T44" fmla="*/ 5 w 548"/>
                <a:gd name="T45" fmla="*/ 10 h 463"/>
                <a:gd name="T46" fmla="*/ 7 w 548"/>
                <a:gd name="T47" fmla="*/ 10 h 463"/>
                <a:gd name="T48" fmla="*/ 7 w 548"/>
                <a:gd name="T49" fmla="*/ 13 h 463"/>
                <a:gd name="T50" fmla="*/ 8 w 548"/>
                <a:gd name="T51" fmla="*/ 15 h 463"/>
                <a:gd name="T52" fmla="*/ 9 w 548"/>
                <a:gd name="T53" fmla="*/ 17 h 463"/>
                <a:gd name="T54" fmla="*/ 7 w 548"/>
                <a:gd name="T55" fmla="*/ 17 h 463"/>
                <a:gd name="T56" fmla="*/ 6 w 548"/>
                <a:gd name="T57" fmla="*/ 21 h 463"/>
                <a:gd name="T58" fmla="*/ 7 w 548"/>
                <a:gd name="T59" fmla="*/ 22 h 463"/>
                <a:gd name="T60" fmla="*/ 8 w 548"/>
                <a:gd name="T61" fmla="*/ 22 h 463"/>
                <a:gd name="T62" fmla="*/ 9 w 548"/>
                <a:gd name="T63" fmla="*/ 23 h 463"/>
                <a:gd name="T64" fmla="*/ 11 w 548"/>
                <a:gd name="T65" fmla="*/ 23 h 463"/>
                <a:gd name="T66" fmla="*/ 12 w 548"/>
                <a:gd name="T67" fmla="*/ 23 h 463"/>
                <a:gd name="T68" fmla="*/ 13 w 548"/>
                <a:gd name="T69" fmla="*/ 23 h 463"/>
                <a:gd name="T70" fmla="*/ 13 w 548"/>
                <a:gd name="T71" fmla="*/ 23 h 463"/>
                <a:gd name="T72" fmla="*/ 14 w 548"/>
                <a:gd name="T73" fmla="*/ 23 h 463"/>
                <a:gd name="T74" fmla="*/ 14 w 548"/>
                <a:gd name="T75" fmla="*/ 24 h 463"/>
                <a:gd name="T76" fmla="*/ 15 w 548"/>
                <a:gd name="T77" fmla="*/ 24 h 463"/>
                <a:gd name="T78" fmla="*/ 16 w 548"/>
                <a:gd name="T79" fmla="*/ 24 h 463"/>
                <a:gd name="T80" fmla="*/ 16 w 548"/>
                <a:gd name="T81" fmla="*/ 24 h 463"/>
                <a:gd name="T82" fmla="*/ 19 w 548"/>
                <a:gd name="T83" fmla="*/ 21 h 463"/>
                <a:gd name="T84" fmla="*/ 22 w 548"/>
                <a:gd name="T85" fmla="*/ 21 h 463"/>
                <a:gd name="T86" fmla="*/ 25 w 548"/>
                <a:gd name="T87" fmla="*/ 22 h 463"/>
                <a:gd name="T88" fmla="*/ 26 w 548"/>
                <a:gd name="T89" fmla="*/ 20 h 463"/>
                <a:gd name="T90" fmla="*/ 27 w 548"/>
                <a:gd name="T91" fmla="*/ 19 h 463"/>
                <a:gd name="T92" fmla="*/ 26 w 548"/>
                <a:gd name="T93" fmla="*/ 19 h 463"/>
                <a:gd name="T94" fmla="*/ 26 w 548"/>
                <a:gd name="T95" fmla="*/ 18 h 463"/>
                <a:gd name="T96" fmla="*/ 25 w 548"/>
                <a:gd name="T97" fmla="*/ 17 h 463"/>
                <a:gd name="T98" fmla="*/ 25 w 548"/>
                <a:gd name="T99" fmla="*/ 16 h 463"/>
                <a:gd name="T100" fmla="*/ 25 w 548"/>
                <a:gd name="T101" fmla="*/ 15 h 463"/>
                <a:gd name="T102" fmla="*/ 26 w 548"/>
                <a:gd name="T103" fmla="*/ 14 h 463"/>
                <a:gd name="T104" fmla="*/ 25 w 548"/>
                <a:gd name="T105" fmla="*/ 13 h 463"/>
                <a:gd name="T106" fmla="*/ 23 w 548"/>
                <a:gd name="T107" fmla="*/ 13 h 463"/>
                <a:gd name="T108" fmla="*/ 23 w 548"/>
                <a:gd name="T109" fmla="*/ 13 h 463"/>
                <a:gd name="T110" fmla="*/ 25 w 548"/>
                <a:gd name="T111" fmla="*/ 11 h 463"/>
                <a:gd name="T112" fmla="*/ 26 w 548"/>
                <a:gd name="T113" fmla="*/ 10 h 463"/>
                <a:gd name="T114" fmla="*/ 26 w 548"/>
                <a:gd name="T115" fmla="*/ 10 h 463"/>
                <a:gd name="T116" fmla="*/ 27 w 548"/>
                <a:gd name="T117" fmla="*/ 9 h 463"/>
                <a:gd name="T118" fmla="*/ 28 w 548"/>
                <a:gd name="T119" fmla="*/ 7 h 463"/>
                <a:gd name="T120" fmla="*/ 28 w 548"/>
                <a:gd name="T121" fmla="*/ 6 h 463"/>
                <a:gd name="T122" fmla="*/ 27 w 548"/>
                <a:gd name="T123" fmla="*/ 6 h 46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48"/>
                <a:gd name="T187" fmla="*/ 0 h 463"/>
                <a:gd name="T188" fmla="*/ 548 w 548"/>
                <a:gd name="T189" fmla="*/ 463 h 46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48" h="463">
                  <a:moveTo>
                    <a:pt x="520" y="107"/>
                  </a:moveTo>
                  <a:cubicBezTo>
                    <a:pt x="520" y="103"/>
                    <a:pt x="520" y="103"/>
                    <a:pt x="520" y="103"/>
                  </a:cubicBezTo>
                  <a:cubicBezTo>
                    <a:pt x="520" y="103"/>
                    <a:pt x="506" y="107"/>
                    <a:pt x="500" y="106"/>
                  </a:cubicBezTo>
                  <a:cubicBezTo>
                    <a:pt x="494" y="105"/>
                    <a:pt x="496" y="100"/>
                    <a:pt x="496" y="100"/>
                  </a:cubicBezTo>
                  <a:cubicBezTo>
                    <a:pt x="479" y="100"/>
                    <a:pt x="479" y="100"/>
                    <a:pt x="479" y="100"/>
                  </a:cubicBezTo>
                  <a:cubicBezTo>
                    <a:pt x="479" y="100"/>
                    <a:pt x="483" y="90"/>
                    <a:pt x="480" y="87"/>
                  </a:cubicBezTo>
                  <a:cubicBezTo>
                    <a:pt x="477" y="84"/>
                    <a:pt x="475" y="80"/>
                    <a:pt x="475" y="80"/>
                  </a:cubicBezTo>
                  <a:cubicBezTo>
                    <a:pt x="464" y="78"/>
                    <a:pt x="464" y="78"/>
                    <a:pt x="464" y="78"/>
                  </a:cubicBezTo>
                  <a:cubicBezTo>
                    <a:pt x="455" y="85"/>
                    <a:pt x="455" y="85"/>
                    <a:pt x="455" y="85"/>
                  </a:cubicBezTo>
                  <a:cubicBezTo>
                    <a:pt x="450" y="81"/>
                    <a:pt x="450" y="81"/>
                    <a:pt x="450" y="81"/>
                  </a:cubicBezTo>
                  <a:cubicBezTo>
                    <a:pt x="436" y="81"/>
                    <a:pt x="436" y="81"/>
                    <a:pt x="436" y="81"/>
                  </a:cubicBezTo>
                  <a:cubicBezTo>
                    <a:pt x="436" y="81"/>
                    <a:pt x="435" y="80"/>
                    <a:pt x="433" y="77"/>
                  </a:cubicBezTo>
                  <a:cubicBezTo>
                    <a:pt x="431" y="74"/>
                    <a:pt x="409" y="70"/>
                    <a:pt x="409" y="70"/>
                  </a:cubicBezTo>
                  <a:cubicBezTo>
                    <a:pt x="409" y="54"/>
                    <a:pt x="409" y="54"/>
                    <a:pt x="409" y="54"/>
                  </a:cubicBezTo>
                  <a:cubicBezTo>
                    <a:pt x="399" y="61"/>
                    <a:pt x="399" y="61"/>
                    <a:pt x="399" y="61"/>
                  </a:cubicBezTo>
                  <a:cubicBezTo>
                    <a:pt x="384" y="61"/>
                    <a:pt x="384" y="61"/>
                    <a:pt x="384" y="61"/>
                  </a:cubicBezTo>
                  <a:cubicBezTo>
                    <a:pt x="384" y="61"/>
                    <a:pt x="384" y="45"/>
                    <a:pt x="379" y="42"/>
                  </a:cubicBezTo>
                  <a:cubicBezTo>
                    <a:pt x="374" y="39"/>
                    <a:pt x="356" y="37"/>
                    <a:pt x="356" y="37"/>
                  </a:cubicBezTo>
                  <a:cubicBezTo>
                    <a:pt x="349" y="30"/>
                    <a:pt x="349" y="30"/>
                    <a:pt x="349" y="30"/>
                  </a:cubicBezTo>
                  <a:cubicBezTo>
                    <a:pt x="333" y="26"/>
                    <a:pt x="333" y="26"/>
                    <a:pt x="333" y="26"/>
                  </a:cubicBezTo>
                  <a:cubicBezTo>
                    <a:pt x="327" y="12"/>
                    <a:pt x="327" y="12"/>
                    <a:pt x="327" y="12"/>
                  </a:cubicBezTo>
                  <a:cubicBezTo>
                    <a:pt x="328" y="3"/>
                    <a:pt x="328" y="3"/>
                    <a:pt x="328" y="3"/>
                  </a:cubicBezTo>
                  <a:cubicBezTo>
                    <a:pt x="328" y="3"/>
                    <a:pt x="312" y="0"/>
                    <a:pt x="302" y="4"/>
                  </a:cubicBezTo>
                  <a:cubicBezTo>
                    <a:pt x="292" y="8"/>
                    <a:pt x="267" y="4"/>
                    <a:pt x="271" y="12"/>
                  </a:cubicBezTo>
                  <a:cubicBezTo>
                    <a:pt x="275" y="20"/>
                    <a:pt x="278" y="27"/>
                    <a:pt x="278" y="27"/>
                  </a:cubicBezTo>
                  <a:cubicBezTo>
                    <a:pt x="278" y="27"/>
                    <a:pt x="286" y="44"/>
                    <a:pt x="275" y="52"/>
                  </a:cubicBezTo>
                  <a:cubicBezTo>
                    <a:pt x="264" y="60"/>
                    <a:pt x="242" y="60"/>
                    <a:pt x="242" y="60"/>
                  </a:cubicBezTo>
                  <a:cubicBezTo>
                    <a:pt x="217" y="80"/>
                    <a:pt x="217" y="80"/>
                    <a:pt x="217" y="80"/>
                  </a:cubicBezTo>
                  <a:cubicBezTo>
                    <a:pt x="226" y="86"/>
                    <a:pt x="226" y="86"/>
                    <a:pt x="226" y="86"/>
                  </a:cubicBezTo>
                  <a:cubicBezTo>
                    <a:pt x="226" y="86"/>
                    <a:pt x="206" y="98"/>
                    <a:pt x="191" y="97"/>
                  </a:cubicBezTo>
                  <a:cubicBezTo>
                    <a:pt x="176" y="96"/>
                    <a:pt x="167" y="91"/>
                    <a:pt x="167" y="91"/>
                  </a:cubicBezTo>
                  <a:cubicBezTo>
                    <a:pt x="156" y="76"/>
                    <a:pt x="156" y="76"/>
                    <a:pt x="156" y="76"/>
                  </a:cubicBezTo>
                  <a:cubicBezTo>
                    <a:pt x="156" y="76"/>
                    <a:pt x="135" y="68"/>
                    <a:pt x="136" y="75"/>
                  </a:cubicBezTo>
                  <a:cubicBezTo>
                    <a:pt x="137" y="82"/>
                    <a:pt x="148" y="96"/>
                    <a:pt x="148" y="96"/>
                  </a:cubicBezTo>
                  <a:cubicBezTo>
                    <a:pt x="148" y="96"/>
                    <a:pt x="161" y="120"/>
                    <a:pt x="143" y="123"/>
                  </a:cubicBezTo>
                  <a:cubicBezTo>
                    <a:pt x="125" y="126"/>
                    <a:pt x="106" y="125"/>
                    <a:pt x="106" y="125"/>
                  </a:cubicBezTo>
                  <a:cubicBezTo>
                    <a:pt x="99" y="136"/>
                    <a:pt x="99" y="136"/>
                    <a:pt x="99" y="136"/>
                  </a:cubicBezTo>
                  <a:cubicBezTo>
                    <a:pt x="99" y="136"/>
                    <a:pt x="83" y="116"/>
                    <a:pt x="77" y="117"/>
                  </a:cubicBezTo>
                  <a:cubicBezTo>
                    <a:pt x="71" y="118"/>
                    <a:pt x="51" y="124"/>
                    <a:pt x="51" y="124"/>
                  </a:cubicBezTo>
                  <a:cubicBezTo>
                    <a:pt x="51" y="124"/>
                    <a:pt x="15" y="129"/>
                    <a:pt x="12" y="136"/>
                  </a:cubicBezTo>
                  <a:cubicBezTo>
                    <a:pt x="9" y="143"/>
                    <a:pt x="31" y="149"/>
                    <a:pt x="30" y="152"/>
                  </a:cubicBezTo>
                  <a:cubicBezTo>
                    <a:pt x="29" y="155"/>
                    <a:pt x="0" y="153"/>
                    <a:pt x="6" y="161"/>
                  </a:cubicBezTo>
                  <a:cubicBezTo>
                    <a:pt x="12" y="169"/>
                    <a:pt x="31" y="170"/>
                    <a:pt x="31" y="170"/>
                  </a:cubicBezTo>
                  <a:cubicBezTo>
                    <a:pt x="38" y="166"/>
                    <a:pt x="38" y="166"/>
                    <a:pt x="38" y="166"/>
                  </a:cubicBezTo>
                  <a:cubicBezTo>
                    <a:pt x="70" y="184"/>
                    <a:pt x="70" y="184"/>
                    <a:pt x="70" y="184"/>
                  </a:cubicBezTo>
                  <a:cubicBezTo>
                    <a:pt x="90" y="184"/>
                    <a:pt x="90" y="184"/>
                    <a:pt x="90" y="184"/>
                  </a:cubicBezTo>
                  <a:cubicBezTo>
                    <a:pt x="102" y="196"/>
                    <a:pt x="102" y="196"/>
                    <a:pt x="102" y="196"/>
                  </a:cubicBezTo>
                  <a:cubicBezTo>
                    <a:pt x="128" y="199"/>
                    <a:pt x="128" y="199"/>
                    <a:pt x="128" y="199"/>
                  </a:cubicBezTo>
                  <a:cubicBezTo>
                    <a:pt x="109" y="209"/>
                    <a:pt x="109" y="209"/>
                    <a:pt x="109" y="209"/>
                  </a:cubicBezTo>
                  <a:cubicBezTo>
                    <a:pt x="109" y="209"/>
                    <a:pt x="128" y="240"/>
                    <a:pt x="132" y="244"/>
                  </a:cubicBezTo>
                  <a:cubicBezTo>
                    <a:pt x="136" y="248"/>
                    <a:pt x="153" y="248"/>
                    <a:pt x="153" y="248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4" y="297"/>
                    <a:pt x="164" y="297"/>
                    <a:pt x="164" y="297"/>
                  </a:cubicBezTo>
                  <a:cubicBezTo>
                    <a:pt x="173" y="320"/>
                    <a:pt x="173" y="320"/>
                    <a:pt x="173" y="320"/>
                  </a:cubicBezTo>
                  <a:cubicBezTo>
                    <a:pt x="152" y="294"/>
                    <a:pt x="152" y="294"/>
                    <a:pt x="152" y="294"/>
                  </a:cubicBezTo>
                  <a:cubicBezTo>
                    <a:pt x="152" y="294"/>
                    <a:pt x="150" y="323"/>
                    <a:pt x="149" y="333"/>
                  </a:cubicBezTo>
                  <a:cubicBezTo>
                    <a:pt x="148" y="343"/>
                    <a:pt x="137" y="383"/>
                    <a:pt x="132" y="391"/>
                  </a:cubicBezTo>
                  <a:cubicBezTo>
                    <a:pt x="128" y="398"/>
                    <a:pt x="130" y="407"/>
                    <a:pt x="118" y="409"/>
                  </a:cubicBezTo>
                  <a:cubicBezTo>
                    <a:pt x="119" y="415"/>
                    <a:pt x="119" y="415"/>
                    <a:pt x="119" y="415"/>
                  </a:cubicBezTo>
                  <a:cubicBezTo>
                    <a:pt x="119" y="415"/>
                    <a:pt x="128" y="407"/>
                    <a:pt x="134" y="414"/>
                  </a:cubicBezTo>
                  <a:cubicBezTo>
                    <a:pt x="140" y="421"/>
                    <a:pt x="134" y="424"/>
                    <a:pt x="134" y="424"/>
                  </a:cubicBezTo>
                  <a:cubicBezTo>
                    <a:pt x="134" y="424"/>
                    <a:pt x="148" y="426"/>
                    <a:pt x="155" y="427"/>
                  </a:cubicBezTo>
                  <a:cubicBezTo>
                    <a:pt x="162" y="428"/>
                    <a:pt x="168" y="437"/>
                    <a:pt x="168" y="437"/>
                  </a:cubicBezTo>
                  <a:cubicBezTo>
                    <a:pt x="168" y="437"/>
                    <a:pt x="178" y="433"/>
                    <a:pt x="182" y="435"/>
                  </a:cubicBezTo>
                  <a:cubicBezTo>
                    <a:pt x="186" y="437"/>
                    <a:pt x="187" y="440"/>
                    <a:pt x="187" y="440"/>
                  </a:cubicBezTo>
                  <a:cubicBezTo>
                    <a:pt x="207" y="441"/>
                    <a:pt x="207" y="441"/>
                    <a:pt x="207" y="441"/>
                  </a:cubicBezTo>
                  <a:cubicBezTo>
                    <a:pt x="209" y="449"/>
                    <a:pt x="209" y="449"/>
                    <a:pt x="209" y="449"/>
                  </a:cubicBezTo>
                  <a:cubicBezTo>
                    <a:pt x="222" y="446"/>
                    <a:pt x="222" y="446"/>
                    <a:pt x="222" y="446"/>
                  </a:cubicBezTo>
                  <a:cubicBezTo>
                    <a:pt x="222" y="446"/>
                    <a:pt x="216" y="434"/>
                    <a:pt x="229" y="434"/>
                  </a:cubicBezTo>
                  <a:cubicBezTo>
                    <a:pt x="242" y="434"/>
                    <a:pt x="242" y="441"/>
                    <a:pt x="242" y="441"/>
                  </a:cubicBezTo>
                  <a:cubicBezTo>
                    <a:pt x="251" y="442"/>
                    <a:pt x="251" y="442"/>
                    <a:pt x="251" y="442"/>
                  </a:cubicBezTo>
                  <a:cubicBezTo>
                    <a:pt x="253" y="446"/>
                    <a:pt x="253" y="446"/>
                    <a:pt x="253" y="446"/>
                  </a:cubicBezTo>
                  <a:cubicBezTo>
                    <a:pt x="254" y="445"/>
                    <a:pt x="256" y="445"/>
                    <a:pt x="258" y="445"/>
                  </a:cubicBezTo>
                  <a:cubicBezTo>
                    <a:pt x="268" y="444"/>
                    <a:pt x="272" y="445"/>
                    <a:pt x="272" y="445"/>
                  </a:cubicBezTo>
                  <a:cubicBezTo>
                    <a:pt x="273" y="454"/>
                    <a:pt x="273" y="454"/>
                    <a:pt x="273" y="454"/>
                  </a:cubicBezTo>
                  <a:cubicBezTo>
                    <a:pt x="276" y="455"/>
                    <a:pt x="278" y="459"/>
                    <a:pt x="278" y="459"/>
                  </a:cubicBezTo>
                  <a:cubicBezTo>
                    <a:pt x="278" y="459"/>
                    <a:pt x="285" y="457"/>
                    <a:pt x="288" y="456"/>
                  </a:cubicBezTo>
                  <a:cubicBezTo>
                    <a:pt x="291" y="455"/>
                    <a:pt x="298" y="463"/>
                    <a:pt x="298" y="463"/>
                  </a:cubicBezTo>
                  <a:cubicBezTo>
                    <a:pt x="298" y="463"/>
                    <a:pt x="299" y="463"/>
                    <a:pt x="306" y="463"/>
                  </a:cubicBezTo>
                  <a:cubicBezTo>
                    <a:pt x="313" y="463"/>
                    <a:pt x="313" y="453"/>
                    <a:pt x="313" y="453"/>
                  </a:cubicBezTo>
                  <a:cubicBezTo>
                    <a:pt x="319" y="453"/>
                    <a:pt x="319" y="453"/>
                    <a:pt x="319" y="453"/>
                  </a:cubicBezTo>
                  <a:cubicBezTo>
                    <a:pt x="319" y="452"/>
                    <a:pt x="319" y="451"/>
                    <a:pt x="319" y="450"/>
                  </a:cubicBezTo>
                  <a:cubicBezTo>
                    <a:pt x="319" y="440"/>
                    <a:pt x="334" y="417"/>
                    <a:pt x="341" y="413"/>
                  </a:cubicBezTo>
                  <a:cubicBezTo>
                    <a:pt x="348" y="409"/>
                    <a:pt x="369" y="392"/>
                    <a:pt x="378" y="397"/>
                  </a:cubicBezTo>
                  <a:cubicBezTo>
                    <a:pt x="387" y="402"/>
                    <a:pt x="395" y="407"/>
                    <a:pt x="395" y="407"/>
                  </a:cubicBezTo>
                  <a:cubicBezTo>
                    <a:pt x="395" y="407"/>
                    <a:pt x="418" y="401"/>
                    <a:pt x="423" y="406"/>
                  </a:cubicBezTo>
                  <a:cubicBezTo>
                    <a:pt x="428" y="411"/>
                    <a:pt x="435" y="419"/>
                    <a:pt x="438" y="421"/>
                  </a:cubicBezTo>
                  <a:cubicBezTo>
                    <a:pt x="438" y="421"/>
                    <a:pt x="463" y="431"/>
                    <a:pt x="476" y="421"/>
                  </a:cubicBezTo>
                  <a:cubicBezTo>
                    <a:pt x="489" y="411"/>
                    <a:pt x="493" y="392"/>
                    <a:pt x="499" y="390"/>
                  </a:cubicBezTo>
                  <a:cubicBezTo>
                    <a:pt x="501" y="389"/>
                    <a:pt x="507" y="389"/>
                    <a:pt x="513" y="388"/>
                  </a:cubicBezTo>
                  <a:cubicBezTo>
                    <a:pt x="513" y="385"/>
                    <a:pt x="514" y="383"/>
                    <a:pt x="516" y="383"/>
                  </a:cubicBezTo>
                  <a:cubicBezTo>
                    <a:pt x="520" y="383"/>
                    <a:pt x="526" y="373"/>
                    <a:pt x="523" y="369"/>
                  </a:cubicBezTo>
                  <a:cubicBezTo>
                    <a:pt x="520" y="365"/>
                    <a:pt x="506" y="367"/>
                    <a:pt x="506" y="367"/>
                  </a:cubicBezTo>
                  <a:cubicBezTo>
                    <a:pt x="503" y="361"/>
                    <a:pt x="503" y="361"/>
                    <a:pt x="503" y="361"/>
                  </a:cubicBezTo>
                  <a:cubicBezTo>
                    <a:pt x="503" y="361"/>
                    <a:pt x="489" y="360"/>
                    <a:pt x="490" y="350"/>
                  </a:cubicBezTo>
                  <a:cubicBezTo>
                    <a:pt x="491" y="340"/>
                    <a:pt x="497" y="340"/>
                    <a:pt x="496" y="335"/>
                  </a:cubicBezTo>
                  <a:cubicBezTo>
                    <a:pt x="495" y="330"/>
                    <a:pt x="491" y="327"/>
                    <a:pt x="491" y="327"/>
                  </a:cubicBezTo>
                  <a:cubicBezTo>
                    <a:pt x="484" y="327"/>
                    <a:pt x="484" y="327"/>
                    <a:pt x="484" y="327"/>
                  </a:cubicBezTo>
                  <a:cubicBezTo>
                    <a:pt x="478" y="314"/>
                    <a:pt x="478" y="314"/>
                    <a:pt x="478" y="314"/>
                  </a:cubicBezTo>
                  <a:cubicBezTo>
                    <a:pt x="487" y="312"/>
                    <a:pt x="487" y="312"/>
                    <a:pt x="487" y="312"/>
                  </a:cubicBezTo>
                  <a:cubicBezTo>
                    <a:pt x="487" y="312"/>
                    <a:pt x="506" y="311"/>
                    <a:pt x="506" y="302"/>
                  </a:cubicBezTo>
                  <a:cubicBezTo>
                    <a:pt x="506" y="293"/>
                    <a:pt x="495" y="289"/>
                    <a:pt x="495" y="289"/>
                  </a:cubicBezTo>
                  <a:cubicBezTo>
                    <a:pt x="487" y="281"/>
                    <a:pt x="487" y="281"/>
                    <a:pt x="487" y="281"/>
                  </a:cubicBezTo>
                  <a:cubicBezTo>
                    <a:pt x="487" y="281"/>
                    <a:pt x="497" y="277"/>
                    <a:pt x="497" y="273"/>
                  </a:cubicBezTo>
                  <a:cubicBezTo>
                    <a:pt x="497" y="269"/>
                    <a:pt x="490" y="263"/>
                    <a:pt x="490" y="263"/>
                  </a:cubicBezTo>
                  <a:cubicBezTo>
                    <a:pt x="491" y="245"/>
                    <a:pt x="491" y="245"/>
                    <a:pt x="491" y="245"/>
                  </a:cubicBezTo>
                  <a:cubicBezTo>
                    <a:pt x="491" y="245"/>
                    <a:pt x="483" y="239"/>
                    <a:pt x="476" y="243"/>
                  </a:cubicBezTo>
                  <a:cubicBezTo>
                    <a:pt x="469" y="247"/>
                    <a:pt x="464" y="260"/>
                    <a:pt x="458" y="259"/>
                  </a:cubicBezTo>
                  <a:cubicBezTo>
                    <a:pt x="452" y="258"/>
                    <a:pt x="462" y="250"/>
                    <a:pt x="462" y="250"/>
                  </a:cubicBezTo>
                  <a:cubicBezTo>
                    <a:pt x="456" y="242"/>
                    <a:pt x="456" y="242"/>
                    <a:pt x="456" y="242"/>
                  </a:cubicBezTo>
                  <a:cubicBezTo>
                    <a:pt x="456" y="242"/>
                    <a:pt x="468" y="233"/>
                    <a:pt x="474" y="226"/>
                  </a:cubicBezTo>
                  <a:cubicBezTo>
                    <a:pt x="480" y="219"/>
                    <a:pt x="477" y="213"/>
                    <a:pt x="477" y="213"/>
                  </a:cubicBezTo>
                  <a:cubicBezTo>
                    <a:pt x="477" y="213"/>
                    <a:pt x="483" y="219"/>
                    <a:pt x="488" y="213"/>
                  </a:cubicBezTo>
                  <a:cubicBezTo>
                    <a:pt x="493" y="207"/>
                    <a:pt x="499" y="198"/>
                    <a:pt x="499" y="198"/>
                  </a:cubicBezTo>
                  <a:cubicBezTo>
                    <a:pt x="504" y="189"/>
                    <a:pt x="504" y="189"/>
                    <a:pt x="504" y="189"/>
                  </a:cubicBezTo>
                  <a:cubicBezTo>
                    <a:pt x="517" y="196"/>
                    <a:pt x="517" y="196"/>
                    <a:pt x="517" y="196"/>
                  </a:cubicBezTo>
                  <a:cubicBezTo>
                    <a:pt x="522" y="186"/>
                    <a:pt x="522" y="186"/>
                    <a:pt x="522" y="186"/>
                  </a:cubicBezTo>
                  <a:cubicBezTo>
                    <a:pt x="522" y="186"/>
                    <a:pt x="518" y="177"/>
                    <a:pt x="520" y="166"/>
                  </a:cubicBezTo>
                  <a:cubicBezTo>
                    <a:pt x="522" y="155"/>
                    <a:pt x="532" y="136"/>
                    <a:pt x="532" y="136"/>
                  </a:cubicBezTo>
                  <a:cubicBezTo>
                    <a:pt x="532" y="128"/>
                    <a:pt x="532" y="128"/>
                    <a:pt x="532" y="128"/>
                  </a:cubicBezTo>
                  <a:cubicBezTo>
                    <a:pt x="546" y="117"/>
                    <a:pt x="546" y="117"/>
                    <a:pt x="546" y="117"/>
                  </a:cubicBezTo>
                  <a:cubicBezTo>
                    <a:pt x="548" y="111"/>
                    <a:pt x="548" y="111"/>
                    <a:pt x="548" y="111"/>
                  </a:cubicBezTo>
                  <a:cubicBezTo>
                    <a:pt x="538" y="106"/>
                    <a:pt x="538" y="106"/>
                    <a:pt x="538" y="106"/>
                  </a:cubicBezTo>
                  <a:lnTo>
                    <a:pt x="520" y="10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9B7DBE84-FF67-86ED-00E8-DC4F5A144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1066" y="2990524"/>
              <a:ext cx="18292" cy="18292"/>
            </a:xfrm>
            <a:custGeom>
              <a:avLst/>
              <a:gdLst>
                <a:gd name="T0" fmla="*/ 1 w 34"/>
                <a:gd name="T1" fmla="*/ 1 h 33"/>
                <a:gd name="T2" fmla="*/ 0 w 34"/>
                <a:gd name="T3" fmla="*/ 1 h 33"/>
                <a:gd name="T4" fmla="*/ 1 w 34"/>
                <a:gd name="T5" fmla="*/ 1 h 33"/>
                <a:gd name="T6" fmla="*/ 0 60000 65536"/>
                <a:gd name="T7" fmla="*/ 0 60000 65536"/>
                <a:gd name="T8" fmla="*/ 0 60000 65536"/>
                <a:gd name="T9" fmla="*/ 0 w 34"/>
                <a:gd name="T10" fmla="*/ 0 h 33"/>
                <a:gd name="T11" fmla="*/ 34 w 34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33">
                  <a:moveTo>
                    <a:pt x="23" y="33"/>
                  </a:moveTo>
                  <a:cubicBezTo>
                    <a:pt x="34" y="20"/>
                    <a:pt x="16" y="0"/>
                    <a:pt x="8" y="14"/>
                  </a:cubicBezTo>
                  <a:cubicBezTo>
                    <a:pt x="0" y="28"/>
                    <a:pt x="23" y="33"/>
                    <a:pt x="23" y="3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C5CF4B23-6477-5DB6-A9B3-4AC035B4E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5022" y="2827422"/>
              <a:ext cx="207309" cy="208833"/>
            </a:xfrm>
            <a:custGeom>
              <a:avLst/>
              <a:gdLst>
                <a:gd name="T0" fmla="*/ 10 w 365"/>
                <a:gd name="T1" fmla="*/ 4 h 367"/>
                <a:gd name="T2" fmla="*/ 0 w 365"/>
                <a:gd name="T3" fmla="*/ 10 h 367"/>
                <a:gd name="T4" fmla="*/ 11 w 365"/>
                <a:gd name="T5" fmla="*/ 14 h 367"/>
                <a:gd name="T6" fmla="*/ 11 w 365"/>
                <a:gd name="T7" fmla="*/ 13 h 367"/>
                <a:gd name="T8" fmla="*/ 11 w 365"/>
                <a:gd name="T9" fmla="*/ 13 h 367"/>
                <a:gd name="T10" fmla="*/ 12 w 365"/>
                <a:gd name="T11" fmla="*/ 11 h 367"/>
                <a:gd name="T12" fmla="*/ 5 w 365"/>
                <a:gd name="T13" fmla="*/ 9 h 367"/>
                <a:gd name="T14" fmla="*/ 9 w 365"/>
                <a:gd name="T15" fmla="*/ 10 h 367"/>
                <a:gd name="T16" fmla="*/ 7 w 365"/>
                <a:gd name="T17" fmla="*/ 8 h 367"/>
                <a:gd name="T18" fmla="*/ 8 w 365"/>
                <a:gd name="T19" fmla="*/ 8 h 367"/>
                <a:gd name="T20" fmla="*/ 6 w 365"/>
                <a:gd name="T21" fmla="*/ 5 h 367"/>
                <a:gd name="T22" fmla="*/ 7 w 365"/>
                <a:gd name="T23" fmla="*/ 4 h 367"/>
                <a:gd name="T24" fmla="*/ 7 w 365"/>
                <a:gd name="T25" fmla="*/ 4 h 367"/>
                <a:gd name="T26" fmla="*/ 8 w 365"/>
                <a:gd name="T27" fmla="*/ 4 h 367"/>
                <a:gd name="T28" fmla="*/ 9 w 365"/>
                <a:gd name="T29" fmla="*/ 3 h 367"/>
                <a:gd name="T30" fmla="*/ 13 w 365"/>
                <a:gd name="T31" fmla="*/ 3 h 367"/>
                <a:gd name="T32" fmla="*/ 14 w 365"/>
                <a:gd name="T33" fmla="*/ 1 h 367"/>
                <a:gd name="T34" fmla="*/ 13 w 365"/>
                <a:gd name="T35" fmla="*/ 0 h 367"/>
                <a:gd name="T36" fmla="*/ 12 w 365"/>
                <a:gd name="T37" fmla="*/ 1 h 367"/>
                <a:gd name="T38" fmla="*/ 10 w 365"/>
                <a:gd name="T39" fmla="*/ 1 h 367"/>
                <a:gd name="T40" fmla="*/ 8 w 365"/>
                <a:gd name="T41" fmla="*/ 0 h 367"/>
                <a:gd name="T42" fmla="*/ 6 w 365"/>
                <a:gd name="T43" fmla="*/ 1 h 367"/>
                <a:gd name="T44" fmla="*/ 4 w 365"/>
                <a:gd name="T45" fmla="*/ 2 h 367"/>
                <a:gd name="T46" fmla="*/ 2 w 365"/>
                <a:gd name="T47" fmla="*/ 3 h 367"/>
                <a:gd name="T48" fmla="*/ 1 w 365"/>
                <a:gd name="T49" fmla="*/ 4 h 367"/>
                <a:gd name="T50" fmla="*/ 0 w 365"/>
                <a:gd name="T51" fmla="*/ 6 h 367"/>
                <a:gd name="T52" fmla="*/ 1 w 365"/>
                <a:gd name="T53" fmla="*/ 8 h 367"/>
                <a:gd name="T54" fmla="*/ 14 w 365"/>
                <a:gd name="T55" fmla="*/ 9 h 367"/>
                <a:gd name="T56" fmla="*/ 13 w 365"/>
                <a:gd name="T57" fmla="*/ 10 h 367"/>
                <a:gd name="T58" fmla="*/ 1 w 365"/>
                <a:gd name="T59" fmla="*/ 12 h 367"/>
                <a:gd name="T60" fmla="*/ 13 w 365"/>
                <a:gd name="T61" fmla="*/ 14 h 367"/>
                <a:gd name="T62" fmla="*/ 14 w 365"/>
                <a:gd name="T63" fmla="*/ 12 h 367"/>
                <a:gd name="T64" fmla="*/ 14 w 365"/>
                <a:gd name="T65" fmla="*/ 7 h 367"/>
                <a:gd name="T66" fmla="*/ 15 w 365"/>
                <a:gd name="T67" fmla="*/ 8 h 367"/>
                <a:gd name="T68" fmla="*/ 13 w 365"/>
                <a:gd name="T69" fmla="*/ 13 h 367"/>
                <a:gd name="T70" fmla="*/ 15 w 365"/>
                <a:gd name="T71" fmla="*/ 12 h 367"/>
                <a:gd name="T72" fmla="*/ 16 w 365"/>
                <a:gd name="T73" fmla="*/ 12 h 367"/>
                <a:gd name="T74" fmla="*/ 10 w 365"/>
                <a:gd name="T75" fmla="*/ 8 h 367"/>
                <a:gd name="T76" fmla="*/ 19 w 365"/>
                <a:gd name="T77" fmla="*/ 15 h 367"/>
                <a:gd name="T78" fmla="*/ 16 w 365"/>
                <a:gd name="T79" fmla="*/ 13 h 367"/>
                <a:gd name="T80" fmla="*/ 17 w 365"/>
                <a:gd name="T81" fmla="*/ 13 h 367"/>
                <a:gd name="T82" fmla="*/ 17 w 365"/>
                <a:gd name="T83" fmla="*/ 18 h 367"/>
                <a:gd name="T84" fmla="*/ 10 w 365"/>
                <a:gd name="T85" fmla="*/ 12 h 367"/>
                <a:gd name="T86" fmla="*/ 7 w 365"/>
                <a:gd name="T87" fmla="*/ 15 h 367"/>
                <a:gd name="T88" fmla="*/ 13 w 365"/>
                <a:gd name="T89" fmla="*/ 18 h 367"/>
                <a:gd name="T90" fmla="*/ 11 w 365"/>
                <a:gd name="T91" fmla="*/ 18 h 367"/>
                <a:gd name="T92" fmla="*/ 8 w 365"/>
                <a:gd name="T93" fmla="*/ 18 h 367"/>
                <a:gd name="T94" fmla="*/ 10 w 365"/>
                <a:gd name="T95" fmla="*/ 18 h 367"/>
                <a:gd name="T96" fmla="*/ 13 w 365"/>
                <a:gd name="T97" fmla="*/ 19 h 367"/>
                <a:gd name="T98" fmla="*/ 15 w 365"/>
                <a:gd name="T99" fmla="*/ 14 h 367"/>
                <a:gd name="T100" fmla="*/ 4 w 365"/>
                <a:gd name="T101" fmla="*/ 10 h 367"/>
                <a:gd name="T102" fmla="*/ 3 w 365"/>
                <a:gd name="T103" fmla="*/ 11 h 367"/>
                <a:gd name="T104" fmla="*/ 4 w 365"/>
                <a:gd name="T105" fmla="*/ 13 h 367"/>
                <a:gd name="T106" fmla="*/ 6 w 365"/>
                <a:gd name="T107" fmla="*/ 14 h 367"/>
                <a:gd name="T108" fmla="*/ 7 w 365"/>
                <a:gd name="T109" fmla="*/ 14 h 367"/>
                <a:gd name="T110" fmla="*/ 6 w 365"/>
                <a:gd name="T111" fmla="*/ 12 h 367"/>
                <a:gd name="T112" fmla="*/ 7 w 365"/>
                <a:gd name="T113" fmla="*/ 11 h 3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5"/>
                <a:gd name="T172" fmla="*/ 0 h 367"/>
                <a:gd name="T173" fmla="*/ 365 w 365"/>
                <a:gd name="T174" fmla="*/ 367 h 3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5" h="367">
                  <a:moveTo>
                    <a:pt x="165" y="73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90" y="78"/>
                    <a:pt x="190" y="78"/>
                    <a:pt x="190" y="78"/>
                  </a:cubicBezTo>
                  <a:lnTo>
                    <a:pt x="165" y="73"/>
                  </a:lnTo>
                  <a:close/>
                  <a:moveTo>
                    <a:pt x="19" y="173"/>
                  </a:moveTo>
                  <a:cubicBezTo>
                    <a:pt x="5" y="188"/>
                    <a:pt x="5" y="188"/>
                    <a:pt x="5" y="188"/>
                  </a:cubicBezTo>
                  <a:cubicBezTo>
                    <a:pt x="30" y="195"/>
                    <a:pt x="30" y="195"/>
                    <a:pt x="30" y="195"/>
                  </a:cubicBezTo>
                  <a:lnTo>
                    <a:pt x="19" y="173"/>
                  </a:lnTo>
                  <a:close/>
                  <a:moveTo>
                    <a:pt x="212" y="277"/>
                  </a:moveTo>
                  <a:cubicBezTo>
                    <a:pt x="211" y="280"/>
                    <a:pt x="220" y="282"/>
                    <a:pt x="219" y="275"/>
                  </a:cubicBezTo>
                  <a:cubicBezTo>
                    <a:pt x="218" y="268"/>
                    <a:pt x="213" y="271"/>
                    <a:pt x="212" y="277"/>
                  </a:cubicBezTo>
                  <a:close/>
                  <a:moveTo>
                    <a:pt x="210" y="258"/>
                  </a:moveTo>
                  <a:cubicBezTo>
                    <a:pt x="204" y="253"/>
                    <a:pt x="204" y="253"/>
                    <a:pt x="204" y="253"/>
                  </a:cubicBezTo>
                  <a:cubicBezTo>
                    <a:pt x="198" y="259"/>
                    <a:pt x="198" y="259"/>
                    <a:pt x="198" y="259"/>
                  </a:cubicBezTo>
                  <a:lnTo>
                    <a:pt x="210" y="258"/>
                  </a:lnTo>
                  <a:close/>
                  <a:moveTo>
                    <a:pt x="201" y="196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23" y="213"/>
                    <a:pt x="223" y="213"/>
                    <a:pt x="223" y="213"/>
                  </a:cubicBezTo>
                  <a:lnTo>
                    <a:pt x="201" y="196"/>
                  </a:lnTo>
                  <a:close/>
                  <a:moveTo>
                    <a:pt x="76" y="178"/>
                  </a:moveTo>
                  <a:cubicBezTo>
                    <a:pt x="76" y="178"/>
                    <a:pt x="90" y="173"/>
                    <a:pt x="97" y="176"/>
                  </a:cubicBezTo>
                  <a:cubicBezTo>
                    <a:pt x="104" y="179"/>
                    <a:pt x="141" y="193"/>
                    <a:pt x="141" y="193"/>
                  </a:cubicBezTo>
                  <a:cubicBezTo>
                    <a:pt x="141" y="193"/>
                    <a:pt x="163" y="216"/>
                    <a:pt x="168" y="210"/>
                  </a:cubicBezTo>
                  <a:cubicBezTo>
                    <a:pt x="173" y="204"/>
                    <a:pt x="174" y="195"/>
                    <a:pt x="166" y="188"/>
                  </a:cubicBezTo>
                  <a:cubicBezTo>
                    <a:pt x="158" y="181"/>
                    <a:pt x="142" y="168"/>
                    <a:pt x="139" y="167"/>
                  </a:cubicBezTo>
                  <a:cubicBezTo>
                    <a:pt x="136" y="166"/>
                    <a:pt x="117" y="157"/>
                    <a:pt x="117" y="157"/>
                  </a:cubicBezTo>
                  <a:cubicBezTo>
                    <a:pt x="117" y="157"/>
                    <a:pt x="124" y="151"/>
                    <a:pt x="128" y="152"/>
                  </a:cubicBezTo>
                  <a:cubicBezTo>
                    <a:pt x="132" y="153"/>
                    <a:pt x="155" y="176"/>
                    <a:pt x="169" y="178"/>
                  </a:cubicBezTo>
                  <a:cubicBezTo>
                    <a:pt x="183" y="180"/>
                    <a:pt x="189" y="164"/>
                    <a:pt x="176" y="162"/>
                  </a:cubicBezTo>
                  <a:cubicBezTo>
                    <a:pt x="163" y="160"/>
                    <a:pt x="153" y="156"/>
                    <a:pt x="153" y="156"/>
                  </a:cubicBezTo>
                  <a:cubicBezTo>
                    <a:pt x="153" y="156"/>
                    <a:pt x="139" y="148"/>
                    <a:pt x="137" y="141"/>
                  </a:cubicBezTo>
                  <a:cubicBezTo>
                    <a:pt x="135" y="134"/>
                    <a:pt x="123" y="117"/>
                    <a:pt x="123" y="117"/>
                  </a:cubicBezTo>
                  <a:cubicBezTo>
                    <a:pt x="123" y="117"/>
                    <a:pt x="112" y="100"/>
                    <a:pt x="107" y="94"/>
                  </a:cubicBezTo>
                  <a:cubicBezTo>
                    <a:pt x="102" y="88"/>
                    <a:pt x="97" y="67"/>
                    <a:pt x="104" y="64"/>
                  </a:cubicBezTo>
                  <a:cubicBezTo>
                    <a:pt x="111" y="61"/>
                    <a:pt x="113" y="78"/>
                    <a:pt x="121" y="78"/>
                  </a:cubicBezTo>
                  <a:cubicBezTo>
                    <a:pt x="123" y="78"/>
                    <a:pt x="126" y="78"/>
                    <a:pt x="129" y="78"/>
                  </a:cubicBezTo>
                  <a:cubicBezTo>
                    <a:pt x="133" y="86"/>
                    <a:pt x="137" y="95"/>
                    <a:pt x="139" y="96"/>
                  </a:cubicBezTo>
                  <a:cubicBezTo>
                    <a:pt x="142" y="98"/>
                    <a:pt x="148" y="94"/>
                    <a:pt x="148" y="94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1" y="79"/>
                    <a:pt x="142" y="79"/>
                    <a:pt x="143" y="79"/>
                  </a:cubicBezTo>
                  <a:cubicBezTo>
                    <a:pt x="161" y="90"/>
                    <a:pt x="161" y="90"/>
                    <a:pt x="161" y="90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2" y="77"/>
                    <a:pt x="153" y="77"/>
                    <a:pt x="153" y="77"/>
                  </a:cubicBezTo>
                  <a:cubicBezTo>
                    <a:pt x="156" y="74"/>
                    <a:pt x="157" y="66"/>
                    <a:pt x="156" y="58"/>
                  </a:cubicBezTo>
                  <a:cubicBezTo>
                    <a:pt x="155" y="50"/>
                    <a:pt x="173" y="46"/>
                    <a:pt x="182" y="49"/>
                  </a:cubicBezTo>
                  <a:cubicBezTo>
                    <a:pt x="191" y="52"/>
                    <a:pt x="184" y="65"/>
                    <a:pt x="193" y="62"/>
                  </a:cubicBezTo>
                  <a:cubicBezTo>
                    <a:pt x="202" y="59"/>
                    <a:pt x="205" y="44"/>
                    <a:pt x="210" y="43"/>
                  </a:cubicBezTo>
                  <a:cubicBezTo>
                    <a:pt x="215" y="42"/>
                    <a:pt x="258" y="52"/>
                    <a:pt x="258" y="52"/>
                  </a:cubicBezTo>
                  <a:cubicBezTo>
                    <a:pt x="258" y="52"/>
                    <a:pt x="261" y="47"/>
                    <a:pt x="263" y="40"/>
                  </a:cubicBezTo>
                  <a:cubicBezTo>
                    <a:pt x="265" y="33"/>
                    <a:pt x="260" y="30"/>
                    <a:pt x="261" y="24"/>
                  </a:cubicBezTo>
                  <a:cubicBezTo>
                    <a:pt x="262" y="18"/>
                    <a:pt x="275" y="22"/>
                    <a:pt x="275" y="22"/>
                  </a:cubicBezTo>
                  <a:cubicBezTo>
                    <a:pt x="275" y="22"/>
                    <a:pt x="276" y="14"/>
                    <a:pt x="273" y="9"/>
                  </a:cubicBezTo>
                  <a:cubicBezTo>
                    <a:pt x="270" y="4"/>
                    <a:pt x="263" y="5"/>
                    <a:pt x="263" y="5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49" y="6"/>
                    <a:pt x="255" y="14"/>
                    <a:pt x="253" y="19"/>
                  </a:cubicBezTo>
                  <a:cubicBezTo>
                    <a:pt x="251" y="24"/>
                    <a:pt x="237" y="25"/>
                    <a:pt x="237" y="25"/>
                  </a:cubicBezTo>
                  <a:cubicBezTo>
                    <a:pt x="227" y="17"/>
                    <a:pt x="227" y="17"/>
                    <a:pt x="227" y="17"/>
                  </a:cubicBezTo>
                  <a:cubicBezTo>
                    <a:pt x="227" y="17"/>
                    <a:pt x="222" y="24"/>
                    <a:pt x="214" y="25"/>
                  </a:cubicBezTo>
                  <a:cubicBezTo>
                    <a:pt x="206" y="26"/>
                    <a:pt x="205" y="17"/>
                    <a:pt x="205" y="17"/>
                  </a:cubicBezTo>
                  <a:cubicBezTo>
                    <a:pt x="205" y="17"/>
                    <a:pt x="199" y="20"/>
                    <a:pt x="191" y="20"/>
                  </a:cubicBezTo>
                  <a:cubicBezTo>
                    <a:pt x="183" y="20"/>
                    <a:pt x="179" y="6"/>
                    <a:pt x="179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31" y="25"/>
                    <a:pt x="123" y="25"/>
                  </a:cubicBezTo>
                  <a:cubicBezTo>
                    <a:pt x="118" y="25"/>
                    <a:pt x="114" y="21"/>
                    <a:pt x="111" y="18"/>
                  </a:cubicBezTo>
                  <a:cubicBezTo>
                    <a:pt x="107" y="23"/>
                    <a:pt x="102" y="26"/>
                    <a:pt x="97" y="32"/>
                  </a:cubicBezTo>
                  <a:cubicBezTo>
                    <a:pt x="89" y="40"/>
                    <a:pt x="70" y="36"/>
                    <a:pt x="70" y="36"/>
                  </a:cubicBezTo>
                  <a:cubicBezTo>
                    <a:pt x="70" y="36"/>
                    <a:pt x="71" y="41"/>
                    <a:pt x="67" y="47"/>
                  </a:cubicBezTo>
                  <a:cubicBezTo>
                    <a:pt x="63" y="53"/>
                    <a:pt x="43" y="45"/>
                    <a:pt x="43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5"/>
                    <a:pt x="39" y="62"/>
                    <a:pt x="36" y="64"/>
                  </a:cubicBezTo>
                  <a:cubicBezTo>
                    <a:pt x="31" y="68"/>
                    <a:pt x="21" y="70"/>
                    <a:pt x="21" y="70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4" y="86"/>
                    <a:pt x="3" y="93"/>
                  </a:cubicBezTo>
                  <a:cubicBezTo>
                    <a:pt x="2" y="100"/>
                    <a:pt x="3" y="109"/>
                    <a:pt x="3" y="109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0" y="133"/>
                    <a:pt x="9" y="136"/>
                  </a:cubicBezTo>
                  <a:cubicBezTo>
                    <a:pt x="18" y="139"/>
                    <a:pt x="29" y="156"/>
                    <a:pt x="29" y="156"/>
                  </a:cubicBezTo>
                  <a:cubicBezTo>
                    <a:pt x="29" y="156"/>
                    <a:pt x="39" y="179"/>
                    <a:pt x="47" y="179"/>
                  </a:cubicBezTo>
                  <a:cubicBezTo>
                    <a:pt x="55" y="179"/>
                    <a:pt x="76" y="178"/>
                    <a:pt x="76" y="178"/>
                  </a:cubicBezTo>
                  <a:close/>
                  <a:moveTo>
                    <a:pt x="266" y="168"/>
                  </a:moveTo>
                  <a:cubicBezTo>
                    <a:pt x="253" y="168"/>
                    <a:pt x="253" y="168"/>
                    <a:pt x="253" y="168"/>
                  </a:cubicBezTo>
                  <a:cubicBezTo>
                    <a:pt x="252" y="180"/>
                    <a:pt x="252" y="180"/>
                    <a:pt x="252" y="180"/>
                  </a:cubicBezTo>
                  <a:cubicBezTo>
                    <a:pt x="261" y="196"/>
                    <a:pt x="261" y="196"/>
                    <a:pt x="261" y="196"/>
                  </a:cubicBezTo>
                  <a:lnTo>
                    <a:pt x="266" y="168"/>
                  </a:lnTo>
                  <a:close/>
                  <a:moveTo>
                    <a:pt x="19" y="207"/>
                  </a:moveTo>
                  <a:cubicBezTo>
                    <a:pt x="10" y="214"/>
                    <a:pt x="30" y="220"/>
                    <a:pt x="30" y="220"/>
                  </a:cubicBezTo>
                  <a:cubicBezTo>
                    <a:pt x="36" y="216"/>
                    <a:pt x="28" y="200"/>
                    <a:pt x="19" y="207"/>
                  </a:cubicBezTo>
                  <a:close/>
                  <a:moveTo>
                    <a:pt x="255" y="261"/>
                  </a:moveTo>
                  <a:cubicBezTo>
                    <a:pt x="255" y="270"/>
                    <a:pt x="255" y="270"/>
                    <a:pt x="255" y="270"/>
                  </a:cubicBezTo>
                  <a:cubicBezTo>
                    <a:pt x="264" y="260"/>
                    <a:pt x="264" y="260"/>
                    <a:pt x="264" y="260"/>
                  </a:cubicBezTo>
                  <a:lnTo>
                    <a:pt x="255" y="261"/>
                  </a:lnTo>
                  <a:close/>
                  <a:moveTo>
                    <a:pt x="275" y="220"/>
                  </a:moveTo>
                  <a:cubicBezTo>
                    <a:pt x="271" y="216"/>
                    <a:pt x="259" y="219"/>
                    <a:pt x="259" y="227"/>
                  </a:cubicBezTo>
                  <a:cubicBezTo>
                    <a:pt x="259" y="232"/>
                    <a:pt x="279" y="224"/>
                    <a:pt x="275" y="220"/>
                  </a:cubicBezTo>
                  <a:close/>
                  <a:moveTo>
                    <a:pt x="269" y="127"/>
                  </a:moveTo>
                  <a:cubicBezTo>
                    <a:pt x="250" y="132"/>
                    <a:pt x="250" y="132"/>
                    <a:pt x="250" y="132"/>
                  </a:cubicBezTo>
                  <a:cubicBezTo>
                    <a:pt x="251" y="148"/>
                    <a:pt x="264" y="141"/>
                    <a:pt x="264" y="141"/>
                  </a:cubicBezTo>
                  <a:cubicBezTo>
                    <a:pt x="264" y="141"/>
                    <a:pt x="269" y="152"/>
                    <a:pt x="278" y="148"/>
                  </a:cubicBezTo>
                  <a:cubicBezTo>
                    <a:pt x="287" y="144"/>
                    <a:pt x="269" y="127"/>
                    <a:pt x="269" y="127"/>
                  </a:cubicBezTo>
                  <a:close/>
                  <a:moveTo>
                    <a:pt x="230" y="247"/>
                  </a:moveTo>
                  <a:cubicBezTo>
                    <a:pt x="232" y="259"/>
                    <a:pt x="242" y="262"/>
                    <a:pt x="247" y="254"/>
                  </a:cubicBezTo>
                  <a:cubicBezTo>
                    <a:pt x="253" y="244"/>
                    <a:pt x="228" y="235"/>
                    <a:pt x="230" y="247"/>
                  </a:cubicBezTo>
                  <a:close/>
                  <a:moveTo>
                    <a:pt x="299" y="210"/>
                  </a:moveTo>
                  <a:cubicBezTo>
                    <a:pt x="289" y="202"/>
                    <a:pt x="291" y="220"/>
                    <a:pt x="291" y="220"/>
                  </a:cubicBezTo>
                  <a:cubicBezTo>
                    <a:pt x="305" y="227"/>
                    <a:pt x="309" y="218"/>
                    <a:pt x="299" y="210"/>
                  </a:cubicBezTo>
                  <a:close/>
                  <a:moveTo>
                    <a:pt x="298" y="249"/>
                  </a:moveTo>
                  <a:cubicBezTo>
                    <a:pt x="307" y="236"/>
                    <a:pt x="307" y="236"/>
                    <a:pt x="307" y="236"/>
                  </a:cubicBezTo>
                  <a:cubicBezTo>
                    <a:pt x="295" y="236"/>
                    <a:pt x="295" y="236"/>
                    <a:pt x="295" y="236"/>
                  </a:cubicBezTo>
                  <a:lnTo>
                    <a:pt x="298" y="249"/>
                  </a:lnTo>
                  <a:close/>
                  <a:moveTo>
                    <a:pt x="186" y="146"/>
                  </a:moveTo>
                  <a:cubicBezTo>
                    <a:pt x="186" y="146"/>
                    <a:pt x="180" y="158"/>
                    <a:pt x="196" y="158"/>
                  </a:cubicBezTo>
                  <a:lnTo>
                    <a:pt x="186" y="146"/>
                  </a:lnTo>
                  <a:close/>
                  <a:moveTo>
                    <a:pt x="361" y="281"/>
                  </a:moveTo>
                  <a:cubicBezTo>
                    <a:pt x="357" y="274"/>
                    <a:pt x="336" y="302"/>
                    <a:pt x="342" y="312"/>
                  </a:cubicBezTo>
                  <a:cubicBezTo>
                    <a:pt x="347" y="321"/>
                    <a:pt x="365" y="288"/>
                    <a:pt x="361" y="281"/>
                  </a:cubicBezTo>
                  <a:close/>
                  <a:moveTo>
                    <a:pt x="310" y="258"/>
                  </a:moveTo>
                  <a:cubicBezTo>
                    <a:pt x="309" y="273"/>
                    <a:pt x="309" y="273"/>
                    <a:pt x="309" y="273"/>
                  </a:cubicBezTo>
                  <a:cubicBezTo>
                    <a:pt x="334" y="254"/>
                    <a:pt x="334" y="254"/>
                    <a:pt x="334" y="254"/>
                  </a:cubicBezTo>
                  <a:cubicBezTo>
                    <a:pt x="326" y="249"/>
                    <a:pt x="326" y="249"/>
                    <a:pt x="326" y="249"/>
                  </a:cubicBezTo>
                  <a:lnTo>
                    <a:pt x="310" y="258"/>
                  </a:lnTo>
                  <a:close/>
                  <a:moveTo>
                    <a:pt x="311" y="342"/>
                  </a:moveTo>
                  <a:cubicBezTo>
                    <a:pt x="324" y="339"/>
                    <a:pt x="324" y="339"/>
                    <a:pt x="324" y="339"/>
                  </a:cubicBezTo>
                  <a:cubicBezTo>
                    <a:pt x="317" y="312"/>
                    <a:pt x="317" y="312"/>
                    <a:pt x="317" y="312"/>
                  </a:cubicBezTo>
                  <a:lnTo>
                    <a:pt x="311" y="342"/>
                  </a:lnTo>
                  <a:close/>
                  <a:moveTo>
                    <a:pt x="186" y="221"/>
                  </a:moveTo>
                  <a:cubicBezTo>
                    <a:pt x="181" y="226"/>
                    <a:pt x="184" y="232"/>
                    <a:pt x="189" y="231"/>
                  </a:cubicBezTo>
                  <a:cubicBezTo>
                    <a:pt x="198" y="229"/>
                    <a:pt x="191" y="216"/>
                    <a:pt x="186" y="221"/>
                  </a:cubicBezTo>
                  <a:close/>
                  <a:moveTo>
                    <a:pt x="127" y="288"/>
                  </a:moveTo>
                  <a:cubicBezTo>
                    <a:pt x="121" y="290"/>
                    <a:pt x="126" y="307"/>
                    <a:pt x="133" y="301"/>
                  </a:cubicBezTo>
                  <a:cubicBezTo>
                    <a:pt x="140" y="295"/>
                    <a:pt x="134" y="286"/>
                    <a:pt x="127" y="288"/>
                  </a:cubicBezTo>
                  <a:close/>
                  <a:moveTo>
                    <a:pt x="259" y="352"/>
                  </a:moveTo>
                  <a:cubicBezTo>
                    <a:pt x="255" y="354"/>
                    <a:pt x="252" y="342"/>
                    <a:pt x="252" y="342"/>
                  </a:cubicBezTo>
                  <a:cubicBezTo>
                    <a:pt x="230" y="341"/>
                    <a:pt x="230" y="341"/>
                    <a:pt x="230" y="34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188" y="336"/>
                    <a:pt x="188" y="336"/>
                    <a:pt x="188" y="336"/>
                  </a:cubicBezTo>
                  <a:cubicBezTo>
                    <a:pt x="168" y="325"/>
                    <a:pt x="168" y="325"/>
                    <a:pt x="168" y="325"/>
                  </a:cubicBezTo>
                  <a:cubicBezTo>
                    <a:pt x="168" y="325"/>
                    <a:pt x="152" y="332"/>
                    <a:pt x="161" y="342"/>
                  </a:cubicBezTo>
                  <a:cubicBezTo>
                    <a:pt x="170" y="352"/>
                    <a:pt x="175" y="345"/>
                    <a:pt x="175" y="345"/>
                  </a:cubicBezTo>
                  <a:cubicBezTo>
                    <a:pt x="181" y="351"/>
                    <a:pt x="181" y="351"/>
                    <a:pt x="181" y="351"/>
                  </a:cubicBezTo>
                  <a:cubicBezTo>
                    <a:pt x="205" y="352"/>
                    <a:pt x="205" y="352"/>
                    <a:pt x="205" y="352"/>
                  </a:cubicBezTo>
                  <a:cubicBezTo>
                    <a:pt x="213" y="367"/>
                    <a:pt x="213" y="367"/>
                    <a:pt x="213" y="367"/>
                  </a:cubicBezTo>
                  <a:cubicBezTo>
                    <a:pt x="238" y="366"/>
                    <a:pt x="238" y="366"/>
                    <a:pt x="238" y="366"/>
                  </a:cubicBezTo>
                  <a:cubicBezTo>
                    <a:pt x="241" y="362"/>
                    <a:pt x="241" y="362"/>
                    <a:pt x="241" y="362"/>
                  </a:cubicBezTo>
                  <a:cubicBezTo>
                    <a:pt x="241" y="362"/>
                    <a:pt x="279" y="367"/>
                    <a:pt x="281" y="353"/>
                  </a:cubicBezTo>
                  <a:cubicBezTo>
                    <a:pt x="283" y="339"/>
                    <a:pt x="263" y="350"/>
                    <a:pt x="259" y="352"/>
                  </a:cubicBezTo>
                  <a:close/>
                  <a:moveTo>
                    <a:pt x="285" y="272"/>
                  </a:moveTo>
                  <a:cubicBezTo>
                    <a:pt x="276" y="268"/>
                    <a:pt x="272" y="276"/>
                    <a:pt x="277" y="279"/>
                  </a:cubicBezTo>
                  <a:cubicBezTo>
                    <a:pt x="284" y="284"/>
                    <a:pt x="294" y="276"/>
                    <a:pt x="285" y="272"/>
                  </a:cubicBezTo>
                  <a:close/>
                  <a:moveTo>
                    <a:pt x="79" y="186"/>
                  </a:moveTo>
                  <a:cubicBezTo>
                    <a:pt x="65" y="192"/>
                    <a:pt x="65" y="192"/>
                    <a:pt x="65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47" y="207"/>
                    <a:pt x="47" y="207"/>
                    <a:pt x="47" y="207"/>
                  </a:cubicBezTo>
                  <a:cubicBezTo>
                    <a:pt x="66" y="224"/>
                    <a:pt x="66" y="224"/>
                    <a:pt x="66" y="224"/>
                  </a:cubicBezTo>
                  <a:cubicBezTo>
                    <a:pt x="66" y="224"/>
                    <a:pt x="63" y="241"/>
                    <a:pt x="63" y="251"/>
                  </a:cubicBezTo>
                  <a:cubicBezTo>
                    <a:pt x="63" y="261"/>
                    <a:pt x="78" y="267"/>
                    <a:pt x="81" y="260"/>
                  </a:cubicBezTo>
                  <a:cubicBezTo>
                    <a:pt x="84" y="253"/>
                    <a:pt x="93" y="254"/>
                    <a:pt x="93" y="254"/>
                  </a:cubicBezTo>
                  <a:cubicBezTo>
                    <a:pt x="107" y="280"/>
                    <a:pt x="107" y="280"/>
                    <a:pt x="107" y="280"/>
                  </a:cubicBezTo>
                  <a:cubicBezTo>
                    <a:pt x="113" y="262"/>
                    <a:pt x="113" y="262"/>
                    <a:pt x="113" y="262"/>
                  </a:cubicBezTo>
                  <a:cubicBezTo>
                    <a:pt x="122" y="275"/>
                    <a:pt x="122" y="275"/>
                    <a:pt x="122" y="275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29" y="270"/>
                    <a:pt x="129" y="270"/>
                    <a:pt x="129" y="270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31" y="250"/>
                    <a:pt x="114" y="229"/>
                    <a:pt x="117" y="221"/>
                  </a:cubicBezTo>
                  <a:cubicBezTo>
                    <a:pt x="120" y="213"/>
                    <a:pt x="143" y="232"/>
                    <a:pt x="143" y="232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228"/>
                    <a:pt x="141" y="221"/>
                    <a:pt x="132" y="212"/>
                  </a:cubicBezTo>
                  <a:cubicBezTo>
                    <a:pt x="123" y="203"/>
                    <a:pt x="79" y="186"/>
                    <a:pt x="79" y="18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F15F88A4-7C2A-7E13-D28C-7399D0CD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487" y="2801508"/>
              <a:ext cx="56401" cy="92984"/>
            </a:xfrm>
            <a:custGeom>
              <a:avLst/>
              <a:gdLst>
                <a:gd name="T0" fmla="*/ 3 w 100"/>
                <a:gd name="T1" fmla="*/ 7 h 165"/>
                <a:gd name="T2" fmla="*/ 4 w 100"/>
                <a:gd name="T3" fmla="*/ 7 h 165"/>
                <a:gd name="T4" fmla="*/ 4 w 100"/>
                <a:gd name="T5" fmla="*/ 7 h 165"/>
                <a:gd name="T6" fmla="*/ 4 w 100"/>
                <a:gd name="T7" fmla="*/ 6 h 165"/>
                <a:gd name="T8" fmla="*/ 5 w 100"/>
                <a:gd name="T9" fmla="*/ 6 h 165"/>
                <a:gd name="T10" fmla="*/ 5 w 100"/>
                <a:gd name="T11" fmla="*/ 5 h 165"/>
                <a:gd name="T12" fmla="*/ 4 w 100"/>
                <a:gd name="T13" fmla="*/ 5 h 165"/>
                <a:gd name="T14" fmla="*/ 4 w 100"/>
                <a:gd name="T15" fmla="*/ 4 h 165"/>
                <a:gd name="T16" fmla="*/ 4 w 100"/>
                <a:gd name="T17" fmla="*/ 4 h 165"/>
                <a:gd name="T18" fmla="*/ 4 w 100"/>
                <a:gd name="T19" fmla="*/ 3 h 165"/>
                <a:gd name="T20" fmla="*/ 3 w 100"/>
                <a:gd name="T21" fmla="*/ 3 h 165"/>
                <a:gd name="T22" fmla="*/ 3 w 100"/>
                <a:gd name="T23" fmla="*/ 2 h 165"/>
                <a:gd name="T24" fmla="*/ 3 w 100"/>
                <a:gd name="T25" fmla="*/ 1 h 165"/>
                <a:gd name="T26" fmla="*/ 3 w 100"/>
                <a:gd name="T27" fmla="*/ 1 h 165"/>
                <a:gd name="T28" fmla="*/ 3 w 100"/>
                <a:gd name="T29" fmla="*/ 1 h 165"/>
                <a:gd name="T30" fmla="*/ 2 w 100"/>
                <a:gd name="T31" fmla="*/ 0 h 165"/>
                <a:gd name="T32" fmla="*/ 2 w 100"/>
                <a:gd name="T33" fmla="*/ 0 h 165"/>
                <a:gd name="T34" fmla="*/ 1 w 100"/>
                <a:gd name="T35" fmla="*/ 0 h 165"/>
                <a:gd name="T36" fmla="*/ 1 w 100"/>
                <a:gd name="T37" fmla="*/ 1 h 165"/>
                <a:gd name="T38" fmla="*/ 1 w 100"/>
                <a:gd name="T39" fmla="*/ 1 h 165"/>
                <a:gd name="T40" fmla="*/ 0 w 100"/>
                <a:gd name="T41" fmla="*/ 1 h 165"/>
                <a:gd name="T42" fmla="*/ 0 w 100"/>
                <a:gd name="T43" fmla="*/ 1 h 165"/>
                <a:gd name="T44" fmla="*/ 1 w 100"/>
                <a:gd name="T45" fmla="*/ 1 h 165"/>
                <a:gd name="T46" fmla="*/ 1 w 100"/>
                <a:gd name="T47" fmla="*/ 1 h 165"/>
                <a:gd name="T48" fmla="*/ 0 w 100"/>
                <a:gd name="T49" fmla="*/ 2 h 165"/>
                <a:gd name="T50" fmla="*/ 1 w 100"/>
                <a:gd name="T51" fmla="*/ 2 h 165"/>
                <a:gd name="T52" fmla="*/ 1 w 100"/>
                <a:gd name="T53" fmla="*/ 2 h 165"/>
                <a:gd name="T54" fmla="*/ 1 w 100"/>
                <a:gd name="T55" fmla="*/ 5 h 165"/>
                <a:gd name="T56" fmla="*/ 1 w 100"/>
                <a:gd name="T57" fmla="*/ 7 h 165"/>
                <a:gd name="T58" fmla="*/ 2 w 100"/>
                <a:gd name="T59" fmla="*/ 7 h 165"/>
                <a:gd name="T60" fmla="*/ 2 w 100"/>
                <a:gd name="T61" fmla="*/ 8 h 165"/>
                <a:gd name="T62" fmla="*/ 3 w 100"/>
                <a:gd name="T63" fmla="*/ 9 h 165"/>
                <a:gd name="T64" fmla="*/ 3 w 100"/>
                <a:gd name="T65" fmla="*/ 8 h 165"/>
                <a:gd name="T66" fmla="*/ 3 w 100"/>
                <a:gd name="T67" fmla="*/ 7 h 1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0"/>
                <a:gd name="T103" fmla="*/ 0 h 165"/>
                <a:gd name="T104" fmla="*/ 100 w 100"/>
                <a:gd name="T105" fmla="*/ 165 h 1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0" h="165">
                  <a:moveTo>
                    <a:pt x="62" y="142"/>
                  </a:moveTo>
                  <a:cubicBezTo>
                    <a:pt x="63" y="135"/>
                    <a:pt x="72" y="138"/>
                    <a:pt x="72" y="138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9"/>
                    <a:pt x="90" y="117"/>
                    <a:pt x="95" y="113"/>
                  </a:cubicBezTo>
                  <a:cubicBezTo>
                    <a:pt x="100" y="109"/>
                    <a:pt x="95" y="92"/>
                    <a:pt x="95" y="92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85"/>
                    <a:pt x="69" y="84"/>
                    <a:pt x="69" y="79"/>
                  </a:cubicBezTo>
                  <a:cubicBezTo>
                    <a:pt x="69" y="74"/>
                    <a:pt x="71" y="67"/>
                    <a:pt x="71" y="6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25" y="84"/>
                    <a:pt x="24" y="96"/>
                  </a:cubicBezTo>
                  <a:cubicBezTo>
                    <a:pt x="23" y="108"/>
                    <a:pt x="12" y="124"/>
                    <a:pt x="17" y="129"/>
                  </a:cubicBezTo>
                  <a:cubicBezTo>
                    <a:pt x="22" y="134"/>
                    <a:pt x="40" y="144"/>
                    <a:pt x="40" y="144"/>
                  </a:cubicBezTo>
                  <a:cubicBezTo>
                    <a:pt x="40" y="144"/>
                    <a:pt x="37" y="164"/>
                    <a:pt x="41" y="163"/>
                  </a:cubicBezTo>
                  <a:cubicBezTo>
                    <a:pt x="45" y="162"/>
                    <a:pt x="64" y="165"/>
                    <a:pt x="64" y="165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8"/>
                    <a:pt x="61" y="149"/>
                    <a:pt x="62" y="14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291CE89B-53A3-8749-A590-A5A0ECE06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0752" y="2754254"/>
              <a:ext cx="152433" cy="88411"/>
            </a:xfrm>
            <a:custGeom>
              <a:avLst/>
              <a:gdLst>
                <a:gd name="T0" fmla="*/ 12 w 267"/>
                <a:gd name="T1" fmla="*/ 4 h 155"/>
                <a:gd name="T2" fmla="*/ 13 w 267"/>
                <a:gd name="T3" fmla="*/ 3 h 155"/>
                <a:gd name="T4" fmla="*/ 14 w 267"/>
                <a:gd name="T5" fmla="*/ 1 h 155"/>
                <a:gd name="T6" fmla="*/ 12 w 267"/>
                <a:gd name="T7" fmla="*/ 0 h 155"/>
                <a:gd name="T8" fmla="*/ 10 w 267"/>
                <a:gd name="T9" fmla="*/ 0 h 155"/>
                <a:gd name="T10" fmla="*/ 9 w 267"/>
                <a:gd name="T11" fmla="*/ 0 h 155"/>
                <a:gd name="T12" fmla="*/ 8 w 267"/>
                <a:gd name="T13" fmla="*/ 0 h 155"/>
                <a:gd name="T14" fmla="*/ 6 w 267"/>
                <a:gd name="T15" fmla="*/ 1 h 155"/>
                <a:gd name="T16" fmla="*/ 5 w 267"/>
                <a:gd name="T17" fmla="*/ 1 h 155"/>
                <a:gd name="T18" fmla="*/ 3 w 267"/>
                <a:gd name="T19" fmla="*/ 1 h 155"/>
                <a:gd name="T20" fmla="*/ 2 w 267"/>
                <a:gd name="T21" fmla="*/ 1 h 155"/>
                <a:gd name="T22" fmla="*/ 1 w 267"/>
                <a:gd name="T23" fmla="*/ 0 h 155"/>
                <a:gd name="T24" fmla="*/ 0 w 267"/>
                <a:gd name="T25" fmla="*/ 0 h 155"/>
                <a:gd name="T26" fmla="*/ 0 w 267"/>
                <a:gd name="T27" fmla="*/ 1 h 155"/>
                <a:gd name="T28" fmla="*/ 0 w 267"/>
                <a:gd name="T29" fmla="*/ 1 h 155"/>
                <a:gd name="T30" fmla="*/ 1 w 267"/>
                <a:gd name="T31" fmla="*/ 3 h 155"/>
                <a:gd name="T32" fmla="*/ 1 w 267"/>
                <a:gd name="T33" fmla="*/ 3 h 155"/>
                <a:gd name="T34" fmla="*/ 0 w 267"/>
                <a:gd name="T35" fmla="*/ 4 h 155"/>
                <a:gd name="T36" fmla="*/ 0 w 267"/>
                <a:gd name="T37" fmla="*/ 5 h 155"/>
                <a:gd name="T38" fmla="*/ 0 w 267"/>
                <a:gd name="T39" fmla="*/ 6 h 155"/>
                <a:gd name="T40" fmla="*/ 1 w 267"/>
                <a:gd name="T41" fmla="*/ 6 h 155"/>
                <a:gd name="T42" fmla="*/ 1 w 267"/>
                <a:gd name="T43" fmla="*/ 7 h 155"/>
                <a:gd name="T44" fmla="*/ 2 w 267"/>
                <a:gd name="T45" fmla="*/ 8 h 155"/>
                <a:gd name="T46" fmla="*/ 4 w 267"/>
                <a:gd name="T47" fmla="*/ 8 h 155"/>
                <a:gd name="T48" fmla="*/ 5 w 267"/>
                <a:gd name="T49" fmla="*/ 7 h 155"/>
                <a:gd name="T50" fmla="*/ 6 w 267"/>
                <a:gd name="T51" fmla="*/ 8 h 155"/>
                <a:gd name="T52" fmla="*/ 7 w 267"/>
                <a:gd name="T53" fmla="*/ 8 h 155"/>
                <a:gd name="T54" fmla="*/ 9 w 267"/>
                <a:gd name="T55" fmla="*/ 8 h 155"/>
                <a:gd name="T56" fmla="*/ 9 w 267"/>
                <a:gd name="T57" fmla="*/ 7 h 155"/>
                <a:gd name="T58" fmla="*/ 11 w 267"/>
                <a:gd name="T59" fmla="*/ 6 h 155"/>
                <a:gd name="T60" fmla="*/ 12 w 267"/>
                <a:gd name="T61" fmla="*/ 6 h 155"/>
                <a:gd name="T62" fmla="*/ 13 w 267"/>
                <a:gd name="T63" fmla="*/ 6 h 15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7"/>
                <a:gd name="T97" fmla="*/ 0 h 155"/>
                <a:gd name="T98" fmla="*/ 267 w 267"/>
                <a:gd name="T99" fmla="*/ 155 h 15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7" h="155">
                  <a:moveTo>
                    <a:pt x="248" y="115"/>
                  </a:move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35" y="82"/>
                    <a:pt x="239" y="75"/>
                  </a:cubicBezTo>
                  <a:cubicBezTo>
                    <a:pt x="243" y="68"/>
                    <a:pt x="232" y="54"/>
                    <a:pt x="241" y="47"/>
                  </a:cubicBezTo>
                  <a:cubicBezTo>
                    <a:pt x="250" y="40"/>
                    <a:pt x="267" y="44"/>
                    <a:pt x="267" y="44"/>
                  </a:cubicBezTo>
                  <a:cubicBezTo>
                    <a:pt x="267" y="44"/>
                    <a:pt x="265" y="35"/>
                    <a:pt x="264" y="23"/>
                  </a:cubicBezTo>
                  <a:cubicBezTo>
                    <a:pt x="257" y="24"/>
                    <a:pt x="248" y="24"/>
                    <a:pt x="245" y="22"/>
                  </a:cubicBezTo>
                  <a:cubicBezTo>
                    <a:pt x="240" y="19"/>
                    <a:pt x="237" y="12"/>
                    <a:pt x="237" y="12"/>
                  </a:cubicBezTo>
                  <a:cubicBezTo>
                    <a:pt x="237" y="12"/>
                    <a:pt x="228" y="10"/>
                    <a:pt x="219" y="10"/>
                  </a:cubicBezTo>
                  <a:cubicBezTo>
                    <a:pt x="210" y="10"/>
                    <a:pt x="203" y="2"/>
                    <a:pt x="194" y="2"/>
                  </a:cubicBezTo>
                  <a:cubicBezTo>
                    <a:pt x="185" y="2"/>
                    <a:pt x="188" y="8"/>
                    <a:pt x="188" y="8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11"/>
                    <a:pt x="164" y="10"/>
                    <a:pt x="157" y="12"/>
                  </a:cubicBezTo>
                  <a:cubicBezTo>
                    <a:pt x="150" y="14"/>
                    <a:pt x="151" y="30"/>
                    <a:pt x="140" y="29"/>
                  </a:cubicBezTo>
                  <a:cubicBezTo>
                    <a:pt x="129" y="28"/>
                    <a:pt x="118" y="23"/>
                    <a:pt x="118" y="23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7"/>
                    <a:pt x="97" y="26"/>
                    <a:pt x="84" y="26"/>
                  </a:cubicBezTo>
                  <a:cubicBezTo>
                    <a:pt x="71" y="26"/>
                    <a:pt x="62" y="21"/>
                    <a:pt x="62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22" y="22"/>
                    <a:pt x="22" y="18"/>
                  </a:cubicBezTo>
                  <a:cubicBezTo>
                    <a:pt x="22" y="14"/>
                    <a:pt x="31" y="9"/>
                    <a:pt x="29" y="5"/>
                  </a:cubicBezTo>
                  <a:cubicBezTo>
                    <a:pt x="27" y="1"/>
                    <a:pt x="17" y="1"/>
                    <a:pt x="17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8" y="53"/>
                    <a:pt x="26" y="57"/>
                  </a:cubicBezTo>
                  <a:cubicBezTo>
                    <a:pt x="24" y="61"/>
                    <a:pt x="20" y="68"/>
                    <a:pt x="20" y="68"/>
                  </a:cubicBezTo>
                  <a:cubicBezTo>
                    <a:pt x="20" y="68"/>
                    <a:pt x="9" y="65"/>
                    <a:pt x="7" y="69"/>
                  </a:cubicBezTo>
                  <a:cubicBezTo>
                    <a:pt x="5" y="73"/>
                    <a:pt x="8" y="80"/>
                    <a:pt x="8" y="80"/>
                  </a:cubicBezTo>
                  <a:cubicBezTo>
                    <a:pt x="8" y="80"/>
                    <a:pt x="11" y="88"/>
                    <a:pt x="10" y="91"/>
                  </a:cubicBezTo>
                  <a:cubicBezTo>
                    <a:pt x="9" y="93"/>
                    <a:pt x="5" y="94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36" y="128"/>
                    <a:pt x="33" y="139"/>
                  </a:cubicBezTo>
                  <a:cubicBezTo>
                    <a:pt x="32" y="142"/>
                    <a:pt x="31" y="145"/>
                    <a:pt x="29" y="147"/>
                  </a:cubicBezTo>
                  <a:cubicBezTo>
                    <a:pt x="32" y="150"/>
                    <a:pt x="36" y="154"/>
                    <a:pt x="41" y="154"/>
                  </a:cubicBezTo>
                  <a:cubicBezTo>
                    <a:pt x="49" y="154"/>
                    <a:pt x="59" y="144"/>
                    <a:pt x="59" y="144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9" y="138"/>
                    <a:pt x="79" y="138"/>
                    <a:pt x="79" y="138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101" y="149"/>
                    <a:pt x="109" y="149"/>
                  </a:cubicBezTo>
                  <a:cubicBezTo>
                    <a:pt x="117" y="149"/>
                    <a:pt x="123" y="146"/>
                    <a:pt x="123" y="146"/>
                  </a:cubicBezTo>
                  <a:cubicBezTo>
                    <a:pt x="123" y="146"/>
                    <a:pt x="124" y="155"/>
                    <a:pt x="132" y="154"/>
                  </a:cubicBezTo>
                  <a:cubicBezTo>
                    <a:pt x="140" y="153"/>
                    <a:pt x="145" y="146"/>
                    <a:pt x="145" y="146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69" y="153"/>
                    <a:pt x="171" y="148"/>
                  </a:cubicBezTo>
                  <a:cubicBezTo>
                    <a:pt x="173" y="143"/>
                    <a:pt x="167" y="135"/>
                    <a:pt x="167" y="135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8" y="114"/>
                    <a:pt x="188" y="114"/>
                    <a:pt x="188" y="114"/>
                  </a:cubicBezTo>
                  <a:cubicBezTo>
                    <a:pt x="208" y="116"/>
                    <a:pt x="208" y="116"/>
                    <a:pt x="208" y="116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40" y="121"/>
                    <a:pt x="249" y="120"/>
                  </a:cubicBezTo>
                  <a:cubicBezTo>
                    <a:pt x="248" y="117"/>
                    <a:pt x="248" y="115"/>
                    <a:pt x="248" y="11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92E1FB82-8F1B-4F30-ED12-CE7B19132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6785" y="2624686"/>
              <a:ext cx="80790" cy="89936"/>
            </a:xfrm>
            <a:custGeom>
              <a:avLst/>
              <a:gdLst>
                <a:gd name="T0" fmla="*/ 0 w 143"/>
                <a:gd name="T1" fmla="*/ 0 h 158"/>
                <a:gd name="T2" fmla="*/ 1 w 143"/>
                <a:gd name="T3" fmla="*/ 1 h 158"/>
                <a:gd name="T4" fmla="*/ 1 w 143"/>
                <a:gd name="T5" fmla="*/ 2 h 158"/>
                <a:gd name="T6" fmla="*/ 2 w 143"/>
                <a:gd name="T7" fmla="*/ 3 h 158"/>
                <a:gd name="T8" fmla="*/ 2 w 143"/>
                <a:gd name="T9" fmla="*/ 3 h 158"/>
                <a:gd name="T10" fmla="*/ 3 w 143"/>
                <a:gd name="T11" fmla="*/ 3 h 158"/>
                <a:gd name="T12" fmla="*/ 3 w 143"/>
                <a:gd name="T13" fmla="*/ 4 h 158"/>
                <a:gd name="T14" fmla="*/ 4 w 143"/>
                <a:gd name="T15" fmla="*/ 4 h 158"/>
                <a:gd name="T16" fmla="*/ 4 w 143"/>
                <a:gd name="T17" fmla="*/ 6 h 158"/>
                <a:gd name="T18" fmla="*/ 4 w 143"/>
                <a:gd name="T19" fmla="*/ 6 h 158"/>
                <a:gd name="T20" fmla="*/ 3 w 143"/>
                <a:gd name="T21" fmla="*/ 7 h 158"/>
                <a:gd name="T22" fmla="*/ 4 w 143"/>
                <a:gd name="T23" fmla="*/ 7 h 158"/>
                <a:gd name="T24" fmla="*/ 4 w 143"/>
                <a:gd name="T25" fmla="*/ 8 h 158"/>
                <a:gd name="T26" fmla="*/ 5 w 143"/>
                <a:gd name="T27" fmla="*/ 8 h 158"/>
                <a:gd name="T28" fmla="*/ 4 w 143"/>
                <a:gd name="T29" fmla="*/ 7 h 158"/>
                <a:gd name="T30" fmla="*/ 5 w 143"/>
                <a:gd name="T31" fmla="*/ 7 h 158"/>
                <a:gd name="T32" fmla="*/ 6 w 143"/>
                <a:gd name="T33" fmla="*/ 6 h 158"/>
                <a:gd name="T34" fmla="*/ 5 w 143"/>
                <a:gd name="T35" fmla="*/ 6 h 158"/>
                <a:gd name="T36" fmla="*/ 6 w 143"/>
                <a:gd name="T37" fmla="*/ 5 h 158"/>
                <a:gd name="T38" fmla="*/ 6 w 143"/>
                <a:gd name="T39" fmla="*/ 6 h 158"/>
                <a:gd name="T40" fmla="*/ 7 w 143"/>
                <a:gd name="T41" fmla="*/ 6 h 158"/>
                <a:gd name="T42" fmla="*/ 7 w 143"/>
                <a:gd name="T43" fmla="*/ 4 h 158"/>
                <a:gd name="T44" fmla="*/ 6 w 143"/>
                <a:gd name="T45" fmla="*/ 4 h 158"/>
                <a:gd name="T46" fmla="*/ 6 w 143"/>
                <a:gd name="T47" fmla="*/ 3 h 158"/>
                <a:gd name="T48" fmla="*/ 6 w 143"/>
                <a:gd name="T49" fmla="*/ 3 h 158"/>
                <a:gd name="T50" fmla="*/ 5 w 143"/>
                <a:gd name="T51" fmla="*/ 3 h 158"/>
                <a:gd name="T52" fmla="*/ 5 w 143"/>
                <a:gd name="T53" fmla="*/ 2 h 158"/>
                <a:gd name="T54" fmla="*/ 5 w 143"/>
                <a:gd name="T55" fmla="*/ 1 h 158"/>
                <a:gd name="T56" fmla="*/ 4 w 143"/>
                <a:gd name="T57" fmla="*/ 1 h 158"/>
                <a:gd name="T58" fmla="*/ 4 w 143"/>
                <a:gd name="T59" fmla="*/ 1 h 158"/>
                <a:gd name="T60" fmla="*/ 3 w 143"/>
                <a:gd name="T61" fmla="*/ 0 h 158"/>
                <a:gd name="T62" fmla="*/ 3 w 143"/>
                <a:gd name="T63" fmla="*/ 0 h 158"/>
                <a:gd name="T64" fmla="*/ 3 w 143"/>
                <a:gd name="T65" fmla="*/ 0 h 158"/>
                <a:gd name="T66" fmla="*/ 1 w 143"/>
                <a:gd name="T67" fmla="*/ 0 h 158"/>
                <a:gd name="T68" fmla="*/ 1 w 143"/>
                <a:gd name="T69" fmla="*/ 0 h 158"/>
                <a:gd name="T70" fmla="*/ 0 w 143"/>
                <a:gd name="T71" fmla="*/ 0 h 158"/>
                <a:gd name="T72" fmla="*/ 0 w 143"/>
                <a:gd name="T73" fmla="*/ 0 h 158"/>
                <a:gd name="T74" fmla="*/ 0 w 143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3"/>
                <a:gd name="T115" fmla="*/ 0 h 158"/>
                <a:gd name="T116" fmla="*/ 143 w 143"/>
                <a:gd name="T117" fmla="*/ 158 h 1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3" h="158">
                  <a:moveTo>
                    <a:pt x="0" y="11"/>
                  </a:moveTo>
                  <a:cubicBezTo>
                    <a:pt x="17" y="14"/>
                    <a:pt x="24" y="30"/>
                    <a:pt x="24" y="3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70" y="75"/>
                    <a:pt x="71" y="84"/>
                  </a:cubicBezTo>
                  <a:cubicBezTo>
                    <a:pt x="72" y="93"/>
                    <a:pt x="69" y="106"/>
                    <a:pt x="69" y="106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67" y="122"/>
                    <a:pt x="67" y="129"/>
                  </a:cubicBezTo>
                  <a:cubicBezTo>
                    <a:pt x="67" y="136"/>
                    <a:pt x="73" y="143"/>
                    <a:pt x="73" y="143"/>
                  </a:cubicBezTo>
                  <a:cubicBezTo>
                    <a:pt x="73" y="143"/>
                    <a:pt x="72" y="151"/>
                    <a:pt x="75" y="158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92" y="155"/>
                    <a:pt x="88" y="145"/>
                    <a:pt x="88" y="141"/>
                  </a:cubicBezTo>
                  <a:cubicBezTo>
                    <a:pt x="88" y="137"/>
                    <a:pt x="104" y="129"/>
                    <a:pt x="104" y="129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3" y="120"/>
                    <a:pt x="98" y="110"/>
                    <a:pt x="97" y="106"/>
                  </a:cubicBezTo>
                  <a:cubicBezTo>
                    <a:pt x="96" y="102"/>
                    <a:pt x="113" y="102"/>
                    <a:pt x="113" y="102"/>
                  </a:cubicBezTo>
                  <a:cubicBezTo>
                    <a:pt x="113" y="102"/>
                    <a:pt x="119" y="110"/>
                    <a:pt x="126" y="109"/>
                  </a:cubicBezTo>
                  <a:cubicBezTo>
                    <a:pt x="133" y="108"/>
                    <a:pt x="143" y="104"/>
                    <a:pt x="143" y="104"/>
                  </a:cubicBezTo>
                  <a:cubicBezTo>
                    <a:pt x="143" y="104"/>
                    <a:pt x="142" y="90"/>
                    <a:pt x="141" y="83"/>
                  </a:cubicBezTo>
                  <a:cubicBezTo>
                    <a:pt x="140" y="76"/>
                    <a:pt x="127" y="79"/>
                    <a:pt x="120" y="77"/>
                  </a:cubicBezTo>
                  <a:cubicBezTo>
                    <a:pt x="113" y="75"/>
                    <a:pt x="122" y="61"/>
                    <a:pt x="122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08" y="58"/>
                    <a:pt x="105" y="58"/>
                  </a:cubicBezTo>
                  <a:cubicBezTo>
                    <a:pt x="102" y="58"/>
                    <a:pt x="105" y="43"/>
                    <a:pt x="105" y="43"/>
                  </a:cubicBezTo>
                  <a:cubicBezTo>
                    <a:pt x="105" y="43"/>
                    <a:pt x="114" y="34"/>
                    <a:pt x="103" y="26"/>
                  </a:cubicBezTo>
                  <a:cubicBezTo>
                    <a:pt x="92" y="18"/>
                    <a:pt x="83" y="24"/>
                    <a:pt x="83" y="24"/>
                  </a:cubicBezTo>
                  <a:cubicBezTo>
                    <a:pt x="83" y="24"/>
                    <a:pt x="83" y="17"/>
                    <a:pt x="78" y="13"/>
                  </a:cubicBezTo>
                  <a:cubicBezTo>
                    <a:pt x="73" y="9"/>
                    <a:pt x="66" y="12"/>
                    <a:pt x="57" y="12"/>
                  </a:cubicBezTo>
                  <a:cubicBezTo>
                    <a:pt x="48" y="12"/>
                    <a:pt x="52" y="7"/>
                    <a:pt x="52" y="7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2" y="0"/>
                    <a:pt x="33" y="1"/>
                  </a:cubicBezTo>
                  <a:cubicBezTo>
                    <a:pt x="24" y="2"/>
                    <a:pt x="24" y="7"/>
                    <a:pt x="18" y="8"/>
                  </a:cubicBezTo>
                  <a:cubicBezTo>
                    <a:pt x="12" y="9"/>
                    <a:pt x="2" y="3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B28471E-A029-1E2E-1CB7-6ED335E15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2168" y="2659746"/>
              <a:ext cx="9146" cy="9146"/>
            </a:xfrm>
            <a:custGeom>
              <a:avLst/>
              <a:gdLst>
                <a:gd name="T0" fmla="*/ 1 w 15"/>
                <a:gd name="T1" fmla="*/ 0 h 16"/>
                <a:gd name="T2" fmla="*/ 0 w 15"/>
                <a:gd name="T3" fmla="*/ 1 h 16"/>
                <a:gd name="T4" fmla="*/ 1 w 15"/>
                <a:gd name="T5" fmla="*/ 1 h 16"/>
                <a:gd name="T6" fmla="*/ 1 w 15"/>
                <a:gd name="T7" fmla="*/ 1 h 16"/>
                <a:gd name="T8" fmla="*/ 1 w 15"/>
                <a:gd name="T9" fmla="*/ 0 h 16"/>
                <a:gd name="T10" fmla="*/ 1 w 15"/>
                <a:gd name="T11" fmla="*/ 0 h 16"/>
                <a:gd name="T12" fmla="*/ 1 w 15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6"/>
                <a:gd name="T23" fmla="*/ 15 w 1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6">
                  <a:moveTo>
                    <a:pt x="11" y="1"/>
                  </a:moveTo>
                  <a:cubicBezTo>
                    <a:pt x="6" y="3"/>
                    <a:pt x="0" y="11"/>
                    <a:pt x="4" y="14"/>
                  </a:cubicBezTo>
                  <a:cubicBezTo>
                    <a:pt x="8" y="16"/>
                    <a:pt x="12" y="16"/>
                    <a:pt x="1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4"/>
                    <a:pt x="15" y="9"/>
                    <a:pt x="15" y="6"/>
                  </a:cubicBezTo>
                  <a:cubicBezTo>
                    <a:pt x="15" y="4"/>
                    <a:pt x="14" y="2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70E4DF66-60D0-1DEA-7A7B-AD1495632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725" y="2671940"/>
              <a:ext cx="79265" cy="44206"/>
            </a:xfrm>
            <a:custGeom>
              <a:avLst/>
              <a:gdLst>
                <a:gd name="T0" fmla="*/ 1 w 138"/>
                <a:gd name="T1" fmla="*/ 4 h 80"/>
                <a:gd name="T2" fmla="*/ 2 w 138"/>
                <a:gd name="T3" fmla="*/ 4 h 80"/>
                <a:gd name="T4" fmla="*/ 2 w 138"/>
                <a:gd name="T5" fmla="*/ 3 h 80"/>
                <a:gd name="T6" fmla="*/ 2 w 138"/>
                <a:gd name="T7" fmla="*/ 4 h 80"/>
                <a:gd name="T8" fmla="*/ 3 w 138"/>
                <a:gd name="T9" fmla="*/ 4 h 80"/>
                <a:gd name="T10" fmla="*/ 3 w 138"/>
                <a:gd name="T11" fmla="*/ 3 h 80"/>
                <a:gd name="T12" fmla="*/ 3 w 138"/>
                <a:gd name="T13" fmla="*/ 4 h 80"/>
                <a:gd name="T14" fmla="*/ 4 w 138"/>
                <a:gd name="T15" fmla="*/ 4 h 80"/>
                <a:gd name="T16" fmla="*/ 5 w 138"/>
                <a:gd name="T17" fmla="*/ 4 h 80"/>
                <a:gd name="T18" fmla="*/ 5 w 138"/>
                <a:gd name="T19" fmla="*/ 3 h 80"/>
                <a:gd name="T20" fmla="*/ 5 w 138"/>
                <a:gd name="T21" fmla="*/ 3 h 80"/>
                <a:gd name="T22" fmla="*/ 5 w 138"/>
                <a:gd name="T23" fmla="*/ 3 h 80"/>
                <a:gd name="T24" fmla="*/ 5 w 138"/>
                <a:gd name="T25" fmla="*/ 2 h 80"/>
                <a:gd name="T26" fmla="*/ 6 w 138"/>
                <a:gd name="T27" fmla="*/ 2 h 80"/>
                <a:gd name="T28" fmla="*/ 6 w 138"/>
                <a:gd name="T29" fmla="*/ 1 h 80"/>
                <a:gd name="T30" fmla="*/ 7 w 138"/>
                <a:gd name="T31" fmla="*/ 1 h 80"/>
                <a:gd name="T32" fmla="*/ 8 w 138"/>
                <a:gd name="T33" fmla="*/ 1 h 80"/>
                <a:gd name="T34" fmla="*/ 7 w 138"/>
                <a:gd name="T35" fmla="*/ 1 h 80"/>
                <a:gd name="T36" fmla="*/ 7 w 138"/>
                <a:gd name="T37" fmla="*/ 0 h 80"/>
                <a:gd name="T38" fmla="*/ 6 w 138"/>
                <a:gd name="T39" fmla="*/ 0 h 80"/>
                <a:gd name="T40" fmla="*/ 6 w 138"/>
                <a:gd name="T41" fmla="*/ 0 h 80"/>
                <a:gd name="T42" fmla="*/ 6 w 138"/>
                <a:gd name="T43" fmla="*/ 1 h 80"/>
                <a:gd name="T44" fmla="*/ 5 w 138"/>
                <a:gd name="T45" fmla="*/ 1 h 80"/>
                <a:gd name="T46" fmla="*/ 5 w 138"/>
                <a:gd name="T47" fmla="*/ 1 h 80"/>
                <a:gd name="T48" fmla="*/ 3 w 138"/>
                <a:gd name="T49" fmla="*/ 1 h 80"/>
                <a:gd name="T50" fmla="*/ 3 w 138"/>
                <a:gd name="T51" fmla="*/ 1 h 80"/>
                <a:gd name="T52" fmla="*/ 2 w 138"/>
                <a:gd name="T53" fmla="*/ 1 h 80"/>
                <a:gd name="T54" fmla="*/ 2 w 138"/>
                <a:gd name="T55" fmla="*/ 1 h 80"/>
                <a:gd name="T56" fmla="*/ 1 w 138"/>
                <a:gd name="T57" fmla="*/ 1 h 80"/>
                <a:gd name="T58" fmla="*/ 0 w 138"/>
                <a:gd name="T59" fmla="*/ 1 h 80"/>
                <a:gd name="T60" fmla="*/ 0 w 138"/>
                <a:gd name="T61" fmla="*/ 1 h 80"/>
                <a:gd name="T62" fmla="*/ 0 w 138"/>
                <a:gd name="T63" fmla="*/ 2 h 80"/>
                <a:gd name="T64" fmla="*/ 0 w 138"/>
                <a:gd name="T65" fmla="*/ 3 h 80"/>
                <a:gd name="T66" fmla="*/ 1 w 138"/>
                <a:gd name="T67" fmla="*/ 3 h 80"/>
                <a:gd name="T68" fmla="*/ 1 w 138"/>
                <a:gd name="T69" fmla="*/ 4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8"/>
                <a:gd name="T106" fmla="*/ 0 h 80"/>
                <a:gd name="T107" fmla="*/ 138 w 138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8" h="80">
                  <a:moveTo>
                    <a:pt x="18" y="80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3" y="74"/>
                    <a:pt x="59" y="75"/>
                  </a:cubicBezTo>
                  <a:cubicBezTo>
                    <a:pt x="65" y="76"/>
                    <a:pt x="72" y="75"/>
                    <a:pt x="72" y="75"/>
                  </a:cubicBezTo>
                  <a:cubicBezTo>
                    <a:pt x="72" y="75"/>
                    <a:pt x="77" y="77"/>
                    <a:pt x="82" y="75"/>
                  </a:cubicBezTo>
                  <a:cubicBezTo>
                    <a:pt x="87" y="73"/>
                    <a:pt x="83" y="62"/>
                    <a:pt x="83" y="62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97" y="44"/>
                    <a:pt x="97" y="40"/>
                  </a:cubicBezTo>
                  <a:cubicBezTo>
                    <a:pt x="97" y="36"/>
                    <a:pt x="106" y="36"/>
                    <a:pt x="106" y="36"/>
                  </a:cubicBezTo>
                  <a:cubicBezTo>
                    <a:pt x="106" y="36"/>
                    <a:pt x="116" y="36"/>
                    <a:pt x="122" y="32"/>
                  </a:cubicBezTo>
                  <a:cubicBezTo>
                    <a:pt x="128" y="28"/>
                    <a:pt x="125" y="24"/>
                    <a:pt x="125" y="24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27"/>
                    <a:pt x="50" y="27"/>
                  </a:cubicBezTo>
                  <a:cubicBezTo>
                    <a:pt x="43" y="27"/>
                    <a:pt x="35" y="25"/>
                    <a:pt x="35" y="25"/>
                  </a:cubicBezTo>
                  <a:cubicBezTo>
                    <a:pt x="35" y="25"/>
                    <a:pt x="29" y="21"/>
                    <a:pt x="26" y="21"/>
                  </a:cubicBezTo>
                  <a:cubicBezTo>
                    <a:pt x="23" y="21"/>
                    <a:pt x="14" y="25"/>
                    <a:pt x="14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30"/>
                    <a:pt x="0" y="34"/>
                    <a:pt x="0" y="3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26" y="66"/>
                    <a:pt x="23" y="70"/>
                  </a:cubicBezTo>
                  <a:cubicBezTo>
                    <a:pt x="22" y="72"/>
                    <a:pt x="20" y="76"/>
                    <a:pt x="18" y="8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CC6EA35B-18AE-32F2-0F22-E8356CF48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039" y="2592675"/>
              <a:ext cx="134141" cy="56401"/>
            </a:xfrm>
            <a:custGeom>
              <a:avLst/>
              <a:gdLst>
                <a:gd name="T0" fmla="*/ 12 w 239"/>
                <a:gd name="T1" fmla="*/ 1 h 98"/>
                <a:gd name="T2" fmla="*/ 11 w 239"/>
                <a:gd name="T3" fmla="*/ 1 h 98"/>
                <a:gd name="T4" fmla="*/ 10 w 239"/>
                <a:gd name="T5" fmla="*/ 0 h 98"/>
                <a:gd name="T6" fmla="*/ 8 w 239"/>
                <a:gd name="T7" fmla="*/ 1 h 98"/>
                <a:gd name="T8" fmla="*/ 8 w 239"/>
                <a:gd name="T9" fmla="*/ 1 h 98"/>
                <a:gd name="T10" fmla="*/ 7 w 239"/>
                <a:gd name="T11" fmla="*/ 0 h 98"/>
                <a:gd name="T12" fmla="*/ 7 w 239"/>
                <a:gd name="T13" fmla="*/ 1 h 98"/>
                <a:gd name="T14" fmla="*/ 6 w 239"/>
                <a:gd name="T15" fmla="*/ 1 h 98"/>
                <a:gd name="T16" fmla="*/ 6 w 239"/>
                <a:gd name="T17" fmla="*/ 1 h 98"/>
                <a:gd name="T18" fmla="*/ 6 w 239"/>
                <a:gd name="T19" fmla="*/ 0 h 98"/>
                <a:gd name="T20" fmla="*/ 5 w 239"/>
                <a:gd name="T21" fmla="*/ 0 h 98"/>
                <a:gd name="T22" fmla="*/ 4 w 239"/>
                <a:gd name="T23" fmla="*/ 0 h 98"/>
                <a:gd name="T24" fmla="*/ 4 w 239"/>
                <a:gd name="T25" fmla="*/ 0 h 98"/>
                <a:gd name="T26" fmla="*/ 3 w 239"/>
                <a:gd name="T27" fmla="*/ 1 h 98"/>
                <a:gd name="T28" fmla="*/ 3 w 239"/>
                <a:gd name="T29" fmla="*/ 2 h 98"/>
                <a:gd name="T30" fmla="*/ 2 w 239"/>
                <a:gd name="T31" fmla="*/ 2 h 98"/>
                <a:gd name="T32" fmla="*/ 1 w 239"/>
                <a:gd name="T33" fmla="*/ 2 h 98"/>
                <a:gd name="T34" fmla="*/ 0 w 239"/>
                <a:gd name="T35" fmla="*/ 2 h 98"/>
                <a:gd name="T36" fmla="*/ 0 w 239"/>
                <a:gd name="T37" fmla="*/ 2 h 98"/>
                <a:gd name="T38" fmla="*/ 0 w 239"/>
                <a:gd name="T39" fmla="*/ 3 h 98"/>
                <a:gd name="T40" fmla="*/ 0 w 239"/>
                <a:gd name="T41" fmla="*/ 4 h 98"/>
                <a:gd name="T42" fmla="*/ 0 w 239"/>
                <a:gd name="T43" fmla="*/ 4 h 98"/>
                <a:gd name="T44" fmla="*/ 0 w 239"/>
                <a:gd name="T45" fmla="*/ 5 h 98"/>
                <a:gd name="T46" fmla="*/ 0 w 239"/>
                <a:gd name="T47" fmla="*/ 5 h 98"/>
                <a:gd name="T48" fmla="*/ 1 w 239"/>
                <a:gd name="T49" fmla="*/ 5 h 98"/>
                <a:gd name="T50" fmla="*/ 1 w 239"/>
                <a:gd name="T51" fmla="*/ 5 h 98"/>
                <a:gd name="T52" fmla="*/ 2 w 239"/>
                <a:gd name="T53" fmla="*/ 5 h 98"/>
                <a:gd name="T54" fmla="*/ 4 w 239"/>
                <a:gd name="T55" fmla="*/ 5 h 98"/>
                <a:gd name="T56" fmla="*/ 4 w 239"/>
                <a:gd name="T57" fmla="*/ 4 h 98"/>
                <a:gd name="T58" fmla="*/ 6 w 239"/>
                <a:gd name="T59" fmla="*/ 5 h 98"/>
                <a:gd name="T60" fmla="*/ 6 w 239"/>
                <a:gd name="T61" fmla="*/ 4 h 98"/>
                <a:gd name="T62" fmla="*/ 7 w 239"/>
                <a:gd name="T63" fmla="*/ 4 h 98"/>
                <a:gd name="T64" fmla="*/ 8 w 239"/>
                <a:gd name="T65" fmla="*/ 3 h 98"/>
                <a:gd name="T66" fmla="*/ 8 w 239"/>
                <a:gd name="T67" fmla="*/ 3 h 98"/>
                <a:gd name="T68" fmla="*/ 9 w 239"/>
                <a:gd name="T69" fmla="*/ 3 h 98"/>
                <a:gd name="T70" fmla="*/ 9 w 239"/>
                <a:gd name="T71" fmla="*/ 3 h 98"/>
                <a:gd name="T72" fmla="*/ 9 w 239"/>
                <a:gd name="T73" fmla="*/ 3 h 98"/>
                <a:gd name="T74" fmla="*/ 10 w 239"/>
                <a:gd name="T75" fmla="*/ 3 h 98"/>
                <a:gd name="T76" fmla="*/ 11 w 239"/>
                <a:gd name="T77" fmla="*/ 3 h 98"/>
                <a:gd name="T78" fmla="*/ 11 w 239"/>
                <a:gd name="T79" fmla="*/ 3 h 98"/>
                <a:gd name="T80" fmla="*/ 11 w 239"/>
                <a:gd name="T81" fmla="*/ 3 h 98"/>
                <a:gd name="T82" fmla="*/ 12 w 239"/>
                <a:gd name="T83" fmla="*/ 2 h 98"/>
                <a:gd name="T84" fmla="*/ 12 w 239"/>
                <a:gd name="T85" fmla="*/ 2 h 98"/>
                <a:gd name="T86" fmla="*/ 12 w 239"/>
                <a:gd name="T87" fmla="*/ 1 h 9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9"/>
                <a:gd name="T133" fmla="*/ 0 h 98"/>
                <a:gd name="T134" fmla="*/ 239 w 239"/>
                <a:gd name="T135" fmla="*/ 98 h 9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9" h="98">
                  <a:moveTo>
                    <a:pt x="233" y="23"/>
                  </a:moveTo>
                  <a:cubicBezTo>
                    <a:pt x="227" y="23"/>
                    <a:pt x="221" y="25"/>
                    <a:pt x="214" y="19"/>
                  </a:cubicBezTo>
                  <a:cubicBezTo>
                    <a:pt x="207" y="13"/>
                    <a:pt x="208" y="6"/>
                    <a:pt x="194" y="6"/>
                  </a:cubicBezTo>
                  <a:cubicBezTo>
                    <a:pt x="180" y="6"/>
                    <a:pt x="175" y="14"/>
                    <a:pt x="170" y="14"/>
                  </a:cubicBezTo>
                  <a:cubicBezTo>
                    <a:pt x="165" y="14"/>
                    <a:pt x="159" y="10"/>
                    <a:pt x="159" y="10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40" y="9"/>
                    <a:pt x="141" y="18"/>
                    <a:pt x="132" y="18"/>
                  </a:cubicBezTo>
                  <a:cubicBezTo>
                    <a:pt x="123" y="18"/>
                    <a:pt x="126" y="11"/>
                    <a:pt x="126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8" y="4"/>
                    <a:pt x="111" y="2"/>
                  </a:cubicBezTo>
                  <a:cubicBezTo>
                    <a:pt x="104" y="0"/>
                    <a:pt x="94" y="8"/>
                    <a:pt x="91" y="8"/>
                  </a:cubicBezTo>
                  <a:cubicBezTo>
                    <a:pt x="89" y="8"/>
                    <a:pt x="86" y="5"/>
                    <a:pt x="83" y="2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43" y="35"/>
                    <a:pt x="36" y="40"/>
                  </a:cubicBezTo>
                  <a:cubicBezTo>
                    <a:pt x="31" y="43"/>
                    <a:pt x="25" y="41"/>
                    <a:pt x="24" y="39"/>
                  </a:cubicBezTo>
                  <a:cubicBezTo>
                    <a:pt x="21" y="40"/>
                    <a:pt x="15" y="40"/>
                    <a:pt x="12" y="41"/>
                  </a:cubicBezTo>
                  <a:cubicBezTo>
                    <a:pt x="8" y="42"/>
                    <a:pt x="3" y="46"/>
                    <a:pt x="3" y="46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6" y="69"/>
                    <a:pt x="7" y="75"/>
                  </a:cubicBezTo>
                  <a:cubicBezTo>
                    <a:pt x="7" y="78"/>
                    <a:pt x="7" y="83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81"/>
                    <a:pt x="23" y="98"/>
                    <a:pt x="40" y="97"/>
                  </a:cubicBezTo>
                  <a:cubicBezTo>
                    <a:pt x="57" y="96"/>
                    <a:pt x="81" y="94"/>
                    <a:pt x="81" y="94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41" y="72"/>
                    <a:pt x="144" y="69"/>
                  </a:cubicBezTo>
                  <a:cubicBezTo>
                    <a:pt x="147" y="66"/>
                    <a:pt x="155" y="53"/>
                    <a:pt x="155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63"/>
                    <a:pt x="174" y="63"/>
                    <a:pt x="174" y="63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64"/>
                    <a:pt x="183" y="53"/>
                    <a:pt x="188" y="53"/>
                  </a:cubicBezTo>
                  <a:cubicBezTo>
                    <a:pt x="193" y="53"/>
                    <a:pt x="194" y="63"/>
                    <a:pt x="194" y="63"/>
                  </a:cubicBezTo>
                  <a:cubicBezTo>
                    <a:pt x="194" y="63"/>
                    <a:pt x="215" y="57"/>
                    <a:pt x="223" y="59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4" y="51"/>
                    <a:pt x="224" y="51"/>
                    <a:pt x="224" y="51"/>
                  </a:cubicBezTo>
                  <a:cubicBezTo>
                    <a:pt x="224" y="51"/>
                    <a:pt x="232" y="49"/>
                    <a:pt x="234" y="43"/>
                  </a:cubicBezTo>
                  <a:cubicBezTo>
                    <a:pt x="236" y="37"/>
                    <a:pt x="237" y="30"/>
                    <a:pt x="237" y="30"/>
                  </a:cubicBezTo>
                  <a:cubicBezTo>
                    <a:pt x="237" y="30"/>
                    <a:pt x="239" y="23"/>
                    <a:pt x="233" y="2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3B8C64E1-E207-DA35-1BCD-127EF71E1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7401" y="2389939"/>
              <a:ext cx="131092" cy="76216"/>
            </a:xfrm>
            <a:custGeom>
              <a:avLst/>
              <a:gdLst>
                <a:gd name="T0" fmla="*/ 12 w 230"/>
                <a:gd name="T1" fmla="*/ 2 h 132"/>
                <a:gd name="T2" fmla="*/ 11 w 230"/>
                <a:gd name="T3" fmla="*/ 2 h 132"/>
                <a:gd name="T4" fmla="*/ 10 w 230"/>
                <a:gd name="T5" fmla="*/ 2 h 132"/>
                <a:gd name="T6" fmla="*/ 10 w 230"/>
                <a:gd name="T7" fmla="*/ 1 h 132"/>
                <a:gd name="T8" fmla="*/ 8 w 230"/>
                <a:gd name="T9" fmla="*/ 1 h 132"/>
                <a:gd name="T10" fmla="*/ 7 w 230"/>
                <a:gd name="T11" fmla="*/ 0 h 132"/>
                <a:gd name="T12" fmla="*/ 7 w 230"/>
                <a:gd name="T13" fmla="*/ 1 h 132"/>
                <a:gd name="T14" fmla="*/ 6 w 230"/>
                <a:gd name="T15" fmla="*/ 0 h 132"/>
                <a:gd name="T16" fmla="*/ 6 w 230"/>
                <a:gd name="T17" fmla="*/ 1 h 132"/>
                <a:gd name="T18" fmla="*/ 4 w 230"/>
                <a:gd name="T19" fmla="*/ 0 h 132"/>
                <a:gd name="T20" fmla="*/ 4 w 230"/>
                <a:gd name="T21" fmla="*/ 0 h 132"/>
                <a:gd name="T22" fmla="*/ 3 w 230"/>
                <a:gd name="T23" fmla="*/ 0 h 132"/>
                <a:gd name="T24" fmla="*/ 2 w 230"/>
                <a:gd name="T25" fmla="*/ 0 h 132"/>
                <a:gd name="T26" fmla="*/ 1 w 230"/>
                <a:gd name="T27" fmla="*/ 1 h 132"/>
                <a:gd name="T28" fmla="*/ 0 w 230"/>
                <a:gd name="T29" fmla="*/ 1 h 132"/>
                <a:gd name="T30" fmla="*/ 0 w 230"/>
                <a:gd name="T31" fmla="*/ 1 h 132"/>
                <a:gd name="T32" fmla="*/ 0 w 230"/>
                <a:gd name="T33" fmla="*/ 3 h 132"/>
                <a:gd name="T34" fmla="*/ 1 w 230"/>
                <a:gd name="T35" fmla="*/ 3 h 132"/>
                <a:gd name="T36" fmla="*/ 1 w 230"/>
                <a:gd name="T37" fmla="*/ 3 h 132"/>
                <a:gd name="T38" fmla="*/ 1 w 230"/>
                <a:gd name="T39" fmla="*/ 4 h 132"/>
                <a:gd name="T40" fmla="*/ 1 w 230"/>
                <a:gd name="T41" fmla="*/ 4 h 132"/>
                <a:gd name="T42" fmla="*/ 1 w 230"/>
                <a:gd name="T43" fmla="*/ 4 h 132"/>
                <a:gd name="T44" fmla="*/ 3 w 230"/>
                <a:gd name="T45" fmla="*/ 4 h 132"/>
                <a:gd name="T46" fmla="*/ 4 w 230"/>
                <a:gd name="T47" fmla="*/ 5 h 132"/>
                <a:gd name="T48" fmla="*/ 3 w 230"/>
                <a:gd name="T49" fmla="*/ 5 h 132"/>
                <a:gd name="T50" fmla="*/ 4 w 230"/>
                <a:gd name="T51" fmla="*/ 6 h 132"/>
                <a:gd name="T52" fmla="*/ 4 w 230"/>
                <a:gd name="T53" fmla="*/ 6 h 132"/>
                <a:gd name="T54" fmla="*/ 6 w 230"/>
                <a:gd name="T55" fmla="*/ 6 h 132"/>
                <a:gd name="T56" fmla="*/ 6 w 230"/>
                <a:gd name="T57" fmla="*/ 7 h 132"/>
                <a:gd name="T58" fmla="*/ 7 w 230"/>
                <a:gd name="T59" fmla="*/ 7 h 132"/>
                <a:gd name="T60" fmla="*/ 7 w 230"/>
                <a:gd name="T61" fmla="*/ 7 h 132"/>
                <a:gd name="T62" fmla="*/ 8 w 230"/>
                <a:gd name="T63" fmla="*/ 7 h 132"/>
                <a:gd name="T64" fmla="*/ 8 w 230"/>
                <a:gd name="T65" fmla="*/ 6 h 132"/>
                <a:gd name="T66" fmla="*/ 9 w 230"/>
                <a:gd name="T67" fmla="*/ 7 h 132"/>
                <a:gd name="T68" fmla="*/ 9 w 230"/>
                <a:gd name="T69" fmla="*/ 6 h 132"/>
                <a:gd name="T70" fmla="*/ 10 w 230"/>
                <a:gd name="T71" fmla="*/ 6 h 132"/>
                <a:gd name="T72" fmla="*/ 10 w 230"/>
                <a:gd name="T73" fmla="*/ 7 h 132"/>
                <a:gd name="T74" fmla="*/ 10 w 230"/>
                <a:gd name="T75" fmla="*/ 6 h 132"/>
                <a:gd name="T76" fmla="*/ 10 w 230"/>
                <a:gd name="T77" fmla="*/ 5 h 132"/>
                <a:gd name="T78" fmla="*/ 10 w 230"/>
                <a:gd name="T79" fmla="*/ 5 h 132"/>
                <a:gd name="T80" fmla="*/ 11 w 230"/>
                <a:gd name="T81" fmla="*/ 4 h 132"/>
                <a:gd name="T82" fmla="*/ 10 w 230"/>
                <a:gd name="T83" fmla="*/ 3 h 132"/>
                <a:gd name="T84" fmla="*/ 11 w 230"/>
                <a:gd name="T85" fmla="*/ 4 h 132"/>
                <a:gd name="T86" fmla="*/ 12 w 230"/>
                <a:gd name="T87" fmla="*/ 3 h 132"/>
                <a:gd name="T88" fmla="*/ 11 w 230"/>
                <a:gd name="T89" fmla="*/ 3 h 132"/>
                <a:gd name="T90" fmla="*/ 12 w 230"/>
                <a:gd name="T91" fmla="*/ 2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0"/>
                <a:gd name="T139" fmla="*/ 0 h 132"/>
                <a:gd name="T140" fmla="*/ 230 w 230"/>
                <a:gd name="T141" fmla="*/ 132 h 13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0" h="132">
                  <a:moveTo>
                    <a:pt x="222" y="42"/>
                  </a:moveTo>
                  <a:cubicBezTo>
                    <a:pt x="210" y="38"/>
                    <a:pt x="210" y="38"/>
                    <a:pt x="210" y="38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5" y="30"/>
                    <a:pt x="190" y="22"/>
                    <a:pt x="184" y="20"/>
                  </a:cubicBezTo>
                  <a:cubicBezTo>
                    <a:pt x="178" y="18"/>
                    <a:pt x="157" y="17"/>
                    <a:pt x="157" y="17"/>
                  </a:cubicBezTo>
                  <a:cubicBezTo>
                    <a:pt x="157" y="17"/>
                    <a:pt x="151" y="4"/>
                    <a:pt x="145" y="4"/>
                  </a:cubicBezTo>
                  <a:cubicBezTo>
                    <a:pt x="139" y="4"/>
                    <a:pt x="136" y="12"/>
                    <a:pt x="128" y="12"/>
                  </a:cubicBezTo>
                  <a:cubicBezTo>
                    <a:pt x="120" y="12"/>
                    <a:pt x="118" y="8"/>
                    <a:pt x="113" y="8"/>
                  </a:cubicBezTo>
                  <a:cubicBezTo>
                    <a:pt x="108" y="8"/>
                    <a:pt x="104" y="13"/>
                    <a:pt x="104" y="13"/>
                  </a:cubicBezTo>
                  <a:cubicBezTo>
                    <a:pt x="104" y="13"/>
                    <a:pt x="84" y="6"/>
                    <a:pt x="81" y="7"/>
                  </a:cubicBezTo>
                  <a:cubicBezTo>
                    <a:pt x="78" y="8"/>
                    <a:pt x="73" y="9"/>
                    <a:pt x="73" y="9"/>
                  </a:cubicBezTo>
                  <a:cubicBezTo>
                    <a:pt x="73" y="9"/>
                    <a:pt x="66" y="4"/>
                    <a:pt x="60" y="2"/>
                  </a:cubicBezTo>
                  <a:cubicBezTo>
                    <a:pt x="54" y="0"/>
                    <a:pt x="52" y="2"/>
                    <a:pt x="46" y="5"/>
                  </a:cubicBezTo>
                  <a:cubicBezTo>
                    <a:pt x="40" y="8"/>
                    <a:pt x="33" y="8"/>
                    <a:pt x="13" y="11"/>
                  </a:cubicBezTo>
                  <a:cubicBezTo>
                    <a:pt x="7" y="12"/>
                    <a:pt x="3" y="14"/>
                    <a:pt x="0" y="16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58"/>
                    <a:pt x="11" y="60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56" y="72"/>
                    <a:pt x="64" y="71"/>
                  </a:cubicBezTo>
                  <a:cubicBezTo>
                    <a:pt x="72" y="70"/>
                    <a:pt x="75" y="81"/>
                    <a:pt x="74" y="86"/>
                  </a:cubicBezTo>
                  <a:cubicBezTo>
                    <a:pt x="73" y="91"/>
                    <a:pt x="65" y="98"/>
                    <a:pt x="65" y="98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1" y="108"/>
                    <a:pt x="73" y="108"/>
                    <a:pt x="74" y="108"/>
                  </a:cubicBezTo>
                  <a:cubicBezTo>
                    <a:pt x="87" y="110"/>
                    <a:pt x="103" y="119"/>
                    <a:pt x="103" y="119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19" y="128"/>
                    <a:pt x="127" y="127"/>
                  </a:cubicBezTo>
                  <a:cubicBezTo>
                    <a:pt x="135" y="126"/>
                    <a:pt x="137" y="132"/>
                    <a:pt x="137" y="132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5" y="130"/>
                    <a:pt x="165" y="130"/>
                    <a:pt x="165" y="130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9" y="122"/>
                    <a:pt x="177" y="115"/>
                    <a:pt x="187" y="115"/>
                  </a:cubicBezTo>
                  <a:cubicBezTo>
                    <a:pt x="197" y="115"/>
                    <a:pt x="186" y="124"/>
                    <a:pt x="193" y="123"/>
                  </a:cubicBezTo>
                  <a:cubicBezTo>
                    <a:pt x="200" y="122"/>
                    <a:pt x="193" y="111"/>
                    <a:pt x="188" y="103"/>
                  </a:cubicBezTo>
                  <a:cubicBezTo>
                    <a:pt x="183" y="95"/>
                    <a:pt x="195" y="96"/>
                    <a:pt x="195" y="96"/>
                  </a:cubicBezTo>
                  <a:cubicBezTo>
                    <a:pt x="195" y="96"/>
                    <a:pt x="191" y="88"/>
                    <a:pt x="193" y="81"/>
                  </a:cubicBezTo>
                  <a:cubicBezTo>
                    <a:pt x="195" y="74"/>
                    <a:pt x="208" y="79"/>
                    <a:pt x="208" y="79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11" y="71"/>
                    <a:pt x="217" y="71"/>
                  </a:cubicBezTo>
                  <a:cubicBezTo>
                    <a:pt x="223" y="71"/>
                    <a:pt x="230" y="65"/>
                    <a:pt x="230" y="65"/>
                  </a:cubicBezTo>
                  <a:cubicBezTo>
                    <a:pt x="230" y="65"/>
                    <a:pt x="214" y="55"/>
                    <a:pt x="216" y="50"/>
                  </a:cubicBezTo>
                  <a:cubicBezTo>
                    <a:pt x="217" y="48"/>
                    <a:pt x="219" y="45"/>
                    <a:pt x="222" y="4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B7504127-688B-8EB0-FC8E-77BD19BD0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378" y="2644502"/>
              <a:ext cx="112800" cy="62498"/>
            </a:xfrm>
            <a:custGeom>
              <a:avLst/>
              <a:gdLst>
                <a:gd name="T0" fmla="*/ 5 w 196"/>
                <a:gd name="T1" fmla="*/ 1 h 109"/>
                <a:gd name="T2" fmla="*/ 5 w 196"/>
                <a:gd name="T3" fmla="*/ 1 h 109"/>
                <a:gd name="T4" fmla="*/ 4 w 196"/>
                <a:gd name="T5" fmla="*/ 1 h 109"/>
                <a:gd name="T6" fmla="*/ 4 w 196"/>
                <a:gd name="T7" fmla="*/ 1 h 109"/>
                <a:gd name="T8" fmla="*/ 3 w 196"/>
                <a:gd name="T9" fmla="*/ 2 h 109"/>
                <a:gd name="T10" fmla="*/ 3 w 196"/>
                <a:gd name="T11" fmla="*/ 1 h 109"/>
                <a:gd name="T12" fmla="*/ 3 w 196"/>
                <a:gd name="T13" fmla="*/ 2 h 109"/>
                <a:gd name="T14" fmla="*/ 2 w 196"/>
                <a:gd name="T15" fmla="*/ 2 h 109"/>
                <a:gd name="T16" fmla="*/ 1 w 196"/>
                <a:gd name="T17" fmla="*/ 2 h 109"/>
                <a:gd name="T18" fmla="*/ 1 w 196"/>
                <a:gd name="T19" fmla="*/ 3 h 109"/>
                <a:gd name="T20" fmla="*/ 0 w 196"/>
                <a:gd name="T21" fmla="*/ 4 h 109"/>
                <a:gd name="T22" fmla="*/ 1 w 196"/>
                <a:gd name="T23" fmla="*/ 4 h 109"/>
                <a:gd name="T24" fmla="*/ 0 w 196"/>
                <a:gd name="T25" fmla="*/ 5 h 109"/>
                <a:gd name="T26" fmla="*/ 1 w 196"/>
                <a:gd name="T27" fmla="*/ 4 h 109"/>
                <a:gd name="T28" fmla="*/ 2 w 196"/>
                <a:gd name="T29" fmla="*/ 4 h 109"/>
                <a:gd name="T30" fmla="*/ 2 w 196"/>
                <a:gd name="T31" fmla="*/ 5 h 109"/>
                <a:gd name="T32" fmla="*/ 2 w 196"/>
                <a:gd name="T33" fmla="*/ 6 h 109"/>
                <a:gd name="T34" fmla="*/ 3 w 196"/>
                <a:gd name="T35" fmla="*/ 6 h 109"/>
                <a:gd name="T36" fmla="*/ 3 w 196"/>
                <a:gd name="T37" fmla="*/ 5 h 109"/>
                <a:gd name="T38" fmla="*/ 5 w 196"/>
                <a:gd name="T39" fmla="*/ 5 h 109"/>
                <a:gd name="T40" fmla="*/ 5 w 196"/>
                <a:gd name="T41" fmla="*/ 4 h 109"/>
                <a:gd name="T42" fmla="*/ 6 w 196"/>
                <a:gd name="T43" fmla="*/ 4 h 109"/>
                <a:gd name="T44" fmla="*/ 6 w 196"/>
                <a:gd name="T45" fmla="*/ 5 h 109"/>
                <a:gd name="T46" fmla="*/ 6 w 196"/>
                <a:gd name="T47" fmla="*/ 5 h 109"/>
                <a:gd name="T48" fmla="*/ 7 w 196"/>
                <a:gd name="T49" fmla="*/ 6 h 109"/>
                <a:gd name="T50" fmla="*/ 7 w 196"/>
                <a:gd name="T51" fmla="*/ 5 h 109"/>
                <a:gd name="T52" fmla="*/ 8 w 196"/>
                <a:gd name="T53" fmla="*/ 5 h 109"/>
                <a:gd name="T54" fmla="*/ 8 w 196"/>
                <a:gd name="T55" fmla="*/ 4 h 109"/>
                <a:gd name="T56" fmla="*/ 8 w 196"/>
                <a:gd name="T57" fmla="*/ 5 h 109"/>
                <a:gd name="T58" fmla="*/ 9 w 196"/>
                <a:gd name="T59" fmla="*/ 4 h 109"/>
                <a:gd name="T60" fmla="*/ 9 w 196"/>
                <a:gd name="T61" fmla="*/ 5 h 109"/>
                <a:gd name="T62" fmla="*/ 10 w 196"/>
                <a:gd name="T63" fmla="*/ 4 h 109"/>
                <a:gd name="T64" fmla="*/ 9 w 196"/>
                <a:gd name="T65" fmla="*/ 3 h 109"/>
                <a:gd name="T66" fmla="*/ 10 w 196"/>
                <a:gd name="T67" fmla="*/ 4 h 109"/>
                <a:gd name="T68" fmla="*/ 10 w 196"/>
                <a:gd name="T69" fmla="*/ 3 h 109"/>
                <a:gd name="T70" fmla="*/ 11 w 196"/>
                <a:gd name="T71" fmla="*/ 3 h 109"/>
                <a:gd name="T72" fmla="*/ 10 w 196"/>
                <a:gd name="T73" fmla="*/ 2 h 109"/>
                <a:gd name="T74" fmla="*/ 9 w 196"/>
                <a:gd name="T75" fmla="*/ 3 h 109"/>
                <a:gd name="T76" fmla="*/ 9 w 196"/>
                <a:gd name="T77" fmla="*/ 2 h 109"/>
                <a:gd name="T78" fmla="*/ 8 w 196"/>
                <a:gd name="T79" fmla="*/ 2 h 109"/>
                <a:gd name="T80" fmla="*/ 8 w 196"/>
                <a:gd name="T81" fmla="*/ 2 h 109"/>
                <a:gd name="T82" fmla="*/ 8 w 196"/>
                <a:gd name="T83" fmla="*/ 2 h 109"/>
                <a:gd name="T84" fmla="*/ 8 w 196"/>
                <a:gd name="T85" fmla="*/ 1 h 109"/>
                <a:gd name="T86" fmla="*/ 8 w 196"/>
                <a:gd name="T87" fmla="*/ 1 h 109"/>
                <a:gd name="T88" fmla="*/ 8 w 196"/>
                <a:gd name="T89" fmla="*/ 1 h 109"/>
                <a:gd name="T90" fmla="*/ 7 w 196"/>
                <a:gd name="T91" fmla="*/ 0 h 109"/>
                <a:gd name="T92" fmla="*/ 7 w 196"/>
                <a:gd name="T93" fmla="*/ 0 h 109"/>
                <a:gd name="T94" fmla="*/ 6 w 196"/>
                <a:gd name="T95" fmla="*/ 0 h 109"/>
                <a:gd name="T96" fmla="*/ 6 w 196"/>
                <a:gd name="T97" fmla="*/ 1 h 109"/>
                <a:gd name="T98" fmla="*/ 6 w 196"/>
                <a:gd name="T99" fmla="*/ 1 h 109"/>
                <a:gd name="T100" fmla="*/ 5 w 196"/>
                <a:gd name="T101" fmla="*/ 1 h 10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96"/>
                <a:gd name="T154" fmla="*/ 0 h 109"/>
                <a:gd name="T155" fmla="*/ 196 w 196"/>
                <a:gd name="T156" fmla="*/ 109 h 10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96" h="109">
                  <a:moveTo>
                    <a:pt x="93" y="17"/>
                  </a:moveTo>
                  <a:cubicBezTo>
                    <a:pt x="81" y="17"/>
                    <a:pt x="81" y="17"/>
                    <a:pt x="81" y="17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1" y="37"/>
                    <a:pt x="36" y="43"/>
                  </a:cubicBezTo>
                  <a:cubicBezTo>
                    <a:pt x="31" y="49"/>
                    <a:pt x="25" y="43"/>
                    <a:pt x="25" y="43"/>
                  </a:cubicBezTo>
                  <a:cubicBezTo>
                    <a:pt x="25" y="43"/>
                    <a:pt x="28" y="49"/>
                    <a:pt x="22" y="56"/>
                  </a:cubicBezTo>
                  <a:cubicBezTo>
                    <a:pt x="16" y="63"/>
                    <a:pt x="4" y="72"/>
                    <a:pt x="4" y="72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0" y="88"/>
                    <a:pt x="6" y="89"/>
                  </a:cubicBezTo>
                  <a:cubicBezTo>
                    <a:pt x="12" y="90"/>
                    <a:pt x="17" y="77"/>
                    <a:pt x="24" y="73"/>
                  </a:cubicBezTo>
                  <a:cubicBezTo>
                    <a:pt x="31" y="69"/>
                    <a:pt x="39" y="75"/>
                    <a:pt x="39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45" y="99"/>
                    <a:pt x="45" y="103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3"/>
                    <a:pt x="61" y="96"/>
                    <a:pt x="66" y="96"/>
                  </a:cubicBezTo>
                  <a:cubicBezTo>
                    <a:pt x="71" y="96"/>
                    <a:pt x="76" y="109"/>
                    <a:pt x="86" y="101"/>
                  </a:cubicBezTo>
                  <a:cubicBezTo>
                    <a:pt x="96" y="92"/>
                    <a:pt x="92" y="81"/>
                    <a:pt x="92" y="81"/>
                  </a:cubicBezTo>
                  <a:cubicBezTo>
                    <a:pt x="92" y="81"/>
                    <a:pt x="99" y="75"/>
                    <a:pt x="103" y="75"/>
                  </a:cubicBezTo>
                  <a:cubicBezTo>
                    <a:pt x="107" y="75"/>
                    <a:pt x="111" y="90"/>
                    <a:pt x="111" y="90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75" y="85"/>
                    <a:pt x="175" y="85"/>
                    <a:pt x="175" y="85"/>
                  </a:cubicBezTo>
                  <a:cubicBezTo>
                    <a:pt x="180" y="79"/>
                    <a:pt x="180" y="79"/>
                    <a:pt x="180" y="79"/>
                  </a:cubicBezTo>
                  <a:cubicBezTo>
                    <a:pt x="180" y="79"/>
                    <a:pt x="165" y="68"/>
                    <a:pt x="176" y="66"/>
                  </a:cubicBezTo>
                  <a:cubicBezTo>
                    <a:pt x="187" y="64"/>
                    <a:pt x="189" y="68"/>
                    <a:pt x="189" y="68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5" y="50"/>
                    <a:pt x="192" y="44"/>
                    <a:pt x="187" y="43"/>
                  </a:cubicBezTo>
                  <a:cubicBezTo>
                    <a:pt x="176" y="43"/>
                    <a:pt x="178" y="52"/>
                    <a:pt x="171" y="55"/>
                  </a:cubicBezTo>
                  <a:cubicBezTo>
                    <a:pt x="163" y="57"/>
                    <a:pt x="166" y="43"/>
                    <a:pt x="166" y="43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4" y="44"/>
                    <a:pt x="150" y="44"/>
                    <a:pt x="146" y="42"/>
                  </a:cubicBezTo>
                  <a:cubicBezTo>
                    <a:pt x="142" y="39"/>
                    <a:pt x="148" y="31"/>
                    <a:pt x="153" y="29"/>
                  </a:cubicBezTo>
                  <a:cubicBezTo>
                    <a:pt x="159" y="27"/>
                    <a:pt x="154" y="19"/>
                    <a:pt x="154" y="19"/>
                  </a:cubicBezTo>
                  <a:cubicBezTo>
                    <a:pt x="150" y="19"/>
                    <a:pt x="150" y="19"/>
                    <a:pt x="150" y="1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16" y="0"/>
                    <a:pt x="109" y="1"/>
                  </a:cubicBezTo>
                  <a:cubicBezTo>
                    <a:pt x="102" y="2"/>
                    <a:pt x="107" y="14"/>
                    <a:pt x="107" y="14"/>
                  </a:cubicBezTo>
                  <a:cubicBezTo>
                    <a:pt x="103" y="10"/>
                    <a:pt x="103" y="10"/>
                    <a:pt x="103" y="10"/>
                  </a:cubicBezTo>
                  <a:lnTo>
                    <a:pt x="93" y="1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B6961D43-89D6-2FC7-450B-E085C38C1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6622" y="2665843"/>
              <a:ext cx="297244" cy="317060"/>
            </a:xfrm>
            <a:custGeom>
              <a:avLst/>
              <a:gdLst>
                <a:gd name="T0" fmla="*/ 18 w 523"/>
                <a:gd name="T1" fmla="*/ 26 h 554"/>
                <a:gd name="T2" fmla="*/ 15 w 523"/>
                <a:gd name="T3" fmla="*/ 26 h 554"/>
                <a:gd name="T4" fmla="*/ 15 w 523"/>
                <a:gd name="T5" fmla="*/ 27 h 554"/>
                <a:gd name="T6" fmla="*/ 17 w 523"/>
                <a:gd name="T7" fmla="*/ 28 h 554"/>
                <a:gd name="T8" fmla="*/ 19 w 523"/>
                <a:gd name="T9" fmla="*/ 27 h 554"/>
                <a:gd name="T10" fmla="*/ 20 w 523"/>
                <a:gd name="T11" fmla="*/ 26 h 554"/>
                <a:gd name="T12" fmla="*/ 3 w 523"/>
                <a:gd name="T13" fmla="*/ 17 h 554"/>
                <a:gd name="T14" fmla="*/ 4 w 523"/>
                <a:gd name="T15" fmla="*/ 20 h 554"/>
                <a:gd name="T16" fmla="*/ 4 w 523"/>
                <a:gd name="T17" fmla="*/ 23 h 554"/>
                <a:gd name="T18" fmla="*/ 5 w 523"/>
                <a:gd name="T19" fmla="*/ 22 h 554"/>
                <a:gd name="T20" fmla="*/ 7 w 523"/>
                <a:gd name="T21" fmla="*/ 21 h 554"/>
                <a:gd name="T22" fmla="*/ 7 w 523"/>
                <a:gd name="T23" fmla="*/ 19 h 554"/>
                <a:gd name="T24" fmla="*/ 25 w 523"/>
                <a:gd name="T25" fmla="*/ 18 h 554"/>
                <a:gd name="T26" fmla="*/ 21 w 523"/>
                <a:gd name="T27" fmla="*/ 15 h 554"/>
                <a:gd name="T28" fmla="*/ 16 w 523"/>
                <a:gd name="T29" fmla="*/ 11 h 554"/>
                <a:gd name="T30" fmla="*/ 13 w 523"/>
                <a:gd name="T31" fmla="*/ 8 h 554"/>
                <a:gd name="T32" fmla="*/ 13 w 523"/>
                <a:gd name="T33" fmla="*/ 5 h 554"/>
                <a:gd name="T34" fmla="*/ 15 w 523"/>
                <a:gd name="T35" fmla="*/ 2 h 554"/>
                <a:gd name="T36" fmla="*/ 14 w 523"/>
                <a:gd name="T37" fmla="*/ 2 h 554"/>
                <a:gd name="T38" fmla="*/ 13 w 523"/>
                <a:gd name="T39" fmla="*/ 1 h 554"/>
                <a:gd name="T40" fmla="*/ 10 w 523"/>
                <a:gd name="T41" fmla="*/ 0 h 554"/>
                <a:gd name="T42" fmla="*/ 9 w 523"/>
                <a:gd name="T43" fmla="*/ 1 h 554"/>
                <a:gd name="T44" fmla="*/ 8 w 523"/>
                <a:gd name="T45" fmla="*/ 2 h 554"/>
                <a:gd name="T46" fmla="*/ 6 w 523"/>
                <a:gd name="T47" fmla="*/ 2 h 554"/>
                <a:gd name="T48" fmla="*/ 6 w 523"/>
                <a:gd name="T49" fmla="*/ 3 h 554"/>
                <a:gd name="T50" fmla="*/ 4 w 523"/>
                <a:gd name="T51" fmla="*/ 3 h 554"/>
                <a:gd name="T52" fmla="*/ 3 w 523"/>
                <a:gd name="T53" fmla="*/ 3 h 554"/>
                <a:gd name="T54" fmla="*/ 1 w 523"/>
                <a:gd name="T55" fmla="*/ 3 h 554"/>
                <a:gd name="T56" fmla="*/ 1 w 523"/>
                <a:gd name="T57" fmla="*/ 5 h 554"/>
                <a:gd name="T58" fmla="*/ 0 w 523"/>
                <a:gd name="T59" fmla="*/ 6 h 554"/>
                <a:gd name="T60" fmla="*/ 0 w 523"/>
                <a:gd name="T61" fmla="*/ 8 h 554"/>
                <a:gd name="T62" fmla="*/ 2 w 523"/>
                <a:gd name="T63" fmla="*/ 9 h 554"/>
                <a:gd name="T64" fmla="*/ 3 w 523"/>
                <a:gd name="T65" fmla="*/ 9 h 554"/>
                <a:gd name="T66" fmla="*/ 8 w 523"/>
                <a:gd name="T67" fmla="*/ 10 h 554"/>
                <a:gd name="T68" fmla="*/ 10 w 523"/>
                <a:gd name="T69" fmla="*/ 12 h 554"/>
                <a:gd name="T70" fmla="*/ 13 w 523"/>
                <a:gd name="T71" fmla="*/ 15 h 554"/>
                <a:gd name="T72" fmla="*/ 17 w 523"/>
                <a:gd name="T73" fmla="*/ 18 h 554"/>
                <a:gd name="T74" fmla="*/ 21 w 523"/>
                <a:gd name="T75" fmla="*/ 20 h 554"/>
                <a:gd name="T76" fmla="*/ 22 w 523"/>
                <a:gd name="T77" fmla="*/ 24 h 554"/>
                <a:gd name="T78" fmla="*/ 21 w 523"/>
                <a:gd name="T79" fmla="*/ 26 h 554"/>
                <a:gd name="T80" fmla="*/ 22 w 523"/>
                <a:gd name="T81" fmla="*/ 25 h 554"/>
                <a:gd name="T82" fmla="*/ 23 w 523"/>
                <a:gd name="T83" fmla="*/ 21 h 554"/>
                <a:gd name="T84" fmla="*/ 24 w 523"/>
                <a:gd name="T85" fmla="*/ 19 h 554"/>
                <a:gd name="T86" fmla="*/ 27 w 523"/>
                <a:gd name="T87" fmla="*/ 19 h 55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3"/>
                <a:gd name="T133" fmla="*/ 0 h 554"/>
                <a:gd name="T134" fmla="*/ 523 w 523"/>
                <a:gd name="T135" fmla="*/ 554 h 55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3" h="554">
                  <a:moveTo>
                    <a:pt x="378" y="479"/>
                  </a:moveTo>
                  <a:cubicBezTo>
                    <a:pt x="378" y="479"/>
                    <a:pt x="365" y="472"/>
                    <a:pt x="358" y="474"/>
                  </a:cubicBezTo>
                  <a:cubicBezTo>
                    <a:pt x="351" y="476"/>
                    <a:pt x="341" y="483"/>
                    <a:pt x="341" y="483"/>
                  </a:cubicBezTo>
                  <a:cubicBezTo>
                    <a:pt x="341" y="483"/>
                    <a:pt x="322" y="486"/>
                    <a:pt x="314" y="486"/>
                  </a:cubicBezTo>
                  <a:cubicBezTo>
                    <a:pt x="306" y="486"/>
                    <a:pt x="292" y="470"/>
                    <a:pt x="289" y="473"/>
                  </a:cubicBezTo>
                  <a:cubicBezTo>
                    <a:pt x="286" y="476"/>
                    <a:pt x="278" y="485"/>
                    <a:pt x="278" y="485"/>
                  </a:cubicBezTo>
                  <a:cubicBezTo>
                    <a:pt x="265" y="477"/>
                    <a:pt x="265" y="477"/>
                    <a:pt x="265" y="477"/>
                  </a:cubicBezTo>
                  <a:cubicBezTo>
                    <a:pt x="265" y="477"/>
                    <a:pt x="245" y="482"/>
                    <a:pt x="253" y="494"/>
                  </a:cubicBezTo>
                  <a:cubicBezTo>
                    <a:pt x="264" y="510"/>
                    <a:pt x="276" y="505"/>
                    <a:pt x="281" y="507"/>
                  </a:cubicBezTo>
                  <a:cubicBezTo>
                    <a:pt x="286" y="509"/>
                    <a:pt x="291" y="517"/>
                    <a:pt x="293" y="521"/>
                  </a:cubicBezTo>
                  <a:cubicBezTo>
                    <a:pt x="295" y="525"/>
                    <a:pt x="317" y="535"/>
                    <a:pt x="317" y="535"/>
                  </a:cubicBezTo>
                  <a:cubicBezTo>
                    <a:pt x="330" y="531"/>
                    <a:pt x="330" y="531"/>
                    <a:pt x="330" y="531"/>
                  </a:cubicBezTo>
                  <a:cubicBezTo>
                    <a:pt x="330" y="531"/>
                    <a:pt x="344" y="552"/>
                    <a:pt x="363" y="553"/>
                  </a:cubicBezTo>
                  <a:cubicBezTo>
                    <a:pt x="382" y="554"/>
                    <a:pt x="377" y="537"/>
                    <a:pt x="377" y="537"/>
                  </a:cubicBezTo>
                  <a:cubicBezTo>
                    <a:pt x="377" y="537"/>
                    <a:pt x="372" y="520"/>
                    <a:pt x="372" y="513"/>
                  </a:cubicBezTo>
                  <a:cubicBezTo>
                    <a:pt x="372" y="506"/>
                    <a:pt x="377" y="496"/>
                    <a:pt x="383" y="491"/>
                  </a:cubicBezTo>
                  <a:cubicBezTo>
                    <a:pt x="389" y="486"/>
                    <a:pt x="383" y="469"/>
                    <a:pt x="383" y="469"/>
                  </a:cubicBezTo>
                  <a:lnTo>
                    <a:pt x="378" y="479"/>
                  </a:lnTo>
                  <a:close/>
                  <a:moveTo>
                    <a:pt x="119" y="312"/>
                  </a:moveTo>
                  <a:cubicBezTo>
                    <a:pt x="107" y="311"/>
                    <a:pt x="95" y="332"/>
                    <a:pt x="87" y="332"/>
                  </a:cubicBezTo>
                  <a:cubicBezTo>
                    <a:pt x="79" y="332"/>
                    <a:pt x="68" y="320"/>
                    <a:pt x="68" y="320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1"/>
                    <a:pt x="79" y="344"/>
                    <a:pt x="79" y="354"/>
                  </a:cubicBezTo>
                  <a:cubicBezTo>
                    <a:pt x="79" y="364"/>
                    <a:pt x="75" y="381"/>
                    <a:pt x="75" y="381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93"/>
                    <a:pt x="73" y="393"/>
                    <a:pt x="73" y="393"/>
                  </a:cubicBezTo>
                  <a:cubicBezTo>
                    <a:pt x="78" y="424"/>
                    <a:pt x="78" y="424"/>
                    <a:pt x="78" y="424"/>
                  </a:cubicBezTo>
                  <a:cubicBezTo>
                    <a:pt x="69" y="424"/>
                    <a:pt x="69" y="424"/>
                    <a:pt x="69" y="424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98" y="435"/>
                    <a:pt x="103" y="414"/>
                    <a:pt x="103" y="414"/>
                  </a:cubicBezTo>
                  <a:cubicBezTo>
                    <a:pt x="103" y="414"/>
                    <a:pt x="115" y="430"/>
                    <a:pt x="124" y="423"/>
                  </a:cubicBezTo>
                  <a:cubicBezTo>
                    <a:pt x="133" y="416"/>
                    <a:pt x="129" y="398"/>
                    <a:pt x="129" y="398"/>
                  </a:cubicBezTo>
                  <a:cubicBezTo>
                    <a:pt x="133" y="388"/>
                    <a:pt x="133" y="388"/>
                    <a:pt x="133" y="388"/>
                  </a:cubicBezTo>
                  <a:cubicBezTo>
                    <a:pt x="133" y="371"/>
                    <a:pt x="133" y="371"/>
                    <a:pt x="133" y="371"/>
                  </a:cubicBezTo>
                  <a:cubicBezTo>
                    <a:pt x="133" y="371"/>
                    <a:pt x="127" y="369"/>
                    <a:pt x="128" y="364"/>
                  </a:cubicBezTo>
                  <a:cubicBezTo>
                    <a:pt x="129" y="359"/>
                    <a:pt x="140" y="359"/>
                    <a:pt x="140" y="352"/>
                  </a:cubicBezTo>
                  <a:cubicBezTo>
                    <a:pt x="140" y="345"/>
                    <a:pt x="131" y="313"/>
                    <a:pt x="119" y="312"/>
                  </a:cubicBezTo>
                  <a:close/>
                  <a:moveTo>
                    <a:pt x="515" y="363"/>
                  </a:moveTo>
                  <a:cubicBezTo>
                    <a:pt x="507" y="354"/>
                    <a:pt x="481" y="337"/>
                    <a:pt x="481" y="337"/>
                  </a:cubicBezTo>
                  <a:cubicBezTo>
                    <a:pt x="451" y="321"/>
                    <a:pt x="451" y="321"/>
                    <a:pt x="451" y="321"/>
                  </a:cubicBezTo>
                  <a:cubicBezTo>
                    <a:pt x="451" y="321"/>
                    <a:pt x="398" y="308"/>
                    <a:pt x="402" y="299"/>
                  </a:cubicBezTo>
                  <a:cubicBezTo>
                    <a:pt x="406" y="290"/>
                    <a:pt x="415" y="289"/>
                    <a:pt x="414" y="281"/>
                  </a:cubicBezTo>
                  <a:cubicBezTo>
                    <a:pt x="413" y="273"/>
                    <a:pt x="365" y="271"/>
                    <a:pt x="365" y="271"/>
                  </a:cubicBezTo>
                  <a:cubicBezTo>
                    <a:pt x="365" y="271"/>
                    <a:pt x="351" y="266"/>
                    <a:pt x="334" y="249"/>
                  </a:cubicBezTo>
                  <a:cubicBezTo>
                    <a:pt x="317" y="232"/>
                    <a:pt x="311" y="216"/>
                    <a:pt x="311" y="216"/>
                  </a:cubicBezTo>
                  <a:cubicBezTo>
                    <a:pt x="311" y="216"/>
                    <a:pt x="306" y="192"/>
                    <a:pt x="296" y="186"/>
                  </a:cubicBezTo>
                  <a:cubicBezTo>
                    <a:pt x="286" y="180"/>
                    <a:pt x="275" y="170"/>
                    <a:pt x="275" y="170"/>
                  </a:cubicBezTo>
                  <a:cubicBezTo>
                    <a:pt x="249" y="148"/>
                    <a:pt x="249" y="148"/>
                    <a:pt x="249" y="148"/>
                  </a:cubicBezTo>
                  <a:cubicBezTo>
                    <a:pt x="249" y="148"/>
                    <a:pt x="235" y="126"/>
                    <a:pt x="240" y="124"/>
                  </a:cubicBezTo>
                  <a:cubicBezTo>
                    <a:pt x="245" y="122"/>
                    <a:pt x="253" y="120"/>
                    <a:pt x="253" y="115"/>
                  </a:cubicBezTo>
                  <a:cubicBezTo>
                    <a:pt x="253" y="110"/>
                    <a:pt x="236" y="101"/>
                    <a:pt x="244" y="92"/>
                  </a:cubicBezTo>
                  <a:cubicBezTo>
                    <a:pt x="252" y="83"/>
                    <a:pt x="275" y="77"/>
                    <a:pt x="275" y="77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94" y="46"/>
                    <a:pt x="294" y="46"/>
                    <a:pt x="294" y="46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286" y="43"/>
                    <a:pt x="294" y="36"/>
                    <a:pt x="291" y="30"/>
                  </a:cubicBezTo>
                  <a:cubicBezTo>
                    <a:pt x="288" y="25"/>
                    <a:pt x="265" y="29"/>
                    <a:pt x="265" y="29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48" y="16"/>
                    <a:pt x="248" y="16"/>
                    <a:pt x="248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3" y="16"/>
                    <a:pt x="242" y="2"/>
                    <a:pt x="233" y="1"/>
                  </a:cubicBezTo>
                  <a:cubicBezTo>
                    <a:pt x="223" y="0"/>
                    <a:pt x="221" y="9"/>
                    <a:pt x="221" y="9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3" y="29"/>
                    <a:pt x="161" y="25"/>
                    <a:pt x="150" y="27"/>
                  </a:cubicBezTo>
                  <a:cubicBezTo>
                    <a:pt x="139" y="29"/>
                    <a:pt x="154" y="40"/>
                    <a:pt x="154" y="4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1" y="36"/>
                    <a:pt x="77" y="36"/>
                  </a:cubicBezTo>
                  <a:cubicBezTo>
                    <a:pt x="73" y="36"/>
                    <a:pt x="66" y="42"/>
                    <a:pt x="66" y="42"/>
                  </a:cubicBezTo>
                  <a:cubicBezTo>
                    <a:pt x="66" y="42"/>
                    <a:pt x="70" y="53"/>
                    <a:pt x="60" y="62"/>
                  </a:cubicBezTo>
                  <a:cubicBezTo>
                    <a:pt x="50" y="70"/>
                    <a:pt x="45" y="57"/>
                    <a:pt x="40" y="57"/>
                  </a:cubicBezTo>
                  <a:cubicBezTo>
                    <a:pt x="35" y="57"/>
                    <a:pt x="26" y="64"/>
                    <a:pt x="26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8"/>
                    <a:pt x="9" y="72"/>
                    <a:pt x="9" y="7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28" y="84"/>
                    <a:pt x="28" y="93"/>
                  </a:cubicBezTo>
                  <a:cubicBezTo>
                    <a:pt x="28" y="102"/>
                    <a:pt x="9" y="103"/>
                    <a:pt x="9" y="103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7" y="121"/>
                    <a:pt x="18" y="126"/>
                  </a:cubicBezTo>
                  <a:cubicBezTo>
                    <a:pt x="19" y="131"/>
                    <a:pt x="13" y="131"/>
                    <a:pt x="12" y="141"/>
                  </a:cubicBezTo>
                  <a:cubicBezTo>
                    <a:pt x="11" y="151"/>
                    <a:pt x="25" y="152"/>
                    <a:pt x="25" y="152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42" y="156"/>
                    <a:pt x="45" y="160"/>
                  </a:cubicBezTo>
                  <a:cubicBezTo>
                    <a:pt x="48" y="164"/>
                    <a:pt x="42" y="174"/>
                    <a:pt x="38" y="174"/>
                  </a:cubicBezTo>
                  <a:cubicBezTo>
                    <a:pt x="36" y="174"/>
                    <a:pt x="35" y="176"/>
                    <a:pt x="35" y="179"/>
                  </a:cubicBezTo>
                  <a:cubicBezTo>
                    <a:pt x="44" y="178"/>
                    <a:pt x="54" y="177"/>
                    <a:pt x="58" y="173"/>
                  </a:cubicBezTo>
                  <a:cubicBezTo>
                    <a:pt x="65" y="166"/>
                    <a:pt x="83" y="145"/>
                    <a:pt x="93" y="145"/>
                  </a:cubicBezTo>
                  <a:cubicBezTo>
                    <a:pt x="103" y="145"/>
                    <a:pt x="132" y="152"/>
                    <a:pt x="144" y="162"/>
                  </a:cubicBezTo>
                  <a:cubicBezTo>
                    <a:pt x="156" y="172"/>
                    <a:pt x="160" y="192"/>
                    <a:pt x="160" y="192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168" y="200"/>
                    <a:pt x="160" y="221"/>
                    <a:pt x="169" y="226"/>
                  </a:cubicBezTo>
                  <a:cubicBezTo>
                    <a:pt x="178" y="231"/>
                    <a:pt x="193" y="236"/>
                    <a:pt x="193" y="236"/>
                  </a:cubicBezTo>
                  <a:cubicBezTo>
                    <a:pt x="197" y="249"/>
                    <a:pt x="197" y="249"/>
                    <a:pt x="197" y="249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50"/>
                    <a:pt x="250" y="284"/>
                    <a:pt x="259" y="294"/>
                  </a:cubicBezTo>
                  <a:cubicBezTo>
                    <a:pt x="268" y="304"/>
                    <a:pt x="276" y="313"/>
                    <a:pt x="276" y="313"/>
                  </a:cubicBezTo>
                  <a:cubicBezTo>
                    <a:pt x="303" y="314"/>
                    <a:pt x="303" y="314"/>
                    <a:pt x="303" y="314"/>
                  </a:cubicBezTo>
                  <a:cubicBezTo>
                    <a:pt x="303" y="314"/>
                    <a:pt x="310" y="329"/>
                    <a:pt x="325" y="334"/>
                  </a:cubicBezTo>
                  <a:cubicBezTo>
                    <a:pt x="340" y="339"/>
                    <a:pt x="359" y="335"/>
                    <a:pt x="362" y="342"/>
                  </a:cubicBezTo>
                  <a:cubicBezTo>
                    <a:pt x="365" y="349"/>
                    <a:pt x="366" y="372"/>
                    <a:pt x="379" y="375"/>
                  </a:cubicBezTo>
                  <a:cubicBezTo>
                    <a:pt x="392" y="378"/>
                    <a:pt x="397" y="373"/>
                    <a:pt x="397" y="373"/>
                  </a:cubicBezTo>
                  <a:cubicBezTo>
                    <a:pt x="397" y="373"/>
                    <a:pt x="400" y="392"/>
                    <a:pt x="402" y="406"/>
                  </a:cubicBezTo>
                  <a:cubicBezTo>
                    <a:pt x="404" y="420"/>
                    <a:pt x="417" y="419"/>
                    <a:pt x="417" y="429"/>
                  </a:cubicBezTo>
                  <a:cubicBezTo>
                    <a:pt x="417" y="439"/>
                    <a:pt x="418" y="446"/>
                    <a:pt x="418" y="446"/>
                  </a:cubicBezTo>
                  <a:cubicBezTo>
                    <a:pt x="405" y="445"/>
                    <a:pt x="405" y="445"/>
                    <a:pt x="405" y="445"/>
                  </a:cubicBezTo>
                  <a:cubicBezTo>
                    <a:pt x="404" y="460"/>
                    <a:pt x="404" y="460"/>
                    <a:pt x="404" y="460"/>
                  </a:cubicBezTo>
                  <a:cubicBezTo>
                    <a:pt x="404" y="460"/>
                    <a:pt x="384" y="489"/>
                    <a:pt x="395" y="489"/>
                  </a:cubicBezTo>
                  <a:cubicBezTo>
                    <a:pt x="406" y="489"/>
                    <a:pt x="414" y="483"/>
                    <a:pt x="414" y="483"/>
                  </a:cubicBezTo>
                  <a:cubicBezTo>
                    <a:pt x="422" y="468"/>
                    <a:pt x="422" y="468"/>
                    <a:pt x="422" y="468"/>
                  </a:cubicBezTo>
                  <a:cubicBezTo>
                    <a:pt x="435" y="466"/>
                    <a:pt x="435" y="466"/>
                    <a:pt x="435" y="466"/>
                  </a:cubicBezTo>
                  <a:cubicBezTo>
                    <a:pt x="435" y="466"/>
                    <a:pt x="432" y="444"/>
                    <a:pt x="436" y="441"/>
                  </a:cubicBezTo>
                  <a:cubicBezTo>
                    <a:pt x="440" y="438"/>
                    <a:pt x="461" y="432"/>
                    <a:pt x="461" y="432"/>
                  </a:cubicBezTo>
                  <a:cubicBezTo>
                    <a:pt x="461" y="432"/>
                    <a:pt x="456" y="412"/>
                    <a:pt x="452" y="408"/>
                  </a:cubicBezTo>
                  <a:cubicBezTo>
                    <a:pt x="448" y="404"/>
                    <a:pt x="430" y="399"/>
                    <a:pt x="431" y="392"/>
                  </a:cubicBezTo>
                  <a:cubicBezTo>
                    <a:pt x="432" y="385"/>
                    <a:pt x="445" y="351"/>
                    <a:pt x="453" y="354"/>
                  </a:cubicBezTo>
                  <a:cubicBezTo>
                    <a:pt x="461" y="357"/>
                    <a:pt x="468" y="361"/>
                    <a:pt x="468" y="361"/>
                  </a:cubicBezTo>
                  <a:cubicBezTo>
                    <a:pt x="488" y="361"/>
                    <a:pt x="488" y="361"/>
                    <a:pt x="488" y="361"/>
                  </a:cubicBezTo>
                  <a:cubicBezTo>
                    <a:pt x="488" y="361"/>
                    <a:pt x="491" y="384"/>
                    <a:pt x="505" y="385"/>
                  </a:cubicBezTo>
                  <a:cubicBezTo>
                    <a:pt x="519" y="386"/>
                    <a:pt x="523" y="372"/>
                    <a:pt x="515" y="36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BD084AB3-B027-4F9D-16F5-D767C455C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239" y="2548469"/>
              <a:ext cx="158530" cy="74693"/>
            </a:xfrm>
            <a:custGeom>
              <a:avLst/>
              <a:gdLst>
                <a:gd name="T0" fmla="*/ 14 w 280"/>
                <a:gd name="T1" fmla="*/ 3 h 132"/>
                <a:gd name="T2" fmla="*/ 13 w 280"/>
                <a:gd name="T3" fmla="*/ 3 h 132"/>
                <a:gd name="T4" fmla="*/ 12 w 280"/>
                <a:gd name="T5" fmla="*/ 3 h 132"/>
                <a:gd name="T6" fmla="*/ 11 w 280"/>
                <a:gd name="T7" fmla="*/ 2 h 132"/>
                <a:gd name="T8" fmla="*/ 10 w 280"/>
                <a:gd name="T9" fmla="*/ 2 h 132"/>
                <a:gd name="T10" fmla="*/ 9 w 280"/>
                <a:gd name="T11" fmla="*/ 2 h 132"/>
                <a:gd name="T12" fmla="*/ 9 w 280"/>
                <a:gd name="T13" fmla="*/ 1 h 132"/>
                <a:gd name="T14" fmla="*/ 8 w 280"/>
                <a:gd name="T15" fmla="*/ 1 h 132"/>
                <a:gd name="T16" fmla="*/ 7 w 280"/>
                <a:gd name="T17" fmla="*/ 1 h 132"/>
                <a:gd name="T18" fmla="*/ 6 w 280"/>
                <a:gd name="T19" fmla="*/ 0 h 132"/>
                <a:gd name="T20" fmla="*/ 6 w 280"/>
                <a:gd name="T21" fmla="*/ 0 h 132"/>
                <a:gd name="T22" fmla="*/ 4 w 280"/>
                <a:gd name="T23" fmla="*/ 0 h 132"/>
                <a:gd name="T24" fmla="*/ 4 w 280"/>
                <a:gd name="T25" fmla="*/ 1 h 132"/>
                <a:gd name="T26" fmla="*/ 3 w 280"/>
                <a:gd name="T27" fmla="*/ 1 h 132"/>
                <a:gd name="T28" fmla="*/ 2 w 280"/>
                <a:gd name="T29" fmla="*/ 2 h 132"/>
                <a:gd name="T30" fmla="*/ 1 w 280"/>
                <a:gd name="T31" fmla="*/ 2 h 132"/>
                <a:gd name="T32" fmla="*/ 0 w 280"/>
                <a:gd name="T33" fmla="*/ 2 h 132"/>
                <a:gd name="T34" fmla="*/ 0 w 280"/>
                <a:gd name="T35" fmla="*/ 3 h 132"/>
                <a:gd name="T36" fmla="*/ 1 w 280"/>
                <a:gd name="T37" fmla="*/ 3 h 132"/>
                <a:gd name="T38" fmla="*/ 1 w 280"/>
                <a:gd name="T39" fmla="*/ 4 h 132"/>
                <a:gd name="T40" fmla="*/ 1 w 280"/>
                <a:gd name="T41" fmla="*/ 4 h 132"/>
                <a:gd name="T42" fmla="*/ 2 w 280"/>
                <a:gd name="T43" fmla="*/ 4 h 132"/>
                <a:gd name="T44" fmla="*/ 3 w 280"/>
                <a:gd name="T45" fmla="*/ 5 h 132"/>
                <a:gd name="T46" fmla="*/ 3 w 280"/>
                <a:gd name="T47" fmla="*/ 6 h 132"/>
                <a:gd name="T48" fmla="*/ 4 w 280"/>
                <a:gd name="T49" fmla="*/ 7 h 132"/>
                <a:gd name="T50" fmla="*/ 6 w 280"/>
                <a:gd name="T51" fmla="*/ 7 h 132"/>
                <a:gd name="T52" fmla="*/ 6 w 280"/>
                <a:gd name="T53" fmla="*/ 6 h 132"/>
                <a:gd name="T54" fmla="*/ 7 w 280"/>
                <a:gd name="T55" fmla="*/ 6 h 132"/>
                <a:gd name="T56" fmla="*/ 8 w 280"/>
                <a:gd name="T57" fmla="*/ 6 h 132"/>
                <a:gd name="T58" fmla="*/ 9 w 280"/>
                <a:gd name="T59" fmla="*/ 6 h 132"/>
                <a:gd name="T60" fmla="*/ 10 w 280"/>
                <a:gd name="T61" fmla="*/ 6 h 132"/>
                <a:gd name="T62" fmla="*/ 11 w 280"/>
                <a:gd name="T63" fmla="*/ 6 h 132"/>
                <a:gd name="T64" fmla="*/ 13 w 280"/>
                <a:gd name="T65" fmla="*/ 5 h 132"/>
                <a:gd name="T66" fmla="*/ 14 w 280"/>
                <a:gd name="T67" fmla="*/ 4 h 132"/>
                <a:gd name="T68" fmla="*/ 14 w 280"/>
                <a:gd name="T69" fmla="*/ 4 h 1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80"/>
                <a:gd name="T106" fmla="*/ 0 h 132"/>
                <a:gd name="T107" fmla="*/ 280 w 280"/>
                <a:gd name="T108" fmla="*/ 132 h 13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80" h="132">
                  <a:moveTo>
                    <a:pt x="275" y="73"/>
                  </a:moveTo>
                  <a:cubicBezTo>
                    <a:pt x="268" y="67"/>
                    <a:pt x="268" y="67"/>
                    <a:pt x="268" y="67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62"/>
                    <a:pt x="259" y="60"/>
                    <a:pt x="255" y="60"/>
                  </a:cubicBezTo>
                  <a:cubicBezTo>
                    <a:pt x="251" y="60"/>
                    <a:pt x="247" y="51"/>
                    <a:pt x="247" y="51"/>
                  </a:cubicBezTo>
                  <a:cubicBezTo>
                    <a:pt x="240" y="57"/>
                    <a:pt x="240" y="57"/>
                    <a:pt x="240" y="57"/>
                  </a:cubicBezTo>
                  <a:cubicBezTo>
                    <a:pt x="240" y="57"/>
                    <a:pt x="235" y="44"/>
                    <a:pt x="227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2"/>
                    <a:pt x="224" y="35"/>
                    <a:pt x="211" y="39"/>
                  </a:cubicBezTo>
                  <a:cubicBezTo>
                    <a:pt x="198" y="43"/>
                    <a:pt x="196" y="47"/>
                    <a:pt x="196" y="47"/>
                  </a:cubicBezTo>
                  <a:cubicBezTo>
                    <a:pt x="196" y="47"/>
                    <a:pt x="185" y="45"/>
                    <a:pt x="181" y="43"/>
                  </a:cubicBezTo>
                  <a:cubicBezTo>
                    <a:pt x="177" y="41"/>
                    <a:pt x="177" y="35"/>
                    <a:pt x="177" y="35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62" y="24"/>
                    <a:pt x="159" y="24"/>
                  </a:cubicBezTo>
                  <a:cubicBezTo>
                    <a:pt x="156" y="24"/>
                    <a:pt x="158" y="18"/>
                    <a:pt x="146" y="14"/>
                  </a:cubicBezTo>
                  <a:cubicBezTo>
                    <a:pt x="134" y="10"/>
                    <a:pt x="132" y="13"/>
                    <a:pt x="132" y="13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4" y="6"/>
                    <a:pt x="111" y="11"/>
                    <a:pt x="108" y="11"/>
                  </a:cubicBezTo>
                  <a:cubicBezTo>
                    <a:pt x="103" y="12"/>
                    <a:pt x="98" y="0"/>
                    <a:pt x="96" y="1"/>
                  </a:cubicBezTo>
                  <a:cubicBezTo>
                    <a:pt x="94" y="2"/>
                    <a:pt x="89" y="8"/>
                    <a:pt x="87" y="11"/>
                  </a:cubicBezTo>
                  <a:cubicBezTo>
                    <a:pt x="84" y="14"/>
                    <a:pt x="73" y="13"/>
                    <a:pt x="73" y="13"/>
                  </a:cubicBezTo>
                  <a:cubicBezTo>
                    <a:pt x="73" y="13"/>
                    <a:pt x="75" y="18"/>
                    <a:pt x="72" y="19"/>
                  </a:cubicBezTo>
                  <a:cubicBezTo>
                    <a:pt x="69" y="20"/>
                    <a:pt x="58" y="20"/>
                    <a:pt x="58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0" y="32"/>
                    <a:pt x="31" y="30"/>
                  </a:cubicBezTo>
                  <a:cubicBezTo>
                    <a:pt x="23" y="28"/>
                    <a:pt x="21" y="36"/>
                    <a:pt x="21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41"/>
                    <a:pt x="11" y="42"/>
                  </a:cubicBezTo>
                  <a:cubicBezTo>
                    <a:pt x="7" y="42"/>
                    <a:pt x="7" y="36"/>
                    <a:pt x="3" y="38"/>
                  </a:cubicBezTo>
                  <a:cubicBezTo>
                    <a:pt x="0" y="41"/>
                    <a:pt x="5" y="50"/>
                    <a:pt x="5" y="50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9" y="64"/>
                    <a:pt x="10" y="66"/>
                  </a:cubicBezTo>
                  <a:cubicBezTo>
                    <a:pt x="11" y="68"/>
                    <a:pt x="19" y="74"/>
                    <a:pt x="19" y="74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1" y="87"/>
                    <a:pt x="29" y="88"/>
                  </a:cubicBezTo>
                  <a:cubicBezTo>
                    <a:pt x="36" y="88"/>
                    <a:pt x="42" y="90"/>
                    <a:pt x="42" y="90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07"/>
                    <a:pt x="60" y="105"/>
                    <a:pt x="65" y="108"/>
                  </a:cubicBezTo>
                  <a:cubicBezTo>
                    <a:pt x="71" y="112"/>
                    <a:pt x="72" y="119"/>
                    <a:pt x="72" y="119"/>
                  </a:cubicBezTo>
                  <a:cubicBezTo>
                    <a:pt x="72" y="119"/>
                    <a:pt x="80" y="131"/>
                    <a:pt x="87" y="131"/>
                  </a:cubicBezTo>
                  <a:cubicBezTo>
                    <a:pt x="95" y="131"/>
                    <a:pt x="101" y="127"/>
                    <a:pt x="101" y="127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5" y="119"/>
                    <a:pt x="122" y="106"/>
                    <a:pt x="125" y="105"/>
                  </a:cubicBezTo>
                  <a:cubicBezTo>
                    <a:pt x="129" y="104"/>
                    <a:pt x="142" y="112"/>
                    <a:pt x="142" y="112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8" y="113"/>
                    <a:pt x="158" y="113"/>
                    <a:pt x="158" y="113"/>
                  </a:cubicBezTo>
                  <a:cubicBezTo>
                    <a:pt x="165" y="121"/>
                    <a:pt x="165" y="121"/>
                    <a:pt x="165" y="121"/>
                  </a:cubicBezTo>
                  <a:cubicBezTo>
                    <a:pt x="173" y="120"/>
                    <a:pt x="173" y="120"/>
                    <a:pt x="173" y="120"/>
                  </a:cubicBezTo>
                  <a:cubicBezTo>
                    <a:pt x="173" y="120"/>
                    <a:pt x="177" y="113"/>
                    <a:pt x="184" y="115"/>
                  </a:cubicBezTo>
                  <a:cubicBezTo>
                    <a:pt x="192" y="118"/>
                    <a:pt x="200" y="123"/>
                    <a:pt x="200" y="123"/>
                  </a:cubicBezTo>
                  <a:cubicBezTo>
                    <a:pt x="200" y="123"/>
                    <a:pt x="205" y="119"/>
                    <a:pt x="209" y="118"/>
                  </a:cubicBezTo>
                  <a:cubicBezTo>
                    <a:pt x="212" y="117"/>
                    <a:pt x="218" y="117"/>
                    <a:pt x="221" y="116"/>
                  </a:cubicBezTo>
                  <a:cubicBezTo>
                    <a:pt x="222" y="118"/>
                    <a:pt x="228" y="120"/>
                    <a:pt x="233" y="117"/>
                  </a:cubicBezTo>
                  <a:cubicBezTo>
                    <a:pt x="240" y="112"/>
                    <a:pt x="255" y="105"/>
                    <a:pt x="255" y="105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69" y="86"/>
                    <a:pt x="269" y="86"/>
                    <a:pt x="269" y="86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77" y="76"/>
                    <a:pt x="275" y="73"/>
                    <a:pt x="275" y="7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18097C79-3EFF-08DD-3A7E-8EDDFFE79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8330" y="2575907"/>
              <a:ext cx="19817" cy="19817"/>
            </a:xfrm>
            <a:custGeom>
              <a:avLst/>
              <a:gdLst>
                <a:gd name="T0" fmla="*/ 1 w 36"/>
                <a:gd name="T1" fmla="*/ 2 h 32"/>
                <a:gd name="T2" fmla="*/ 1 w 36"/>
                <a:gd name="T3" fmla="*/ 2 h 32"/>
                <a:gd name="T4" fmla="*/ 1 w 36"/>
                <a:gd name="T5" fmla="*/ 2 h 32"/>
                <a:gd name="T6" fmla="*/ 2 w 36"/>
                <a:gd name="T7" fmla="*/ 1 h 32"/>
                <a:gd name="T8" fmla="*/ 1 w 36"/>
                <a:gd name="T9" fmla="*/ 0 h 32"/>
                <a:gd name="T10" fmla="*/ 1 w 36"/>
                <a:gd name="T11" fmla="*/ 0 h 32"/>
                <a:gd name="T12" fmla="*/ 0 w 36"/>
                <a:gd name="T13" fmla="*/ 0 h 32"/>
                <a:gd name="T14" fmla="*/ 0 w 36"/>
                <a:gd name="T15" fmla="*/ 1 h 32"/>
                <a:gd name="T16" fmla="*/ 1 w 36"/>
                <a:gd name="T17" fmla="*/ 2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2"/>
                <a:gd name="T29" fmla="*/ 36 w 36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2">
                  <a:moveTo>
                    <a:pt x="13" y="32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6" y="25"/>
                    <a:pt x="35" y="20"/>
                  </a:cubicBezTo>
                  <a:cubicBezTo>
                    <a:pt x="34" y="16"/>
                    <a:pt x="24" y="14"/>
                    <a:pt x="20" y="8"/>
                  </a:cubicBezTo>
                  <a:cubicBezTo>
                    <a:pt x="19" y="6"/>
                    <a:pt x="19" y="3"/>
                    <a:pt x="20" y="0"/>
                  </a:cubicBezTo>
                  <a:cubicBezTo>
                    <a:pt x="19" y="1"/>
                    <a:pt x="16" y="2"/>
                    <a:pt x="12" y="4"/>
                  </a:cubicBezTo>
                  <a:cubicBezTo>
                    <a:pt x="1" y="10"/>
                    <a:pt x="0" y="16"/>
                    <a:pt x="2" y="18"/>
                  </a:cubicBezTo>
                  <a:cubicBezTo>
                    <a:pt x="3" y="20"/>
                    <a:pt x="9" y="27"/>
                    <a:pt x="13" y="3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D3C6118F-EDA3-6385-B6C6-B8FF1BD60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9789" y="2609442"/>
              <a:ext cx="175298" cy="77741"/>
            </a:xfrm>
            <a:custGeom>
              <a:avLst/>
              <a:gdLst>
                <a:gd name="T0" fmla="*/ 16 w 308"/>
                <a:gd name="T1" fmla="*/ 3 h 138"/>
                <a:gd name="T2" fmla="*/ 16 w 308"/>
                <a:gd name="T3" fmla="*/ 1 h 138"/>
                <a:gd name="T4" fmla="*/ 15 w 308"/>
                <a:gd name="T5" fmla="*/ 0 h 138"/>
                <a:gd name="T6" fmla="*/ 14 w 308"/>
                <a:gd name="T7" fmla="*/ 1 h 138"/>
                <a:gd name="T8" fmla="*/ 13 w 308"/>
                <a:gd name="T9" fmla="*/ 1 h 138"/>
                <a:gd name="T10" fmla="*/ 12 w 308"/>
                <a:gd name="T11" fmla="*/ 0 h 138"/>
                <a:gd name="T12" fmla="*/ 11 w 308"/>
                <a:gd name="T13" fmla="*/ 1 h 138"/>
                <a:gd name="T14" fmla="*/ 10 w 308"/>
                <a:gd name="T15" fmla="*/ 1 h 138"/>
                <a:gd name="T16" fmla="*/ 9 w 308"/>
                <a:gd name="T17" fmla="*/ 1 h 138"/>
                <a:gd name="T18" fmla="*/ 8 w 308"/>
                <a:gd name="T19" fmla="*/ 1 h 138"/>
                <a:gd name="T20" fmla="*/ 8 w 308"/>
                <a:gd name="T21" fmla="*/ 2 h 138"/>
                <a:gd name="T22" fmla="*/ 7 w 308"/>
                <a:gd name="T23" fmla="*/ 3 h 138"/>
                <a:gd name="T24" fmla="*/ 7 w 308"/>
                <a:gd name="T25" fmla="*/ 3 h 138"/>
                <a:gd name="T26" fmla="*/ 7 w 308"/>
                <a:gd name="T27" fmla="*/ 4 h 138"/>
                <a:gd name="T28" fmla="*/ 6 w 308"/>
                <a:gd name="T29" fmla="*/ 4 h 138"/>
                <a:gd name="T30" fmla="*/ 4 w 308"/>
                <a:gd name="T31" fmla="*/ 4 h 138"/>
                <a:gd name="T32" fmla="*/ 3 w 308"/>
                <a:gd name="T33" fmla="*/ 4 h 138"/>
                <a:gd name="T34" fmla="*/ 1 w 308"/>
                <a:gd name="T35" fmla="*/ 4 h 138"/>
                <a:gd name="T36" fmla="*/ 1 w 308"/>
                <a:gd name="T37" fmla="*/ 5 h 138"/>
                <a:gd name="T38" fmla="*/ 0 w 308"/>
                <a:gd name="T39" fmla="*/ 4 h 138"/>
                <a:gd name="T40" fmla="*/ 0 w 308"/>
                <a:gd name="T41" fmla="*/ 5 h 138"/>
                <a:gd name="T42" fmla="*/ 0 w 308"/>
                <a:gd name="T43" fmla="*/ 5 h 138"/>
                <a:gd name="T44" fmla="*/ 1 w 308"/>
                <a:gd name="T45" fmla="*/ 5 h 138"/>
                <a:gd name="T46" fmla="*/ 3 w 308"/>
                <a:gd name="T47" fmla="*/ 6 h 138"/>
                <a:gd name="T48" fmla="*/ 3 w 308"/>
                <a:gd name="T49" fmla="*/ 6 h 138"/>
                <a:gd name="T50" fmla="*/ 6 w 308"/>
                <a:gd name="T51" fmla="*/ 5 h 138"/>
                <a:gd name="T52" fmla="*/ 6 w 308"/>
                <a:gd name="T53" fmla="*/ 6 h 138"/>
                <a:gd name="T54" fmla="*/ 7 w 308"/>
                <a:gd name="T55" fmla="*/ 7 h 138"/>
                <a:gd name="T56" fmla="*/ 8 w 308"/>
                <a:gd name="T57" fmla="*/ 7 h 138"/>
                <a:gd name="T58" fmla="*/ 9 w 308"/>
                <a:gd name="T59" fmla="*/ 7 h 138"/>
                <a:gd name="T60" fmla="*/ 11 w 308"/>
                <a:gd name="T61" fmla="*/ 7 h 138"/>
                <a:gd name="T62" fmla="*/ 13 w 308"/>
                <a:gd name="T63" fmla="*/ 7 h 138"/>
                <a:gd name="T64" fmla="*/ 14 w 308"/>
                <a:gd name="T65" fmla="*/ 7 h 138"/>
                <a:gd name="T66" fmla="*/ 14 w 308"/>
                <a:gd name="T67" fmla="*/ 6 h 138"/>
                <a:gd name="T68" fmla="*/ 15 w 308"/>
                <a:gd name="T69" fmla="*/ 5 h 138"/>
                <a:gd name="T70" fmla="*/ 15 w 308"/>
                <a:gd name="T71" fmla="*/ 4 h 138"/>
                <a:gd name="T72" fmla="*/ 16 w 308"/>
                <a:gd name="T73" fmla="*/ 4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38"/>
                <a:gd name="T113" fmla="*/ 308 w 308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38">
                  <a:moveTo>
                    <a:pt x="306" y="69"/>
                  </a:moveTo>
                  <a:cubicBezTo>
                    <a:pt x="306" y="69"/>
                    <a:pt x="308" y="55"/>
                    <a:pt x="307" y="48"/>
                  </a:cubicBezTo>
                  <a:cubicBezTo>
                    <a:pt x="306" y="42"/>
                    <a:pt x="300" y="43"/>
                    <a:pt x="300" y="43"/>
                  </a:cubicBezTo>
                  <a:cubicBezTo>
                    <a:pt x="301" y="33"/>
                    <a:pt x="301" y="33"/>
                    <a:pt x="301" y="33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303" y="19"/>
                    <a:pt x="295" y="14"/>
                    <a:pt x="287" y="11"/>
                  </a:cubicBezTo>
                  <a:cubicBezTo>
                    <a:pt x="280" y="9"/>
                    <a:pt x="276" y="16"/>
                    <a:pt x="276" y="16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45" y="8"/>
                    <a:pt x="245" y="8"/>
                    <a:pt x="245" y="8"/>
                  </a:cubicBezTo>
                  <a:cubicBezTo>
                    <a:pt x="245" y="8"/>
                    <a:pt x="232" y="0"/>
                    <a:pt x="228" y="1"/>
                  </a:cubicBezTo>
                  <a:cubicBezTo>
                    <a:pt x="225" y="2"/>
                    <a:pt x="218" y="15"/>
                    <a:pt x="218" y="15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204" y="23"/>
                    <a:pt x="198" y="27"/>
                    <a:pt x="190" y="27"/>
                  </a:cubicBezTo>
                  <a:cubicBezTo>
                    <a:pt x="183" y="27"/>
                    <a:pt x="175" y="15"/>
                    <a:pt x="175" y="15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45"/>
                    <a:pt x="147" y="42"/>
                    <a:pt x="142" y="43"/>
                  </a:cubicBezTo>
                  <a:cubicBezTo>
                    <a:pt x="138" y="44"/>
                    <a:pt x="133" y="57"/>
                    <a:pt x="133" y="57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2" y="78"/>
                    <a:pt x="141" y="84"/>
                  </a:cubicBezTo>
                  <a:cubicBezTo>
                    <a:pt x="139" y="91"/>
                    <a:pt x="131" y="77"/>
                    <a:pt x="131" y="77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5" y="86"/>
                    <a:pt x="69" y="88"/>
                    <a:pt x="63" y="88"/>
                  </a:cubicBezTo>
                  <a:cubicBezTo>
                    <a:pt x="56" y="88"/>
                    <a:pt x="46" y="77"/>
                    <a:pt x="46" y="77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0" y="90"/>
                    <a:pt x="26" y="91"/>
                  </a:cubicBezTo>
                  <a:cubicBezTo>
                    <a:pt x="22" y="92"/>
                    <a:pt x="21" y="82"/>
                    <a:pt x="12" y="81"/>
                  </a:cubicBezTo>
                  <a:cubicBezTo>
                    <a:pt x="6" y="79"/>
                    <a:pt x="2" y="82"/>
                    <a:pt x="0" y="84"/>
                  </a:cubicBezTo>
                  <a:cubicBezTo>
                    <a:pt x="1" y="86"/>
                    <a:pt x="2" y="89"/>
                    <a:pt x="0" y="91"/>
                  </a:cubicBezTo>
                  <a:cubicBezTo>
                    <a:pt x="1" y="93"/>
                    <a:pt x="2" y="95"/>
                    <a:pt x="2" y="97"/>
                  </a:cubicBezTo>
                  <a:cubicBezTo>
                    <a:pt x="2" y="100"/>
                    <a:pt x="2" y="105"/>
                    <a:pt x="2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8" y="120"/>
                    <a:pt x="16" y="118"/>
                  </a:cubicBezTo>
                  <a:cubicBezTo>
                    <a:pt x="23" y="115"/>
                    <a:pt x="21" y="106"/>
                    <a:pt x="32" y="106"/>
                  </a:cubicBezTo>
                  <a:cubicBezTo>
                    <a:pt x="37" y="107"/>
                    <a:pt x="40" y="113"/>
                    <a:pt x="4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2" y="111"/>
                    <a:pt x="94" y="102"/>
                    <a:pt x="104" y="103"/>
                  </a:cubicBezTo>
                  <a:cubicBezTo>
                    <a:pt x="113" y="104"/>
                    <a:pt x="114" y="118"/>
                    <a:pt x="114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6" y="131"/>
                    <a:pt x="159" y="127"/>
                    <a:pt x="162" y="132"/>
                  </a:cubicBezTo>
                  <a:cubicBezTo>
                    <a:pt x="162" y="134"/>
                    <a:pt x="162" y="135"/>
                    <a:pt x="162" y="136"/>
                  </a:cubicBezTo>
                  <a:cubicBezTo>
                    <a:pt x="171" y="136"/>
                    <a:pt x="171" y="136"/>
                    <a:pt x="171" y="136"/>
                  </a:cubicBezTo>
                  <a:cubicBezTo>
                    <a:pt x="171" y="136"/>
                    <a:pt x="180" y="132"/>
                    <a:pt x="183" y="132"/>
                  </a:cubicBezTo>
                  <a:cubicBezTo>
                    <a:pt x="186" y="132"/>
                    <a:pt x="192" y="136"/>
                    <a:pt x="192" y="136"/>
                  </a:cubicBezTo>
                  <a:cubicBezTo>
                    <a:pt x="192" y="136"/>
                    <a:pt x="200" y="138"/>
                    <a:pt x="207" y="138"/>
                  </a:cubicBezTo>
                  <a:cubicBezTo>
                    <a:pt x="214" y="138"/>
                    <a:pt x="214" y="129"/>
                    <a:pt x="214" y="129"/>
                  </a:cubicBezTo>
                  <a:cubicBezTo>
                    <a:pt x="247" y="130"/>
                    <a:pt x="247" y="130"/>
                    <a:pt x="247" y="130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70" y="131"/>
                    <a:pt x="270" y="131"/>
                    <a:pt x="270" y="131"/>
                  </a:cubicBezTo>
                  <a:cubicBezTo>
                    <a:pt x="272" y="119"/>
                    <a:pt x="272" y="119"/>
                    <a:pt x="272" y="119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0" y="105"/>
                    <a:pt x="290" y="105"/>
                    <a:pt x="290" y="105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1" y="69"/>
                    <a:pt x="291" y="69"/>
                    <a:pt x="291" y="69"/>
                  </a:cubicBezTo>
                  <a:lnTo>
                    <a:pt x="306" y="6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2154A62D-98AD-C18E-323F-15CD93DD4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33" y="2479875"/>
              <a:ext cx="103654" cy="82314"/>
            </a:xfrm>
            <a:custGeom>
              <a:avLst/>
              <a:gdLst>
                <a:gd name="T0" fmla="*/ 1 w 182"/>
                <a:gd name="T1" fmla="*/ 6 h 145"/>
                <a:gd name="T2" fmla="*/ 0 w 182"/>
                <a:gd name="T3" fmla="*/ 6 h 145"/>
                <a:gd name="T4" fmla="*/ 0 w 182"/>
                <a:gd name="T5" fmla="*/ 6 h 145"/>
                <a:gd name="T6" fmla="*/ 0 w 182"/>
                <a:gd name="T7" fmla="*/ 6 h 145"/>
                <a:gd name="T8" fmla="*/ 0 w 182"/>
                <a:gd name="T9" fmla="*/ 6 h 145"/>
                <a:gd name="T10" fmla="*/ 1 w 182"/>
                <a:gd name="T11" fmla="*/ 6 h 145"/>
                <a:gd name="T12" fmla="*/ 1 w 182"/>
                <a:gd name="T13" fmla="*/ 6 h 145"/>
                <a:gd name="T14" fmla="*/ 2 w 182"/>
                <a:gd name="T15" fmla="*/ 6 h 145"/>
                <a:gd name="T16" fmla="*/ 2 w 182"/>
                <a:gd name="T17" fmla="*/ 6 h 145"/>
                <a:gd name="T18" fmla="*/ 2 w 182"/>
                <a:gd name="T19" fmla="*/ 6 h 145"/>
                <a:gd name="T20" fmla="*/ 3 w 182"/>
                <a:gd name="T21" fmla="*/ 6 h 145"/>
                <a:gd name="T22" fmla="*/ 3 w 182"/>
                <a:gd name="T23" fmla="*/ 6 h 145"/>
                <a:gd name="T24" fmla="*/ 3 w 182"/>
                <a:gd name="T25" fmla="*/ 6 h 145"/>
                <a:gd name="T26" fmla="*/ 4 w 182"/>
                <a:gd name="T27" fmla="*/ 6 h 145"/>
                <a:gd name="T28" fmla="*/ 5 w 182"/>
                <a:gd name="T29" fmla="*/ 6 h 145"/>
                <a:gd name="T30" fmla="*/ 5 w 182"/>
                <a:gd name="T31" fmla="*/ 6 h 145"/>
                <a:gd name="T32" fmla="*/ 6 w 182"/>
                <a:gd name="T33" fmla="*/ 6 h 145"/>
                <a:gd name="T34" fmla="*/ 6 w 182"/>
                <a:gd name="T35" fmla="*/ 6 h 145"/>
                <a:gd name="T36" fmla="*/ 6 w 182"/>
                <a:gd name="T37" fmla="*/ 7 h 145"/>
                <a:gd name="T38" fmla="*/ 6 w 182"/>
                <a:gd name="T39" fmla="*/ 7 h 145"/>
                <a:gd name="T40" fmla="*/ 6 w 182"/>
                <a:gd name="T41" fmla="*/ 7 h 145"/>
                <a:gd name="T42" fmla="*/ 7 w 182"/>
                <a:gd name="T43" fmla="*/ 6 h 145"/>
                <a:gd name="T44" fmla="*/ 6 w 182"/>
                <a:gd name="T45" fmla="*/ 6 h 145"/>
                <a:gd name="T46" fmla="*/ 7 w 182"/>
                <a:gd name="T47" fmla="*/ 6 h 145"/>
                <a:gd name="T48" fmla="*/ 7 w 182"/>
                <a:gd name="T49" fmla="*/ 5 h 145"/>
                <a:gd name="T50" fmla="*/ 6 w 182"/>
                <a:gd name="T51" fmla="*/ 4 h 145"/>
                <a:gd name="T52" fmla="*/ 8 w 182"/>
                <a:gd name="T53" fmla="*/ 4 h 145"/>
                <a:gd name="T54" fmla="*/ 8 w 182"/>
                <a:gd name="T55" fmla="*/ 4 h 145"/>
                <a:gd name="T56" fmla="*/ 8 w 182"/>
                <a:gd name="T57" fmla="*/ 4 h 145"/>
                <a:gd name="T58" fmla="*/ 8 w 182"/>
                <a:gd name="T59" fmla="*/ 3 h 145"/>
                <a:gd name="T60" fmla="*/ 9 w 182"/>
                <a:gd name="T61" fmla="*/ 3 h 145"/>
                <a:gd name="T62" fmla="*/ 8 w 182"/>
                <a:gd name="T63" fmla="*/ 3 h 145"/>
                <a:gd name="T64" fmla="*/ 9 w 182"/>
                <a:gd name="T65" fmla="*/ 2 h 145"/>
                <a:gd name="T66" fmla="*/ 9 w 182"/>
                <a:gd name="T67" fmla="*/ 2 h 145"/>
                <a:gd name="T68" fmla="*/ 9 w 182"/>
                <a:gd name="T69" fmla="*/ 1 h 145"/>
                <a:gd name="T70" fmla="*/ 9 w 182"/>
                <a:gd name="T71" fmla="*/ 1 h 145"/>
                <a:gd name="T72" fmla="*/ 9 w 182"/>
                <a:gd name="T73" fmla="*/ 0 h 145"/>
                <a:gd name="T74" fmla="*/ 9 w 182"/>
                <a:gd name="T75" fmla="*/ 0 h 145"/>
                <a:gd name="T76" fmla="*/ 9 w 182"/>
                <a:gd name="T77" fmla="*/ 0 h 145"/>
                <a:gd name="T78" fmla="*/ 8 w 182"/>
                <a:gd name="T79" fmla="*/ 0 h 145"/>
                <a:gd name="T80" fmla="*/ 7 w 182"/>
                <a:gd name="T81" fmla="*/ 0 h 145"/>
                <a:gd name="T82" fmla="*/ 5 w 182"/>
                <a:gd name="T83" fmla="*/ 0 h 145"/>
                <a:gd name="T84" fmla="*/ 6 w 182"/>
                <a:gd name="T85" fmla="*/ 1 h 145"/>
                <a:gd name="T86" fmla="*/ 6 w 182"/>
                <a:gd name="T87" fmla="*/ 2 h 145"/>
                <a:gd name="T88" fmla="*/ 6 w 182"/>
                <a:gd name="T89" fmla="*/ 2 h 145"/>
                <a:gd name="T90" fmla="*/ 6 w 182"/>
                <a:gd name="T91" fmla="*/ 3 h 145"/>
                <a:gd name="T92" fmla="*/ 6 w 182"/>
                <a:gd name="T93" fmla="*/ 3 h 145"/>
                <a:gd name="T94" fmla="*/ 5 w 182"/>
                <a:gd name="T95" fmla="*/ 3 h 145"/>
                <a:gd name="T96" fmla="*/ 5 w 182"/>
                <a:gd name="T97" fmla="*/ 2 h 145"/>
                <a:gd name="T98" fmla="*/ 5 w 182"/>
                <a:gd name="T99" fmla="*/ 1 h 145"/>
                <a:gd name="T100" fmla="*/ 5 w 182"/>
                <a:gd name="T101" fmla="*/ 1 h 145"/>
                <a:gd name="T102" fmla="*/ 4 w 182"/>
                <a:gd name="T103" fmla="*/ 1 h 145"/>
                <a:gd name="T104" fmla="*/ 3 w 182"/>
                <a:gd name="T105" fmla="*/ 3 h 145"/>
                <a:gd name="T106" fmla="*/ 3 w 182"/>
                <a:gd name="T107" fmla="*/ 4 h 145"/>
                <a:gd name="T108" fmla="*/ 2 w 182"/>
                <a:gd name="T109" fmla="*/ 4 h 145"/>
                <a:gd name="T110" fmla="*/ 3 w 182"/>
                <a:gd name="T111" fmla="*/ 5 h 145"/>
                <a:gd name="T112" fmla="*/ 1 w 182"/>
                <a:gd name="T113" fmla="*/ 5 h 145"/>
                <a:gd name="T114" fmla="*/ 1 w 182"/>
                <a:gd name="T115" fmla="*/ 6 h 14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2"/>
                <a:gd name="T175" fmla="*/ 0 h 145"/>
                <a:gd name="T176" fmla="*/ 182 w 182"/>
                <a:gd name="T177" fmla="*/ 145 h 14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2" h="145">
                  <a:moveTo>
                    <a:pt x="14" y="10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30" y="113"/>
                    <a:pt x="34" y="112"/>
                  </a:cubicBezTo>
                  <a:cubicBezTo>
                    <a:pt x="39" y="112"/>
                    <a:pt x="43" y="117"/>
                    <a:pt x="43" y="117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5" y="108"/>
                    <a:pt x="66" y="105"/>
                    <a:pt x="71" y="104"/>
                  </a:cubicBezTo>
                  <a:cubicBezTo>
                    <a:pt x="76" y="102"/>
                    <a:pt x="90" y="104"/>
                    <a:pt x="90" y="104"/>
                  </a:cubicBezTo>
                  <a:cubicBezTo>
                    <a:pt x="90" y="104"/>
                    <a:pt x="91" y="110"/>
                    <a:pt x="94" y="114"/>
                  </a:cubicBezTo>
                  <a:cubicBezTo>
                    <a:pt x="96" y="118"/>
                    <a:pt x="108" y="114"/>
                    <a:pt x="108" y="114"/>
                  </a:cubicBezTo>
                  <a:cubicBezTo>
                    <a:pt x="108" y="114"/>
                    <a:pt x="118" y="112"/>
                    <a:pt x="119" y="121"/>
                  </a:cubicBezTo>
                  <a:cubicBezTo>
                    <a:pt x="120" y="130"/>
                    <a:pt x="114" y="130"/>
                    <a:pt x="114" y="130"/>
                  </a:cubicBezTo>
                  <a:cubicBezTo>
                    <a:pt x="114" y="130"/>
                    <a:pt x="110" y="134"/>
                    <a:pt x="112" y="140"/>
                  </a:cubicBezTo>
                  <a:cubicBezTo>
                    <a:pt x="114" y="145"/>
                    <a:pt x="123" y="140"/>
                    <a:pt x="123" y="140"/>
                  </a:cubicBezTo>
                  <a:cubicBezTo>
                    <a:pt x="123" y="140"/>
                    <a:pt x="126" y="126"/>
                    <a:pt x="127" y="124"/>
                  </a:cubicBezTo>
                  <a:cubicBezTo>
                    <a:pt x="128" y="122"/>
                    <a:pt x="123" y="116"/>
                    <a:pt x="123" y="116"/>
                  </a:cubicBezTo>
                  <a:cubicBezTo>
                    <a:pt x="123" y="116"/>
                    <a:pt x="134" y="110"/>
                    <a:pt x="134" y="106"/>
                  </a:cubicBezTo>
                  <a:cubicBezTo>
                    <a:pt x="135" y="103"/>
                    <a:pt x="130" y="95"/>
                    <a:pt x="130" y="95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80"/>
                    <a:pt x="146" y="88"/>
                    <a:pt x="148" y="85"/>
                  </a:cubicBezTo>
                  <a:cubicBezTo>
                    <a:pt x="150" y="82"/>
                    <a:pt x="152" y="77"/>
                    <a:pt x="152" y="77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8" y="63"/>
                    <a:pt x="168" y="59"/>
                  </a:cubicBezTo>
                  <a:cubicBezTo>
                    <a:pt x="168" y="55"/>
                    <a:pt x="154" y="50"/>
                    <a:pt x="153" y="47"/>
                  </a:cubicBezTo>
                  <a:cubicBezTo>
                    <a:pt x="152" y="44"/>
                    <a:pt x="164" y="40"/>
                    <a:pt x="164" y="4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40"/>
                    <a:pt x="168" y="32"/>
                    <a:pt x="170" y="28"/>
                  </a:cubicBezTo>
                  <a:cubicBezTo>
                    <a:pt x="171" y="24"/>
                    <a:pt x="182" y="20"/>
                    <a:pt x="182" y="20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60" y="1"/>
                    <a:pt x="154" y="1"/>
                  </a:cubicBezTo>
                  <a:cubicBezTo>
                    <a:pt x="148" y="1"/>
                    <a:pt x="125" y="0"/>
                    <a:pt x="125" y="0"/>
                  </a:cubicBezTo>
                  <a:cubicBezTo>
                    <a:pt x="125" y="0"/>
                    <a:pt x="111" y="5"/>
                    <a:pt x="103" y="10"/>
                  </a:cubicBezTo>
                  <a:cubicBezTo>
                    <a:pt x="104" y="14"/>
                    <a:pt x="107" y="19"/>
                    <a:pt x="107" y="21"/>
                  </a:cubicBezTo>
                  <a:cubicBezTo>
                    <a:pt x="108" y="24"/>
                    <a:pt x="111" y="34"/>
                    <a:pt x="111" y="34"/>
                  </a:cubicBezTo>
                  <a:cubicBezTo>
                    <a:pt x="111" y="34"/>
                    <a:pt x="114" y="40"/>
                    <a:pt x="116" y="40"/>
                  </a:cubicBezTo>
                  <a:cubicBezTo>
                    <a:pt x="119" y="40"/>
                    <a:pt x="122" y="43"/>
                    <a:pt x="122" y="48"/>
                  </a:cubicBezTo>
                  <a:cubicBezTo>
                    <a:pt x="123" y="52"/>
                    <a:pt x="111" y="59"/>
                    <a:pt x="104" y="60"/>
                  </a:cubicBezTo>
                  <a:cubicBezTo>
                    <a:pt x="98" y="60"/>
                    <a:pt x="95" y="55"/>
                    <a:pt x="92" y="52"/>
                  </a:cubicBezTo>
                  <a:cubicBezTo>
                    <a:pt x="88" y="48"/>
                    <a:pt x="94" y="45"/>
                    <a:pt x="100" y="37"/>
                  </a:cubicBezTo>
                  <a:cubicBezTo>
                    <a:pt x="106" y="29"/>
                    <a:pt x="102" y="24"/>
                    <a:pt x="102" y="24"/>
                  </a:cubicBezTo>
                  <a:cubicBezTo>
                    <a:pt x="102" y="24"/>
                    <a:pt x="99" y="21"/>
                    <a:pt x="97" y="16"/>
                  </a:cubicBezTo>
                  <a:cubicBezTo>
                    <a:pt x="92" y="23"/>
                    <a:pt x="81" y="30"/>
                    <a:pt x="81" y="30"/>
                  </a:cubicBezTo>
                  <a:cubicBezTo>
                    <a:pt x="81" y="30"/>
                    <a:pt x="64" y="42"/>
                    <a:pt x="64" y="49"/>
                  </a:cubicBezTo>
                  <a:cubicBezTo>
                    <a:pt x="64" y="56"/>
                    <a:pt x="60" y="69"/>
                    <a:pt x="60" y="6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31" y="98"/>
                    <a:pt x="31" y="98"/>
                    <a:pt x="31" y="98"/>
                  </a:cubicBezTo>
                  <a:lnTo>
                    <a:pt x="14" y="10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9C3062A8-F1BA-1DE5-A8B4-24FD15E4C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1259" y="2537799"/>
              <a:ext cx="83839" cy="57924"/>
            </a:xfrm>
            <a:custGeom>
              <a:avLst/>
              <a:gdLst>
                <a:gd name="T0" fmla="*/ 0 w 149"/>
                <a:gd name="T1" fmla="*/ 1 h 102"/>
                <a:gd name="T2" fmla="*/ 0 w 149"/>
                <a:gd name="T3" fmla="*/ 2 h 102"/>
                <a:gd name="T4" fmla="*/ 1 w 149"/>
                <a:gd name="T5" fmla="*/ 3 h 102"/>
                <a:gd name="T6" fmla="*/ 1 w 149"/>
                <a:gd name="T7" fmla="*/ 3 h 102"/>
                <a:gd name="T8" fmla="*/ 3 w 149"/>
                <a:gd name="T9" fmla="*/ 3 h 102"/>
                <a:gd name="T10" fmla="*/ 3 w 149"/>
                <a:gd name="T11" fmla="*/ 4 h 102"/>
                <a:gd name="T12" fmla="*/ 4 w 149"/>
                <a:gd name="T13" fmla="*/ 4 h 102"/>
                <a:gd name="T14" fmla="*/ 4 w 149"/>
                <a:gd name="T15" fmla="*/ 4 h 102"/>
                <a:gd name="T16" fmla="*/ 4 w 149"/>
                <a:gd name="T17" fmla="*/ 4 h 102"/>
                <a:gd name="T18" fmla="*/ 5 w 149"/>
                <a:gd name="T19" fmla="*/ 5 h 102"/>
                <a:gd name="T20" fmla="*/ 6 w 149"/>
                <a:gd name="T21" fmla="*/ 5 h 102"/>
                <a:gd name="T22" fmla="*/ 6 w 149"/>
                <a:gd name="T23" fmla="*/ 5 h 102"/>
                <a:gd name="T24" fmla="*/ 6 w 149"/>
                <a:gd name="T25" fmla="*/ 5 h 102"/>
                <a:gd name="T26" fmla="*/ 7 w 149"/>
                <a:gd name="T27" fmla="*/ 5 h 102"/>
                <a:gd name="T28" fmla="*/ 6 w 149"/>
                <a:gd name="T29" fmla="*/ 4 h 102"/>
                <a:gd name="T30" fmla="*/ 7 w 149"/>
                <a:gd name="T31" fmla="*/ 4 h 102"/>
                <a:gd name="T32" fmla="*/ 7 w 149"/>
                <a:gd name="T33" fmla="*/ 3 h 102"/>
                <a:gd name="T34" fmla="*/ 7 w 149"/>
                <a:gd name="T35" fmla="*/ 3 h 102"/>
                <a:gd name="T36" fmla="*/ 7 w 149"/>
                <a:gd name="T37" fmla="*/ 3 h 102"/>
                <a:gd name="T38" fmla="*/ 7 w 149"/>
                <a:gd name="T39" fmla="*/ 3 h 102"/>
                <a:gd name="T40" fmla="*/ 7 w 149"/>
                <a:gd name="T41" fmla="*/ 3 h 102"/>
                <a:gd name="T42" fmla="*/ 7 w 149"/>
                <a:gd name="T43" fmla="*/ 2 h 102"/>
                <a:gd name="T44" fmla="*/ 7 w 149"/>
                <a:gd name="T45" fmla="*/ 2 h 102"/>
                <a:gd name="T46" fmla="*/ 6 w 149"/>
                <a:gd name="T47" fmla="*/ 2 h 102"/>
                <a:gd name="T48" fmla="*/ 6 w 149"/>
                <a:gd name="T49" fmla="*/ 1 h 102"/>
                <a:gd name="T50" fmla="*/ 6 w 149"/>
                <a:gd name="T51" fmla="*/ 1 h 102"/>
                <a:gd name="T52" fmla="*/ 6 w 149"/>
                <a:gd name="T53" fmla="*/ 0 h 102"/>
                <a:gd name="T54" fmla="*/ 5 w 149"/>
                <a:gd name="T55" fmla="*/ 0 h 102"/>
                <a:gd name="T56" fmla="*/ 5 w 149"/>
                <a:gd name="T57" fmla="*/ 0 h 102"/>
                <a:gd name="T58" fmla="*/ 4 w 149"/>
                <a:gd name="T59" fmla="*/ 0 h 102"/>
                <a:gd name="T60" fmla="*/ 4 w 149"/>
                <a:gd name="T61" fmla="*/ 0 h 102"/>
                <a:gd name="T62" fmla="*/ 3 w 149"/>
                <a:gd name="T63" fmla="*/ 0 h 102"/>
                <a:gd name="T64" fmla="*/ 3 w 149"/>
                <a:gd name="T65" fmla="*/ 0 h 102"/>
                <a:gd name="T66" fmla="*/ 3 w 149"/>
                <a:gd name="T67" fmla="*/ 0 h 102"/>
                <a:gd name="T68" fmla="*/ 3 w 149"/>
                <a:gd name="T69" fmla="*/ 1 h 102"/>
                <a:gd name="T70" fmla="*/ 2 w 149"/>
                <a:gd name="T71" fmla="*/ 0 h 102"/>
                <a:gd name="T72" fmla="*/ 1 w 149"/>
                <a:gd name="T73" fmla="*/ 0 h 102"/>
                <a:gd name="T74" fmla="*/ 1 w 149"/>
                <a:gd name="T75" fmla="*/ 0 h 102"/>
                <a:gd name="T76" fmla="*/ 1 w 149"/>
                <a:gd name="T77" fmla="*/ 0 h 102"/>
                <a:gd name="T78" fmla="*/ 1 w 149"/>
                <a:gd name="T79" fmla="*/ 0 h 102"/>
                <a:gd name="T80" fmla="*/ 0 w 149"/>
                <a:gd name="T81" fmla="*/ 1 h 102"/>
                <a:gd name="T82" fmla="*/ 0 w 149"/>
                <a:gd name="T83" fmla="*/ 1 h 10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9"/>
                <a:gd name="T127" fmla="*/ 0 h 102"/>
                <a:gd name="T128" fmla="*/ 149 w 149"/>
                <a:gd name="T129" fmla="*/ 102 h 10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9" h="102">
                  <a:moveTo>
                    <a:pt x="0" y="29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47" y="56"/>
                    <a:pt x="52" y="59"/>
                  </a:cubicBezTo>
                  <a:cubicBezTo>
                    <a:pt x="57" y="62"/>
                    <a:pt x="57" y="78"/>
                    <a:pt x="57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104" y="91"/>
                    <a:pt x="106" y="94"/>
                  </a:cubicBezTo>
                  <a:cubicBezTo>
                    <a:pt x="108" y="97"/>
                    <a:pt x="109" y="98"/>
                    <a:pt x="109" y="98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27" y="95"/>
                    <a:pt x="121" y="88"/>
                    <a:pt x="120" y="86"/>
                  </a:cubicBezTo>
                  <a:cubicBezTo>
                    <a:pt x="118" y="84"/>
                    <a:pt x="119" y="78"/>
                    <a:pt x="130" y="72"/>
                  </a:cubicBezTo>
                  <a:cubicBezTo>
                    <a:pt x="134" y="70"/>
                    <a:pt x="137" y="69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9" y="65"/>
                    <a:pt x="140" y="62"/>
                    <a:pt x="140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6" y="54"/>
                    <a:pt x="146" y="48"/>
                  </a:cubicBezTo>
                  <a:cubicBezTo>
                    <a:pt x="145" y="42"/>
                    <a:pt x="136" y="39"/>
                    <a:pt x="136" y="39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22" y="43"/>
                    <a:pt x="120" y="38"/>
                  </a:cubicBezTo>
                  <a:cubicBezTo>
                    <a:pt x="118" y="32"/>
                    <a:pt x="122" y="28"/>
                    <a:pt x="122" y="28"/>
                  </a:cubicBezTo>
                  <a:cubicBezTo>
                    <a:pt x="122" y="28"/>
                    <a:pt x="128" y="28"/>
                    <a:pt x="127" y="19"/>
                  </a:cubicBezTo>
                  <a:cubicBezTo>
                    <a:pt x="126" y="10"/>
                    <a:pt x="116" y="12"/>
                    <a:pt x="116" y="12"/>
                  </a:cubicBezTo>
                  <a:cubicBezTo>
                    <a:pt x="116" y="12"/>
                    <a:pt x="104" y="16"/>
                    <a:pt x="102" y="12"/>
                  </a:cubicBezTo>
                  <a:cubicBezTo>
                    <a:pt x="99" y="8"/>
                    <a:pt x="98" y="2"/>
                    <a:pt x="98" y="2"/>
                  </a:cubicBezTo>
                  <a:cubicBezTo>
                    <a:pt x="98" y="2"/>
                    <a:pt x="84" y="0"/>
                    <a:pt x="79" y="2"/>
                  </a:cubicBezTo>
                  <a:cubicBezTo>
                    <a:pt x="74" y="3"/>
                    <a:pt x="73" y="6"/>
                    <a:pt x="73" y="6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47" y="10"/>
                    <a:pt x="42" y="10"/>
                  </a:cubicBezTo>
                  <a:cubicBezTo>
                    <a:pt x="38" y="11"/>
                    <a:pt x="30" y="12"/>
                    <a:pt x="30" y="1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C45AD427-E760-2D48-2701-C3A69165B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4427" y="2437194"/>
              <a:ext cx="213406" cy="224077"/>
            </a:xfrm>
            <a:custGeom>
              <a:avLst/>
              <a:gdLst>
                <a:gd name="T0" fmla="*/ 1 w 373"/>
                <a:gd name="T1" fmla="*/ 15 h 393"/>
                <a:gd name="T2" fmla="*/ 3 w 373"/>
                <a:gd name="T3" fmla="*/ 16 h 393"/>
                <a:gd name="T4" fmla="*/ 5 w 373"/>
                <a:gd name="T5" fmla="*/ 16 h 393"/>
                <a:gd name="T6" fmla="*/ 4 w 373"/>
                <a:gd name="T7" fmla="*/ 17 h 393"/>
                <a:gd name="T8" fmla="*/ 4 w 373"/>
                <a:gd name="T9" fmla="*/ 20 h 393"/>
                <a:gd name="T10" fmla="*/ 5 w 373"/>
                <a:gd name="T11" fmla="*/ 20 h 393"/>
                <a:gd name="T12" fmla="*/ 7 w 373"/>
                <a:gd name="T13" fmla="*/ 19 h 393"/>
                <a:gd name="T14" fmla="*/ 8 w 373"/>
                <a:gd name="T15" fmla="*/ 20 h 393"/>
                <a:gd name="T16" fmla="*/ 9 w 373"/>
                <a:gd name="T17" fmla="*/ 20 h 393"/>
                <a:gd name="T18" fmla="*/ 10 w 373"/>
                <a:gd name="T19" fmla="*/ 20 h 393"/>
                <a:gd name="T20" fmla="*/ 12 w 373"/>
                <a:gd name="T21" fmla="*/ 20 h 393"/>
                <a:gd name="T22" fmla="*/ 14 w 373"/>
                <a:gd name="T23" fmla="*/ 19 h 393"/>
                <a:gd name="T24" fmla="*/ 15 w 373"/>
                <a:gd name="T25" fmla="*/ 20 h 393"/>
                <a:gd name="T26" fmla="*/ 15 w 373"/>
                <a:gd name="T27" fmla="*/ 19 h 393"/>
                <a:gd name="T28" fmla="*/ 17 w 373"/>
                <a:gd name="T29" fmla="*/ 18 h 393"/>
                <a:gd name="T30" fmla="*/ 17 w 373"/>
                <a:gd name="T31" fmla="*/ 16 h 393"/>
                <a:gd name="T32" fmla="*/ 16 w 373"/>
                <a:gd name="T33" fmla="*/ 15 h 393"/>
                <a:gd name="T34" fmla="*/ 15 w 373"/>
                <a:gd name="T35" fmla="*/ 15 h 393"/>
                <a:gd name="T36" fmla="*/ 14 w 373"/>
                <a:gd name="T37" fmla="*/ 14 h 393"/>
                <a:gd name="T38" fmla="*/ 14 w 373"/>
                <a:gd name="T39" fmla="*/ 13 h 393"/>
                <a:gd name="T40" fmla="*/ 14 w 373"/>
                <a:gd name="T41" fmla="*/ 12 h 393"/>
                <a:gd name="T42" fmla="*/ 15 w 373"/>
                <a:gd name="T43" fmla="*/ 12 h 393"/>
                <a:gd name="T44" fmla="*/ 17 w 373"/>
                <a:gd name="T45" fmla="*/ 12 h 393"/>
                <a:gd name="T46" fmla="*/ 17 w 373"/>
                <a:gd name="T47" fmla="*/ 11 h 393"/>
                <a:gd name="T48" fmla="*/ 19 w 373"/>
                <a:gd name="T49" fmla="*/ 11 h 393"/>
                <a:gd name="T50" fmla="*/ 20 w 373"/>
                <a:gd name="T51" fmla="*/ 9 h 393"/>
                <a:gd name="T52" fmla="*/ 19 w 373"/>
                <a:gd name="T53" fmla="*/ 8 h 393"/>
                <a:gd name="T54" fmla="*/ 19 w 373"/>
                <a:gd name="T55" fmla="*/ 7 h 393"/>
                <a:gd name="T56" fmla="*/ 19 w 373"/>
                <a:gd name="T57" fmla="*/ 6 h 393"/>
                <a:gd name="T58" fmla="*/ 18 w 373"/>
                <a:gd name="T59" fmla="*/ 6 h 393"/>
                <a:gd name="T60" fmla="*/ 18 w 373"/>
                <a:gd name="T61" fmla="*/ 4 h 393"/>
                <a:gd name="T62" fmla="*/ 17 w 373"/>
                <a:gd name="T63" fmla="*/ 3 h 393"/>
                <a:gd name="T64" fmla="*/ 16 w 373"/>
                <a:gd name="T65" fmla="*/ 2 h 393"/>
                <a:gd name="T66" fmla="*/ 12 w 373"/>
                <a:gd name="T67" fmla="*/ 2 h 393"/>
                <a:gd name="T68" fmla="*/ 11 w 373"/>
                <a:gd name="T69" fmla="*/ 2 h 393"/>
                <a:gd name="T70" fmla="*/ 9 w 373"/>
                <a:gd name="T71" fmla="*/ 1 h 393"/>
                <a:gd name="T72" fmla="*/ 8 w 373"/>
                <a:gd name="T73" fmla="*/ 0 h 393"/>
                <a:gd name="T74" fmla="*/ 6 w 373"/>
                <a:gd name="T75" fmla="*/ 0 h 393"/>
                <a:gd name="T76" fmla="*/ 7 w 373"/>
                <a:gd name="T77" fmla="*/ 3 h 393"/>
                <a:gd name="T78" fmla="*/ 6 w 373"/>
                <a:gd name="T79" fmla="*/ 3 h 393"/>
                <a:gd name="T80" fmla="*/ 5 w 373"/>
                <a:gd name="T81" fmla="*/ 3 h 393"/>
                <a:gd name="T82" fmla="*/ 3 w 373"/>
                <a:gd name="T83" fmla="*/ 4 h 393"/>
                <a:gd name="T84" fmla="*/ 3 w 373"/>
                <a:gd name="T85" fmla="*/ 6 h 393"/>
                <a:gd name="T86" fmla="*/ 2 w 373"/>
                <a:gd name="T87" fmla="*/ 6 h 393"/>
                <a:gd name="T88" fmla="*/ 2 w 373"/>
                <a:gd name="T89" fmla="*/ 8 h 393"/>
                <a:gd name="T90" fmla="*/ 0 w 373"/>
                <a:gd name="T91" fmla="*/ 8 h 393"/>
                <a:gd name="T92" fmla="*/ 0 w 373"/>
                <a:gd name="T93" fmla="*/ 10 h 393"/>
                <a:gd name="T94" fmla="*/ 0 w 373"/>
                <a:gd name="T95" fmla="*/ 11 h 393"/>
                <a:gd name="T96" fmla="*/ 0 w 373"/>
                <a:gd name="T97" fmla="*/ 12 h 393"/>
                <a:gd name="T98" fmla="*/ 1 w 373"/>
                <a:gd name="T99" fmla="*/ 14 h 3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73"/>
                <a:gd name="T151" fmla="*/ 0 h 393"/>
                <a:gd name="T152" fmla="*/ 373 w 373"/>
                <a:gd name="T153" fmla="*/ 393 h 39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73" h="393">
                  <a:moveTo>
                    <a:pt x="17" y="274"/>
                  </a:moveTo>
                  <a:cubicBezTo>
                    <a:pt x="17" y="274"/>
                    <a:pt x="19" y="278"/>
                    <a:pt x="22" y="281"/>
                  </a:cubicBezTo>
                  <a:cubicBezTo>
                    <a:pt x="25" y="284"/>
                    <a:pt x="21" y="294"/>
                    <a:pt x="21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8" y="294"/>
                    <a:pt x="36" y="299"/>
                    <a:pt x="42" y="300"/>
                  </a:cubicBezTo>
                  <a:cubicBezTo>
                    <a:pt x="48" y="301"/>
                    <a:pt x="62" y="297"/>
                    <a:pt x="62" y="297"/>
                  </a:cubicBezTo>
                  <a:cubicBezTo>
                    <a:pt x="62" y="301"/>
                    <a:pt x="62" y="301"/>
                    <a:pt x="62" y="301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90" y="305"/>
                    <a:pt x="90" y="305"/>
                    <a:pt x="90" y="305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74" y="322"/>
                    <a:pt x="74" y="322"/>
                    <a:pt x="74" y="322"/>
                  </a:cubicBezTo>
                  <a:cubicBezTo>
                    <a:pt x="74" y="330"/>
                    <a:pt x="74" y="330"/>
                    <a:pt x="74" y="330"/>
                  </a:cubicBezTo>
                  <a:cubicBezTo>
                    <a:pt x="74" y="330"/>
                    <a:pt x="64" y="349"/>
                    <a:pt x="62" y="360"/>
                  </a:cubicBezTo>
                  <a:cubicBezTo>
                    <a:pt x="60" y="369"/>
                    <a:pt x="63" y="377"/>
                    <a:pt x="64" y="379"/>
                  </a:cubicBezTo>
                  <a:cubicBezTo>
                    <a:pt x="75" y="381"/>
                    <a:pt x="75" y="381"/>
                    <a:pt x="75" y="381"/>
                  </a:cubicBezTo>
                  <a:cubicBezTo>
                    <a:pt x="87" y="381"/>
                    <a:pt x="87" y="381"/>
                    <a:pt x="87" y="381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101" y="378"/>
                    <a:pt x="101" y="378"/>
                    <a:pt x="101" y="378"/>
                  </a:cubicBezTo>
                  <a:cubicBezTo>
                    <a:pt x="101" y="378"/>
                    <a:pt x="96" y="366"/>
                    <a:pt x="103" y="365"/>
                  </a:cubicBezTo>
                  <a:cubicBezTo>
                    <a:pt x="110" y="364"/>
                    <a:pt x="119" y="372"/>
                    <a:pt x="119" y="372"/>
                  </a:cubicBezTo>
                  <a:cubicBezTo>
                    <a:pt x="128" y="372"/>
                    <a:pt x="128" y="372"/>
                    <a:pt x="128" y="372"/>
                  </a:cubicBezTo>
                  <a:cubicBezTo>
                    <a:pt x="138" y="375"/>
                    <a:pt x="138" y="375"/>
                    <a:pt x="138" y="375"/>
                  </a:cubicBezTo>
                  <a:cubicBezTo>
                    <a:pt x="144" y="383"/>
                    <a:pt x="144" y="383"/>
                    <a:pt x="144" y="38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83"/>
                    <a:pt x="149" y="384"/>
                    <a:pt x="149" y="385"/>
                  </a:cubicBezTo>
                  <a:cubicBezTo>
                    <a:pt x="149" y="385"/>
                    <a:pt x="149" y="385"/>
                    <a:pt x="149" y="385"/>
                  </a:cubicBezTo>
                  <a:cubicBezTo>
                    <a:pt x="151" y="383"/>
                    <a:pt x="155" y="380"/>
                    <a:pt x="161" y="382"/>
                  </a:cubicBezTo>
                  <a:cubicBezTo>
                    <a:pt x="170" y="383"/>
                    <a:pt x="171" y="393"/>
                    <a:pt x="175" y="392"/>
                  </a:cubicBezTo>
                  <a:cubicBezTo>
                    <a:pt x="179" y="391"/>
                    <a:pt x="182" y="386"/>
                    <a:pt x="182" y="386"/>
                  </a:cubicBezTo>
                  <a:cubicBezTo>
                    <a:pt x="182" y="377"/>
                    <a:pt x="182" y="377"/>
                    <a:pt x="182" y="377"/>
                  </a:cubicBezTo>
                  <a:cubicBezTo>
                    <a:pt x="195" y="378"/>
                    <a:pt x="195" y="378"/>
                    <a:pt x="195" y="378"/>
                  </a:cubicBezTo>
                  <a:cubicBezTo>
                    <a:pt x="195" y="378"/>
                    <a:pt x="205" y="389"/>
                    <a:pt x="212" y="389"/>
                  </a:cubicBezTo>
                  <a:cubicBezTo>
                    <a:pt x="218" y="389"/>
                    <a:pt x="224" y="387"/>
                    <a:pt x="224" y="387"/>
                  </a:cubicBezTo>
                  <a:cubicBezTo>
                    <a:pt x="233" y="379"/>
                    <a:pt x="233" y="379"/>
                    <a:pt x="233" y="379"/>
                  </a:cubicBezTo>
                  <a:cubicBezTo>
                    <a:pt x="247" y="378"/>
                    <a:pt x="247" y="378"/>
                    <a:pt x="247" y="378"/>
                  </a:cubicBezTo>
                  <a:cubicBezTo>
                    <a:pt x="258" y="372"/>
                    <a:pt x="258" y="372"/>
                    <a:pt x="258" y="372"/>
                  </a:cubicBezTo>
                  <a:cubicBezTo>
                    <a:pt x="267" y="373"/>
                    <a:pt x="267" y="373"/>
                    <a:pt x="267" y="373"/>
                  </a:cubicBezTo>
                  <a:cubicBezTo>
                    <a:pt x="280" y="378"/>
                    <a:pt x="280" y="378"/>
                    <a:pt x="280" y="378"/>
                  </a:cubicBezTo>
                  <a:cubicBezTo>
                    <a:pt x="280" y="378"/>
                    <a:pt x="288" y="392"/>
                    <a:pt x="290" y="385"/>
                  </a:cubicBezTo>
                  <a:cubicBezTo>
                    <a:pt x="291" y="379"/>
                    <a:pt x="290" y="369"/>
                    <a:pt x="290" y="369"/>
                  </a:cubicBezTo>
                  <a:cubicBezTo>
                    <a:pt x="290" y="360"/>
                    <a:pt x="290" y="360"/>
                    <a:pt x="290" y="360"/>
                  </a:cubicBezTo>
                  <a:cubicBezTo>
                    <a:pt x="282" y="358"/>
                    <a:pt x="282" y="358"/>
                    <a:pt x="282" y="358"/>
                  </a:cubicBezTo>
                  <a:cubicBezTo>
                    <a:pt x="282" y="358"/>
                    <a:pt x="287" y="345"/>
                    <a:pt x="291" y="344"/>
                  </a:cubicBezTo>
                  <a:cubicBezTo>
                    <a:pt x="296" y="343"/>
                    <a:pt x="309" y="346"/>
                    <a:pt x="309" y="346"/>
                  </a:cubicBezTo>
                  <a:cubicBezTo>
                    <a:pt x="309" y="335"/>
                    <a:pt x="309" y="335"/>
                    <a:pt x="309" y="335"/>
                  </a:cubicBezTo>
                  <a:cubicBezTo>
                    <a:pt x="305" y="328"/>
                    <a:pt x="305" y="328"/>
                    <a:pt x="305" y="328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4" y="316"/>
                    <a:pt x="324" y="316"/>
                    <a:pt x="324" y="316"/>
                  </a:cubicBezTo>
                  <a:cubicBezTo>
                    <a:pt x="324" y="316"/>
                    <a:pt x="323" y="309"/>
                    <a:pt x="317" y="305"/>
                  </a:cubicBezTo>
                  <a:cubicBezTo>
                    <a:pt x="312" y="302"/>
                    <a:pt x="307" y="304"/>
                    <a:pt x="307" y="30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297" y="295"/>
                    <a:pt x="297" y="295"/>
                    <a:pt x="297" y="295"/>
                  </a:cubicBezTo>
                  <a:cubicBezTo>
                    <a:pt x="294" y="287"/>
                    <a:pt x="294" y="287"/>
                    <a:pt x="294" y="287"/>
                  </a:cubicBezTo>
                  <a:cubicBezTo>
                    <a:pt x="294" y="287"/>
                    <a:pt x="288" y="285"/>
                    <a:pt x="281" y="285"/>
                  </a:cubicBezTo>
                  <a:cubicBezTo>
                    <a:pt x="273" y="284"/>
                    <a:pt x="279" y="279"/>
                    <a:pt x="279" y="279"/>
                  </a:cubicBezTo>
                  <a:cubicBezTo>
                    <a:pt x="273" y="277"/>
                    <a:pt x="273" y="277"/>
                    <a:pt x="273" y="277"/>
                  </a:cubicBezTo>
                  <a:cubicBezTo>
                    <a:pt x="271" y="271"/>
                    <a:pt x="271" y="271"/>
                    <a:pt x="271" y="271"/>
                  </a:cubicBezTo>
                  <a:cubicBezTo>
                    <a:pt x="271" y="271"/>
                    <a:pt x="263" y="265"/>
                    <a:pt x="262" y="263"/>
                  </a:cubicBezTo>
                  <a:cubicBezTo>
                    <a:pt x="261" y="261"/>
                    <a:pt x="269" y="257"/>
                    <a:pt x="269" y="257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57" y="247"/>
                    <a:pt x="252" y="238"/>
                    <a:pt x="255" y="235"/>
                  </a:cubicBezTo>
                  <a:cubicBezTo>
                    <a:pt x="259" y="233"/>
                    <a:pt x="259" y="239"/>
                    <a:pt x="263" y="239"/>
                  </a:cubicBezTo>
                  <a:cubicBezTo>
                    <a:pt x="267" y="238"/>
                    <a:pt x="266" y="233"/>
                    <a:pt x="266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33"/>
                    <a:pt x="275" y="225"/>
                    <a:pt x="283" y="227"/>
                  </a:cubicBezTo>
                  <a:cubicBezTo>
                    <a:pt x="292" y="229"/>
                    <a:pt x="290" y="233"/>
                    <a:pt x="290" y="233"/>
                  </a:cubicBezTo>
                  <a:cubicBezTo>
                    <a:pt x="297" y="224"/>
                    <a:pt x="297" y="224"/>
                    <a:pt x="297" y="224"/>
                  </a:cubicBezTo>
                  <a:cubicBezTo>
                    <a:pt x="308" y="221"/>
                    <a:pt x="308" y="221"/>
                    <a:pt x="308" y="221"/>
                  </a:cubicBezTo>
                  <a:cubicBezTo>
                    <a:pt x="310" y="217"/>
                    <a:pt x="310" y="217"/>
                    <a:pt x="310" y="217"/>
                  </a:cubicBezTo>
                  <a:cubicBezTo>
                    <a:pt x="310" y="217"/>
                    <a:pt x="321" y="217"/>
                    <a:pt x="324" y="216"/>
                  </a:cubicBezTo>
                  <a:cubicBezTo>
                    <a:pt x="327" y="215"/>
                    <a:pt x="325" y="210"/>
                    <a:pt x="325" y="210"/>
                  </a:cubicBezTo>
                  <a:cubicBezTo>
                    <a:pt x="325" y="210"/>
                    <a:pt x="336" y="211"/>
                    <a:pt x="339" y="208"/>
                  </a:cubicBezTo>
                  <a:cubicBezTo>
                    <a:pt x="341" y="205"/>
                    <a:pt x="346" y="199"/>
                    <a:pt x="348" y="198"/>
                  </a:cubicBezTo>
                  <a:cubicBezTo>
                    <a:pt x="350" y="197"/>
                    <a:pt x="355" y="209"/>
                    <a:pt x="360" y="208"/>
                  </a:cubicBezTo>
                  <a:cubicBezTo>
                    <a:pt x="365" y="207"/>
                    <a:pt x="371" y="195"/>
                    <a:pt x="372" y="191"/>
                  </a:cubicBezTo>
                  <a:cubicBezTo>
                    <a:pt x="373" y="188"/>
                    <a:pt x="367" y="187"/>
                    <a:pt x="367" y="187"/>
                  </a:cubicBezTo>
                  <a:cubicBezTo>
                    <a:pt x="367" y="187"/>
                    <a:pt x="371" y="182"/>
                    <a:pt x="369" y="177"/>
                  </a:cubicBezTo>
                  <a:cubicBezTo>
                    <a:pt x="368" y="171"/>
                    <a:pt x="360" y="177"/>
                    <a:pt x="360" y="177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52" y="163"/>
                    <a:pt x="351" y="157"/>
                  </a:cubicBezTo>
                  <a:cubicBezTo>
                    <a:pt x="351" y="152"/>
                    <a:pt x="360" y="146"/>
                    <a:pt x="360" y="146"/>
                  </a:cubicBezTo>
                  <a:cubicBezTo>
                    <a:pt x="360" y="146"/>
                    <a:pt x="357" y="144"/>
                    <a:pt x="355" y="143"/>
                  </a:cubicBezTo>
                  <a:cubicBezTo>
                    <a:pt x="353" y="143"/>
                    <a:pt x="356" y="136"/>
                    <a:pt x="356" y="136"/>
                  </a:cubicBezTo>
                  <a:cubicBezTo>
                    <a:pt x="356" y="136"/>
                    <a:pt x="351" y="135"/>
                    <a:pt x="350" y="132"/>
                  </a:cubicBezTo>
                  <a:cubicBezTo>
                    <a:pt x="349" y="129"/>
                    <a:pt x="355" y="126"/>
                    <a:pt x="355" y="126"/>
                  </a:cubicBezTo>
                  <a:cubicBezTo>
                    <a:pt x="355" y="126"/>
                    <a:pt x="355" y="120"/>
                    <a:pt x="352" y="115"/>
                  </a:cubicBezTo>
                  <a:cubicBezTo>
                    <a:pt x="349" y="111"/>
                    <a:pt x="345" y="115"/>
                    <a:pt x="345" y="115"/>
                  </a:cubicBezTo>
                  <a:cubicBezTo>
                    <a:pt x="341" y="109"/>
                    <a:pt x="341" y="109"/>
                    <a:pt x="341" y="109"/>
                  </a:cubicBezTo>
                  <a:cubicBezTo>
                    <a:pt x="341" y="109"/>
                    <a:pt x="337" y="113"/>
                    <a:pt x="334" y="106"/>
                  </a:cubicBezTo>
                  <a:cubicBezTo>
                    <a:pt x="331" y="99"/>
                    <a:pt x="337" y="98"/>
                    <a:pt x="343" y="93"/>
                  </a:cubicBezTo>
                  <a:cubicBezTo>
                    <a:pt x="349" y="89"/>
                    <a:pt x="347" y="87"/>
                    <a:pt x="345" y="79"/>
                  </a:cubicBezTo>
                  <a:cubicBezTo>
                    <a:pt x="342" y="70"/>
                    <a:pt x="337" y="78"/>
                    <a:pt x="339" y="72"/>
                  </a:cubicBezTo>
                  <a:cubicBezTo>
                    <a:pt x="340" y="69"/>
                    <a:pt x="339" y="65"/>
                    <a:pt x="338" y="62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21" y="55"/>
                    <a:pt x="321" y="55"/>
                    <a:pt x="321" y="55"/>
                  </a:cubicBezTo>
                  <a:cubicBezTo>
                    <a:pt x="321" y="55"/>
                    <a:pt x="323" y="50"/>
                    <a:pt x="318" y="44"/>
                  </a:cubicBezTo>
                  <a:cubicBezTo>
                    <a:pt x="313" y="38"/>
                    <a:pt x="301" y="41"/>
                    <a:pt x="301" y="41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6" y="35"/>
                    <a:pt x="270" y="23"/>
                    <a:pt x="265" y="26"/>
                  </a:cubicBezTo>
                  <a:cubicBezTo>
                    <a:pt x="260" y="29"/>
                    <a:pt x="253" y="36"/>
                    <a:pt x="253" y="36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200" y="46"/>
                    <a:pt x="198" y="38"/>
                    <a:pt x="202" y="35"/>
                  </a:cubicBezTo>
                  <a:cubicBezTo>
                    <a:pt x="206" y="32"/>
                    <a:pt x="209" y="20"/>
                    <a:pt x="209" y="20"/>
                  </a:cubicBezTo>
                  <a:cubicBezTo>
                    <a:pt x="196" y="27"/>
                    <a:pt x="196" y="27"/>
                    <a:pt x="196" y="27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0" y="14"/>
                    <a:pt x="156" y="4"/>
                  </a:cubicBezTo>
                  <a:cubicBezTo>
                    <a:pt x="154" y="5"/>
                    <a:pt x="153" y="6"/>
                    <a:pt x="153" y="6"/>
                  </a:cubicBezTo>
                  <a:cubicBezTo>
                    <a:pt x="153" y="6"/>
                    <a:pt x="152" y="2"/>
                    <a:pt x="145" y="3"/>
                  </a:cubicBezTo>
                  <a:cubicBezTo>
                    <a:pt x="137" y="3"/>
                    <a:pt x="135" y="5"/>
                    <a:pt x="135" y="5"/>
                  </a:cubicBezTo>
                  <a:cubicBezTo>
                    <a:pt x="135" y="5"/>
                    <a:pt x="127" y="0"/>
                    <a:pt x="123" y="0"/>
                  </a:cubicBezTo>
                  <a:cubicBezTo>
                    <a:pt x="119" y="0"/>
                    <a:pt x="112" y="0"/>
                    <a:pt x="112" y="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10" y="70"/>
                    <a:pt x="104" y="72"/>
                  </a:cubicBezTo>
                  <a:cubicBezTo>
                    <a:pt x="98" y="74"/>
                    <a:pt x="88" y="72"/>
                    <a:pt x="88" y="7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55" y="59"/>
                    <a:pt x="54" y="64"/>
                  </a:cubicBezTo>
                  <a:cubicBezTo>
                    <a:pt x="53" y="69"/>
                    <a:pt x="53" y="82"/>
                    <a:pt x="53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5"/>
                    <a:pt x="48" y="99"/>
                    <a:pt x="47" y="103"/>
                  </a:cubicBezTo>
                  <a:cubicBezTo>
                    <a:pt x="45" y="107"/>
                    <a:pt x="49" y="115"/>
                    <a:pt x="49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29" y="119"/>
                    <a:pt x="30" y="122"/>
                  </a:cubicBezTo>
                  <a:cubicBezTo>
                    <a:pt x="31" y="125"/>
                    <a:pt x="45" y="130"/>
                    <a:pt x="45" y="134"/>
                  </a:cubicBezTo>
                  <a:cubicBezTo>
                    <a:pt x="45" y="138"/>
                    <a:pt x="37" y="142"/>
                    <a:pt x="37" y="142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9" y="152"/>
                    <a:pt x="27" y="157"/>
                    <a:pt x="25" y="160"/>
                  </a:cubicBezTo>
                  <a:cubicBezTo>
                    <a:pt x="23" y="163"/>
                    <a:pt x="1" y="155"/>
                    <a:pt x="1" y="155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7" y="170"/>
                    <a:pt x="12" y="178"/>
                    <a:pt x="11" y="181"/>
                  </a:cubicBezTo>
                  <a:cubicBezTo>
                    <a:pt x="11" y="185"/>
                    <a:pt x="0" y="191"/>
                    <a:pt x="0" y="191"/>
                  </a:cubicBezTo>
                  <a:cubicBezTo>
                    <a:pt x="0" y="191"/>
                    <a:pt x="5" y="197"/>
                    <a:pt x="4" y="199"/>
                  </a:cubicBezTo>
                  <a:cubicBezTo>
                    <a:pt x="3" y="201"/>
                    <a:pt x="0" y="215"/>
                    <a:pt x="0" y="215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5" y="216"/>
                    <a:pt x="14" y="219"/>
                    <a:pt x="15" y="225"/>
                  </a:cubicBezTo>
                  <a:cubicBezTo>
                    <a:pt x="15" y="231"/>
                    <a:pt x="18" y="238"/>
                    <a:pt x="18" y="238"/>
                  </a:cubicBezTo>
                  <a:cubicBezTo>
                    <a:pt x="9" y="239"/>
                    <a:pt x="9" y="239"/>
                    <a:pt x="9" y="239"/>
                  </a:cubicBezTo>
                  <a:cubicBezTo>
                    <a:pt x="9" y="239"/>
                    <a:pt x="4" y="247"/>
                    <a:pt x="7" y="253"/>
                  </a:cubicBezTo>
                  <a:cubicBezTo>
                    <a:pt x="11" y="259"/>
                    <a:pt x="21" y="261"/>
                    <a:pt x="22" y="265"/>
                  </a:cubicBezTo>
                  <a:cubicBezTo>
                    <a:pt x="23" y="270"/>
                    <a:pt x="17" y="274"/>
                    <a:pt x="17" y="27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B42E3090-3532-85A4-3368-08BF446FF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578" y="2801508"/>
              <a:ext cx="10671" cy="6097"/>
            </a:xfrm>
            <a:custGeom>
              <a:avLst/>
              <a:gdLst>
                <a:gd name="T0" fmla="*/ 0 w 20"/>
                <a:gd name="T1" fmla="*/ 0 h 13"/>
                <a:gd name="T2" fmla="*/ 1 w 20"/>
                <a:gd name="T3" fmla="*/ 0 h 13"/>
                <a:gd name="T4" fmla="*/ 1 w 20"/>
                <a:gd name="T5" fmla="*/ 0 h 13"/>
                <a:gd name="T6" fmla="*/ 1 w 20"/>
                <a:gd name="T7" fmla="*/ 0 h 13"/>
                <a:gd name="T8" fmla="*/ 0 w 20"/>
                <a:gd name="T9" fmla="*/ 0 h 13"/>
                <a:gd name="T10" fmla="*/ 0 w 20"/>
                <a:gd name="T11" fmla="*/ 0 h 13"/>
                <a:gd name="T12" fmla="*/ 0 w 20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3"/>
                <a:gd name="T23" fmla="*/ 20 w 20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3">
                  <a:moveTo>
                    <a:pt x="5" y="13"/>
                  </a:moveTo>
                  <a:cubicBezTo>
                    <a:pt x="5" y="13"/>
                    <a:pt x="14" y="11"/>
                    <a:pt x="18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5" y="0"/>
                    <a:pt x="5" y="1"/>
                  </a:cubicBezTo>
                  <a:cubicBezTo>
                    <a:pt x="3" y="1"/>
                    <a:pt x="1" y="1"/>
                    <a:pt x="0" y="2"/>
                  </a:cubicBezTo>
                  <a:lnTo>
                    <a:pt x="5" y="13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E4FB1C66-73A5-63C8-BC9A-9E48B1EE7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277" y="2402134"/>
              <a:ext cx="217979" cy="140238"/>
            </a:xfrm>
            <a:custGeom>
              <a:avLst/>
              <a:gdLst>
                <a:gd name="T0" fmla="*/ 1 w 382"/>
                <a:gd name="T1" fmla="*/ 11 h 250"/>
                <a:gd name="T2" fmla="*/ 2 w 382"/>
                <a:gd name="T3" fmla="*/ 12 h 250"/>
                <a:gd name="T4" fmla="*/ 4 w 382"/>
                <a:gd name="T5" fmla="*/ 11 h 250"/>
                <a:gd name="T6" fmla="*/ 6 w 382"/>
                <a:gd name="T7" fmla="*/ 11 h 250"/>
                <a:gd name="T8" fmla="*/ 8 w 382"/>
                <a:gd name="T9" fmla="*/ 11 h 250"/>
                <a:gd name="T10" fmla="*/ 9 w 382"/>
                <a:gd name="T11" fmla="*/ 12 h 250"/>
                <a:gd name="T12" fmla="*/ 10 w 382"/>
                <a:gd name="T13" fmla="*/ 12 h 250"/>
                <a:gd name="T14" fmla="*/ 11 w 382"/>
                <a:gd name="T15" fmla="*/ 12 h 250"/>
                <a:gd name="T16" fmla="*/ 12 w 382"/>
                <a:gd name="T17" fmla="*/ 12 h 250"/>
                <a:gd name="T18" fmla="*/ 12 w 382"/>
                <a:gd name="T19" fmla="*/ 12 h 250"/>
                <a:gd name="T20" fmla="*/ 13 w 382"/>
                <a:gd name="T21" fmla="*/ 12 h 250"/>
                <a:gd name="T22" fmla="*/ 16 w 382"/>
                <a:gd name="T23" fmla="*/ 12 h 250"/>
                <a:gd name="T24" fmla="*/ 17 w 382"/>
                <a:gd name="T25" fmla="*/ 10 h 250"/>
                <a:gd name="T26" fmla="*/ 18 w 382"/>
                <a:gd name="T27" fmla="*/ 10 h 250"/>
                <a:gd name="T28" fmla="*/ 17 w 382"/>
                <a:gd name="T29" fmla="*/ 8 h 250"/>
                <a:gd name="T30" fmla="*/ 19 w 382"/>
                <a:gd name="T31" fmla="*/ 8 h 250"/>
                <a:gd name="T32" fmla="*/ 19 w 382"/>
                <a:gd name="T33" fmla="*/ 7 h 250"/>
                <a:gd name="T34" fmla="*/ 18 w 382"/>
                <a:gd name="T35" fmla="*/ 6 h 250"/>
                <a:gd name="T36" fmla="*/ 17 w 382"/>
                <a:gd name="T37" fmla="*/ 5 h 250"/>
                <a:gd name="T38" fmla="*/ 15 w 382"/>
                <a:gd name="T39" fmla="*/ 3 h 250"/>
                <a:gd name="T40" fmla="*/ 15 w 382"/>
                <a:gd name="T41" fmla="*/ 2 h 250"/>
                <a:gd name="T42" fmla="*/ 13 w 382"/>
                <a:gd name="T43" fmla="*/ 0 h 250"/>
                <a:gd name="T44" fmla="*/ 12 w 382"/>
                <a:gd name="T45" fmla="*/ 0 h 250"/>
                <a:gd name="T46" fmla="*/ 10 w 382"/>
                <a:gd name="T47" fmla="*/ 0 h 250"/>
                <a:gd name="T48" fmla="*/ 9 w 382"/>
                <a:gd name="T49" fmla="*/ 0 h 250"/>
                <a:gd name="T50" fmla="*/ 8 w 382"/>
                <a:gd name="T51" fmla="*/ 1 h 250"/>
                <a:gd name="T52" fmla="*/ 6 w 382"/>
                <a:gd name="T53" fmla="*/ 1 h 250"/>
                <a:gd name="T54" fmla="*/ 6 w 382"/>
                <a:gd name="T55" fmla="*/ 3 h 250"/>
                <a:gd name="T56" fmla="*/ 6 w 382"/>
                <a:gd name="T57" fmla="*/ 3 h 250"/>
                <a:gd name="T58" fmla="*/ 5 w 382"/>
                <a:gd name="T59" fmla="*/ 4 h 250"/>
                <a:gd name="T60" fmla="*/ 5 w 382"/>
                <a:gd name="T61" fmla="*/ 5 h 250"/>
                <a:gd name="T62" fmla="*/ 4 w 382"/>
                <a:gd name="T63" fmla="*/ 5 h 250"/>
                <a:gd name="T64" fmla="*/ 3 w 382"/>
                <a:gd name="T65" fmla="*/ 5 h 250"/>
                <a:gd name="T66" fmla="*/ 2 w 382"/>
                <a:gd name="T67" fmla="*/ 6 h 250"/>
                <a:gd name="T68" fmla="*/ 0 w 382"/>
                <a:gd name="T69" fmla="*/ 6 h 250"/>
                <a:gd name="T70" fmla="*/ 1 w 382"/>
                <a:gd name="T71" fmla="*/ 7 h 250"/>
                <a:gd name="T72" fmla="*/ 1 w 382"/>
                <a:gd name="T73" fmla="*/ 9 h 250"/>
                <a:gd name="T74" fmla="*/ 0 w 382"/>
                <a:gd name="T75" fmla="*/ 10 h 250"/>
                <a:gd name="T76" fmla="*/ 1 w 382"/>
                <a:gd name="T77" fmla="*/ 10 h 25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82"/>
                <a:gd name="T118" fmla="*/ 0 h 250"/>
                <a:gd name="T119" fmla="*/ 382 w 382"/>
                <a:gd name="T120" fmla="*/ 250 h 25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82" h="250">
                  <a:moveTo>
                    <a:pt x="20" y="207"/>
                  </a:moveTo>
                  <a:cubicBezTo>
                    <a:pt x="22" y="211"/>
                    <a:pt x="19" y="225"/>
                    <a:pt x="19" y="225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26" y="236"/>
                    <a:pt x="35" y="240"/>
                    <a:pt x="42" y="236"/>
                  </a:cubicBezTo>
                  <a:cubicBezTo>
                    <a:pt x="50" y="231"/>
                    <a:pt x="51" y="221"/>
                    <a:pt x="51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1"/>
                    <a:pt x="88" y="215"/>
                    <a:pt x="91" y="214"/>
                  </a:cubicBezTo>
                  <a:cubicBezTo>
                    <a:pt x="94" y="213"/>
                    <a:pt x="121" y="214"/>
                    <a:pt x="121" y="214"/>
                  </a:cubicBezTo>
                  <a:cubicBezTo>
                    <a:pt x="121" y="214"/>
                    <a:pt x="121" y="222"/>
                    <a:pt x="131" y="222"/>
                  </a:cubicBezTo>
                  <a:cubicBezTo>
                    <a:pt x="141" y="222"/>
                    <a:pt x="146" y="222"/>
                    <a:pt x="146" y="222"/>
                  </a:cubicBezTo>
                  <a:cubicBezTo>
                    <a:pt x="165" y="225"/>
                    <a:pt x="165" y="225"/>
                    <a:pt x="165" y="225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81" y="231"/>
                    <a:pt x="181" y="231"/>
                    <a:pt x="181" y="231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8" y="232"/>
                    <a:pt x="198" y="232"/>
                    <a:pt x="198" y="23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36" y="242"/>
                    <a:pt x="236" y="242"/>
                    <a:pt x="236" y="242"/>
                  </a:cubicBezTo>
                  <a:cubicBezTo>
                    <a:pt x="236" y="242"/>
                    <a:pt x="235" y="232"/>
                    <a:pt x="247" y="233"/>
                  </a:cubicBezTo>
                  <a:cubicBezTo>
                    <a:pt x="259" y="234"/>
                    <a:pt x="251" y="246"/>
                    <a:pt x="259" y="245"/>
                  </a:cubicBezTo>
                  <a:cubicBezTo>
                    <a:pt x="267" y="244"/>
                    <a:pt x="278" y="241"/>
                    <a:pt x="278" y="241"/>
                  </a:cubicBezTo>
                  <a:cubicBezTo>
                    <a:pt x="278" y="241"/>
                    <a:pt x="292" y="250"/>
                    <a:pt x="301" y="247"/>
                  </a:cubicBezTo>
                  <a:cubicBezTo>
                    <a:pt x="310" y="244"/>
                    <a:pt x="300" y="231"/>
                    <a:pt x="300" y="231"/>
                  </a:cubicBezTo>
                  <a:cubicBezTo>
                    <a:pt x="300" y="231"/>
                    <a:pt x="316" y="206"/>
                    <a:pt x="323" y="206"/>
                  </a:cubicBezTo>
                  <a:cubicBezTo>
                    <a:pt x="326" y="206"/>
                    <a:pt x="336" y="208"/>
                    <a:pt x="347" y="209"/>
                  </a:cubicBezTo>
                  <a:cubicBezTo>
                    <a:pt x="346" y="201"/>
                    <a:pt x="346" y="191"/>
                    <a:pt x="344" y="191"/>
                  </a:cubicBezTo>
                  <a:cubicBezTo>
                    <a:pt x="341" y="190"/>
                    <a:pt x="341" y="176"/>
                    <a:pt x="341" y="176"/>
                  </a:cubicBezTo>
                  <a:cubicBezTo>
                    <a:pt x="341" y="176"/>
                    <a:pt x="314" y="154"/>
                    <a:pt x="328" y="151"/>
                  </a:cubicBezTo>
                  <a:cubicBezTo>
                    <a:pt x="342" y="148"/>
                    <a:pt x="344" y="154"/>
                    <a:pt x="344" y="154"/>
                  </a:cubicBezTo>
                  <a:cubicBezTo>
                    <a:pt x="344" y="154"/>
                    <a:pt x="357" y="162"/>
                    <a:pt x="365" y="155"/>
                  </a:cubicBezTo>
                  <a:cubicBezTo>
                    <a:pt x="373" y="148"/>
                    <a:pt x="382" y="139"/>
                    <a:pt x="382" y="139"/>
                  </a:cubicBezTo>
                  <a:cubicBezTo>
                    <a:pt x="368" y="131"/>
                    <a:pt x="368" y="131"/>
                    <a:pt x="368" y="131"/>
                  </a:cubicBezTo>
                  <a:cubicBezTo>
                    <a:pt x="368" y="131"/>
                    <a:pt x="376" y="122"/>
                    <a:pt x="363" y="119"/>
                  </a:cubicBezTo>
                  <a:cubicBezTo>
                    <a:pt x="350" y="116"/>
                    <a:pt x="340" y="118"/>
                    <a:pt x="340" y="118"/>
                  </a:cubicBezTo>
                  <a:cubicBezTo>
                    <a:pt x="338" y="103"/>
                    <a:pt x="338" y="103"/>
                    <a:pt x="338" y="103"/>
                  </a:cubicBezTo>
                  <a:cubicBezTo>
                    <a:pt x="318" y="96"/>
                    <a:pt x="318" y="96"/>
                    <a:pt x="318" y="96"/>
                  </a:cubicBezTo>
                  <a:cubicBezTo>
                    <a:pt x="318" y="96"/>
                    <a:pt x="315" y="75"/>
                    <a:pt x="307" y="73"/>
                  </a:cubicBezTo>
                  <a:cubicBezTo>
                    <a:pt x="299" y="71"/>
                    <a:pt x="294" y="66"/>
                    <a:pt x="294" y="66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0" y="44"/>
                    <a:pt x="290" y="44"/>
                    <a:pt x="290" y="44"/>
                  </a:cubicBezTo>
                  <a:cubicBezTo>
                    <a:pt x="290" y="44"/>
                    <a:pt x="304" y="30"/>
                    <a:pt x="293" y="25"/>
                  </a:cubicBezTo>
                  <a:cubicBezTo>
                    <a:pt x="282" y="20"/>
                    <a:pt x="260" y="9"/>
                    <a:pt x="260" y="9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6" y="11"/>
                    <a:pt x="236" y="11"/>
                    <a:pt x="236" y="11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4" y="11"/>
                    <a:pt x="204" y="11"/>
                    <a:pt x="204" y="11"/>
                  </a:cubicBezTo>
                  <a:cubicBezTo>
                    <a:pt x="204" y="11"/>
                    <a:pt x="203" y="4"/>
                    <a:pt x="195" y="3"/>
                  </a:cubicBezTo>
                  <a:cubicBezTo>
                    <a:pt x="187" y="2"/>
                    <a:pt x="176" y="0"/>
                    <a:pt x="176" y="0"/>
                  </a:cubicBezTo>
                  <a:cubicBezTo>
                    <a:pt x="176" y="0"/>
                    <a:pt x="162" y="16"/>
                    <a:pt x="162" y="13"/>
                  </a:cubicBezTo>
                  <a:cubicBezTo>
                    <a:pt x="162" y="10"/>
                    <a:pt x="157" y="19"/>
                    <a:pt x="157" y="19"/>
                  </a:cubicBezTo>
                  <a:cubicBezTo>
                    <a:pt x="157" y="19"/>
                    <a:pt x="146" y="13"/>
                    <a:pt x="141" y="13"/>
                  </a:cubicBezTo>
                  <a:cubicBezTo>
                    <a:pt x="136" y="13"/>
                    <a:pt x="121" y="26"/>
                    <a:pt x="119" y="31"/>
                  </a:cubicBezTo>
                  <a:cubicBezTo>
                    <a:pt x="117" y="36"/>
                    <a:pt x="133" y="46"/>
                    <a:pt x="133" y="46"/>
                  </a:cubicBezTo>
                  <a:cubicBezTo>
                    <a:pt x="133" y="46"/>
                    <a:pt x="126" y="52"/>
                    <a:pt x="120" y="52"/>
                  </a:cubicBezTo>
                  <a:cubicBezTo>
                    <a:pt x="114" y="52"/>
                    <a:pt x="107" y="47"/>
                    <a:pt x="107" y="47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60"/>
                    <a:pt x="98" y="55"/>
                    <a:pt x="96" y="62"/>
                  </a:cubicBezTo>
                  <a:cubicBezTo>
                    <a:pt x="94" y="69"/>
                    <a:pt x="98" y="77"/>
                    <a:pt x="98" y="77"/>
                  </a:cubicBezTo>
                  <a:cubicBezTo>
                    <a:pt x="98" y="77"/>
                    <a:pt x="86" y="76"/>
                    <a:pt x="91" y="84"/>
                  </a:cubicBezTo>
                  <a:cubicBezTo>
                    <a:pt x="96" y="92"/>
                    <a:pt x="103" y="103"/>
                    <a:pt x="96" y="104"/>
                  </a:cubicBezTo>
                  <a:cubicBezTo>
                    <a:pt x="89" y="105"/>
                    <a:pt x="100" y="96"/>
                    <a:pt x="90" y="96"/>
                  </a:cubicBezTo>
                  <a:cubicBezTo>
                    <a:pt x="80" y="96"/>
                    <a:pt x="72" y="103"/>
                    <a:pt x="72" y="103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38" y="107"/>
                    <a:pt x="30" y="108"/>
                  </a:cubicBezTo>
                  <a:cubicBezTo>
                    <a:pt x="22" y="109"/>
                    <a:pt x="6" y="113"/>
                    <a:pt x="6" y="113"/>
                  </a:cubicBezTo>
                  <a:cubicBezTo>
                    <a:pt x="6" y="113"/>
                    <a:pt x="14" y="126"/>
                    <a:pt x="14" y="131"/>
                  </a:cubicBezTo>
                  <a:cubicBezTo>
                    <a:pt x="14" y="136"/>
                    <a:pt x="25" y="145"/>
                    <a:pt x="25" y="145"/>
                  </a:cubicBezTo>
                  <a:cubicBezTo>
                    <a:pt x="25" y="145"/>
                    <a:pt x="33" y="157"/>
                    <a:pt x="31" y="161"/>
                  </a:cubicBezTo>
                  <a:cubicBezTo>
                    <a:pt x="29" y="165"/>
                    <a:pt x="27" y="173"/>
                    <a:pt x="27" y="173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5" y="190"/>
                    <a:pt x="12" y="190"/>
                  </a:cubicBezTo>
                  <a:cubicBezTo>
                    <a:pt x="9" y="190"/>
                    <a:pt x="0" y="188"/>
                    <a:pt x="2" y="194"/>
                  </a:cubicBezTo>
                  <a:cubicBezTo>
                    <a:pt x="4" y="200"/>
                    <a:pt x="18" y="203"/>
                    <a:pt x="20" y="20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643DD091-C4B6-35AA-CDC2-8B3631B89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5876" y="2344209"/>
              <a:ext cx="161579" cy="70119"/>
            </a:xfrm>
            <a:custGeom>
              <a:avLst/>
              <a:gdLst>
                <a:gd name="T0" fmla="*/ 0 w 286"/>
                <a:gd name="T1" fmla="*/ 5 h 123"/>
                <a:gd name="T2" fmla="*/ 1 w 286"/>
                <a:gd name="T3" fmla="*/ 5 h 123"/>
                <a:gd name="T4" fmla="*/ 3 w 286"/>
                <a:gd name="T5" fmla="*/ 4 h 123"/>
                <a:gd name="T6" fmla="*/ 3 w 286"/>
                <a:gd name="T7" fmla="*/ 4 h 123"/>
                <a:gd name="T8" fmla="*/ 4 w 286"/>
                <a:gd name="T9" fmla="*/ 5 h 123"/>
                <a:gd name="T10" fmla="*/ 4 w 286"/>
                <a:gd name="T11" fmla="*/ 4 h 123"/>
                <a:gd name="T12" fmla="*/ 6 w 286"/>
                <a:gd name="T13" fmla="*/ 5 h 123"/>
                <a:gd name="T14" fmla="*/ 6 w 286"/>
                <a:gd name="T15" fmla="*/ 4 h 123"/>
                <a:gd name="T16" fmla="*/ 7 w 286"/>
                <a:gd name="T17" fmla="*/ 5 h 123"/>
                <a:gd name="T18" fmla="*/ 8 w 286"/>
                <a:gd name="T19" fmla="*/ 4 h 123"/>
                <a:gd name="T20" fmla="*/ 8 w 286"/>
                <a:gd name="T21" fmla="*/ 5 h 123"/>
                <a:gd name="T22" fmla="*/ 10 w 286"/>
                <a:gd name="T23" fmla="*/ 5 h 123"/>
                <a:gd name="T24" fmla="*/ 10 w 286"/>
                <a:gd name="T25" fmla="*/ 6 h 123"/>
                <a:gd name="T26" fmla="*/ 11 w 286"/>
                <a:gd name="T27" fmla="*/ 6 h 123"/>
                <a:gd name="T28" fmla="*/ 11 w 286"/>
                <a:gd name="T29" fmla="*/ 6 h 123"/>
                <a:gd name="T30" fmla="*/ 12 w 286"/>
                <a:gd name="T31" fmla="*/ 6 h 123"/>
                <a:gd name="T32" fmla="*/ 13 w 286"/>
                <a:gd name="T33" fmla="*/ 6 h 123"/>
                <a:gd name="T34" fmla="*/ 13 w 286"/>
                <a:gd name="T35" fmla="*/ 6 h 123"/>
                <a:gd name="T36" fmla="*/ 14 w 286"/>
                <a:gd name="T37" fmla="*/ 5 h 123"/>
                <a:gd name="T38" fmla="*/ 14 w 286"/>
                <a:gd name="T39" fmla="*/ 5 h 123"/>
                <a:gd name="T40" fmla="*/ 14 w 286"/>
                <a:gd name="T41" fmla="*/ 4 h 123"/>
                <a:gd name="T42" fmla="*/ 14 w 286"/>
                <a:gd name="T43" fmla="*/ 3 h 123"/>
                <a:gd name="T44" fmla="*/ 13 w 286"/>
                <a:gd name="T45" fmla="*/ 3 h 123"/>
                <a:gd name="T46" fmla="*/ 13 w 286"/>
                <a:gd name="T47" fmla="*/ 3 h 123"/>
                <a:gd name="T48" fmla="*/ 14 w 286"/>
                <a:gd name="T49" fmla="*/ 2 h 123"/>
                <a:gd name="T50" fmla="*/ 13 w 286"/>
                <a:gd name="T51" fmla="*/ 1 h 123"/>
                <a:gd name="T52" fmla="*/ 12 w 286"/>
                <a:gd name="T53" fmla="*/ 1 h 123"/>
                <a:gd name="T54" fmla="*/ 11 w 286"/>
                <a:gd name="T55" fmla="*/ 1 h 123"/>
                <a:gd name="T56" fmla="*/ 11 w 286"/>
                <a:gd name="T57" fmla="*/ 1 h 123"/>
                <a:gd name="T58" fmla="*/ 10 w 286"/>
                <a:gd name="T59" fmla="*/ 1 h 123"/>
                <a:gd name="T60" fmla="*/ 9 w 286"/>
                <a:gd name="T61" fmla="*/ 0 h 123"/>
                <a:gd name="T62" fmla="*/ 7 w 286"/>
                <a:gd name="T63" fmla="*/ 0 h 123"/>
                <a:gd name="T64" fmla="*/ 6 w 286"/>
                <a:gd name="T65" fmla="*/ 0 h 123"/>
                <a:gd name="T66" fmla="*/ 6 w 286"/>
                <a:gd name="T67" fmla="*/ 0 h 123"/>
                <a:gd name="T68" fmla="*/ 6 w 286"/>
                <a:gd name="T69" fmla="*/ 0 h 123"/>
                <a:gd name="T70" fmla="*/ 6 w 286"/>
                <a:gd name="T71" fmla="*/ 3 h 123"/>
                <a:gd name="T72" fmla="*/ 4 w 286"/>
                <a:gd name="T73" fmla="*/ 3 h 123"/>
                <a:gd name="T74" fmla="*/ 4 w 286"/>
                <a:gd name="T75" fmla="*/ 2 h 123"/>
                <a:gd name="T76" fmla="*/ 3 w 286"/>
                <a:gd name="T77" fmla="*/ 1 h 123"/>
                <a:gd name="T78" fmla="*/ 1 w 286"/>
                <a:gd name="T79" fmla="*/ 1 h 123"/>
                <a:gd name="T80" fmla="*/ 1 w 286"/>
                <a:gd name="T81" fmla="*/ 2 h 123"/>
                <a:gd name="T82" fmla="*/ 0 w 286"/>
                <a:gd name="T83" fmla="*/ 4 h 123"/>
                <a:gd name="T84" fmla="*/ 0 w 286"/>
                <a:gd name="T85" fmla="*/ 6 h 123"/>
                <a:gd name="T86" fmla="*/ 0 w 286"/>
                <a:gd name="T87" fmla="*/ 5 h 1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86"/>
                <a:gd name="T133" fmla="*/ 0 h 123"/>
                <a:gd name="T134" fmla="*/ 286 w 286"/>
                <a:gd name="T135" fmla="*/ 123 h 1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86" h="123">
                  <a:moveTo>
                    <a:pt x="5" y="97"/>
                  </a:moveTo>
                  <a:cubicBezTo>
                    <a:pt x="8" y="95"/>
                    <a:pt x="12" y="93"/>
                    <a:pt x="18" y="92"/>
                  </a:cubicBezTo>
                  <a:cubicBezTo>
                    <a:pt x="38" y="89"/>
                    <a:pt x="45" y="89"/>
                    <a:pt x="51" y="86"/>
                  </a:cubicBezTo>
                  <a:cubicBezTo>
                    <a:pt x="57" y="83"/>
                    <a:pt x="59" y="81"/>
                    <a:pt x="65" y="83"/>
                  </a:cubicBezTo>
                  <a:cubicBezTo>
                    <a:pt x="71" y="85"/>
                    <a:pt x="78" y="90"/>
                    <a:pt x="78" y="90"/>
                  </a:cubicBezTo>
                  <a:cubicBezTo>
                    <a:pt x="78" y="90"/>
                    <a:pt x="83" y="89"/>
                    <a:pt x="86" y="88"/>
                  </a:cubicBezTo>
                  <a:cubicBezTo>
                    <a:pt x="89" y="87"/>
                    <a:pt x="109" y="94"/>
                    <a:pt x="109" y="94"/>
                  </a:cubicBezTo>
                  <a:cubicBezTo>
                    <a:pt x="109" y="94"/>
                    <a:pt x="113" y="89"/>
                    <a:pt x="118" y="89"/>
                  </a:cubicBezTo>
                  <a:cubicBezTo>
                    <a:pt x="123" y="89"/>
                    <a:pt x="125" y="93"/>
                    <a:pt x="133" y="93"/>
                  </a:cubicBezTo>
                  <a:cubicBezTo>
                    <a:pt x="141" y="93"/>
                    <a:pt x="144" y="85"/>
                    <a:pt x="150" y="85"/>
                  </a:cubicBezTo>
                  <a:cubicBezTo>
                    <a:pt x="156" y="85"/>
                    <a:pt x="162" y="98"/>
                    <a:pt x="162" y="98"/>
                  </a:cubicBezTo>
                  <a:cubicBezTo>
                    <a:pt x="162" y="98"/>
                    <a:pt x="183" y="99"/>
                    <a:pt x="189" y="101"/>
                  </a:cubicBezTo>
                  <a:cubicBezTo>
                    <a:pt x="195" y="103"/>
                    <a:pt x="200" y="111"/>
                    <a:pt x="200" y="111"/>
                  </a:cubicBezTo>
                  <a:cubicBezTo>
                    <a:pt x="215" y="119"/>
                    <a:pt x="215" y="119"/>
                    <a:pt x="215" y="119"/>
                  </a:cubicBezTo>
                  <a:cubicBezTo>
                    <a:pt x="227" y="123"/>
                    <a:pt x="227" y="123"/>
                    <a:pt x="227" y="123"/>
                  </a:cubicBezTo>
                  <a:cubicBezTo>
                    <a:pt x="233" y="118"/>
                    <a:pt x="240" y="113"/>
                    <a:pt x="243" y="113"/>
                  </a:cubicBezTo>
                  <a:cubicBezTo>
                    <a:pt x="248" y="113"/>
                    <a:pt x="259" y="119"/>
                    <a:pt x="259" y="119"/>
                  </a:cubicBezTo>
                  <a:cubicBezTo>
                    <a:pt x="259" y="119"/>
                    <a:pt x="264" y="110"/>
                    <a:pt x="264" y="113"/>
                  </a:cubicBezTo>
                  <a:cubicBezTo>
                    <a:pt x="264" y="116"/>
                    <a:pt x="278" y="100"/>
                    <a:pt x="278" y="100"/>
                  </a:cubicBezTo>
                  <a:cubicBezTo>
                    <a:pt x="278" y="100"/>
                    <a:pt x="282" y="101"/>
                    <a:pt x="286" y="101"/>
                  </a:cubicBezTo>
                  <a:cubicBezTo>
                    <a:pt x="286" y="97"/>
                    <a:pt x="286" y="87"/>
                    <a:pt x="280" y="82"/>
                  </a:cubicBezTo>
                  <a:cubicBezTo>
                    <a:pt x="273" y="76"/>
                    <a:pt x="268" y="65"/>
                    <a:pt x="268" y="65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69" y="50"/>
                    <a:pt x="268" y="45"/>
                  </a:cubicBezTo>
                  <a:cubicBezTo>
                    <a:pt x="267" y="40"/>
                    <a:pt x="246" y="30"/>
                    <a:pt x="246" y="30"/>
                  </a:cubicBezTo>
                  <a:cubicBezTo>
                    <a:pt x="238" y="31"/>
                    <a:pt x="238" y="31"/>
                    <a:pt x="238" y="31"/>
                  </a:cubicBezTo>
                  <a:cubicBezTo>
                    <a:pt x="238" y="31"/>
                    <a:pt x="228" y="27"/>
                    <a:pt x="225" y="26"/>
                  </a:cubicBezTo>
                  <a:cubicBezTo>
                    <a:pt x="222" y="25"/>
                    <a:pt x="220" y="32"/>
                    <a:pt x="214" y="32"/>
                  </a:cubicBezTo>
                  <a:cubicBezTo>
                    <a:pt x="208" y="32"/>
                    <a:pt x="205" y="29"/>
                    <a:pt x="194" y="20"/>
                  </a:cubicBezTo>
                  <a:cubicBezTo>
                    <a:pt x="183" y="11"/>
                    <a:pt x="181" y="6"/>
                    <a:pt x="166" y="3"/>
                  </a:cubicBezTo>
                  <a:cubicBezTo>
                    <a:pt x="151" y="0"/>
                    <a:pt x="145" y="4"/>
                    <a:pt x="145" y="4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2"/>
                    <a:pt x="136" y="55"/>
                    <a:pt x="123" y="55"/>
                  </a:cubicBezTo>
                  <a:cubicBezTo>
                    <a:pt x="110" y="55"/>
                    <a:pt x="86" y="52"/>
                    <a:pt x="86" y="5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24" y="23"/>
                    <a:pt x="21" y="30"/>
                  </a:cubicBezTo>
                  <a:cubicBezTo>
                    <a:pt x="18" y="37"/>
                    <a:pt x="16" y="46"/>
                    <a:pt x="16" y="46"/>
                  </a:cubicBezTo>
                  <a:cubicBezTo>
                    <a:pt x="16" y="46"/>
                    <a:pt x="0" y="64"/>
                    <a:pt x="0" y="69"/>
                  </a:cubicBezTo>
                  <a:cubicBezTo>
                    <a:pt x="0" y="74"/>
                    <a:pt x="6" y="104"/>
                    <a:pt x="6" y="104"/>
                  </a:cubicBezTo>
                  <a:cubicBezTo>
                    <a:pt x="6" y="104"/>
                    <a:pt x="5" y="101"/>
                    <a:pt x="5" y="9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80A40514-D27F-06D9-4B73-784832A78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2341" y="2022576"/>
              <a:ext cx="239320" cy="272855"/>
            </a:xfrm>
            <a:custGeom>
              <a:avLst/>
              <a:gdLst>
                <a:gd name="T0" fmla="*/ 4 w 422"/>
                <a:gd name="T1" fmla="*/ 3 h 480"/>
                <a:gd name="T2" fmla="*/ 3 w 422"/>
                <a:gd name="T3" fmla="*/ 3 h 480"/>
                <a:gd name="T4" fmla="*/ 2 w 422"/>
                <a:gd name="T5" fmla="*/ 3 h 480"/>
                <a:gd name="T6" fmla="*/ 1 w 422"/>
                <a:gd name="T7" fmla="*/ 2 h 480"/>
                <a:gd name="T8" fmla="*/ 0 w 422"/>
                <a:gd name="T9" fmla="*/ 2 h 480"/>
                <a:gd name="T10" fmla="*/ 1 w 422"/>
                <a:gd name="T11" fmla="*/ 3 h 480"/>
                <a:gd name="T12" fmla="*/ 3 w 422"/>
                <a:gd name="T13" fmla="*/ 4 h 480"/>
                <a:gd name="T14" fmla="*/ 5 w 422"/>
                <a:gd name="T15" fmla="*/ 4 h 480"/>
                <a:gd name="T16" fmla="*/ 5 w 422"/>
                <a:gd name="T17" fmla="*/ 6 h 480"/>
                <a:gd name="T18" fmla="*/ 6 w 422"/>
                <a:gd name="T19" fmla="*/ 7 h 480"/>
                <a:gd name="T20" fmla="*/ 6 w 422"/>
                <a:gd name="T21" fmla="*/ 9 h 480"/>
                <a:gd name="T22" fmla="*/ 7 w 422"/>
                <a:gd name="T23" fmla="*/ 10 h 480"/>
                <a:gd name="T24" fmla="*/ 9 w 422"/>
                <a:gd name="T25" fmla="*/ 11 h 480"/>
                <a:gd name="T26" fmla="*/ 9 w 422"/>
                <a:gd name="T27" fmla="*/ 12 h 480"/>
                <a:gd name="T28" fmla="*/ 6 w 422"/>
                <a:gd name="T29" fmla="*/ 15 h 480"/>
                <a:gd name="T30" fmla="*/ 4 w 422"/>
                <a:gd name="T31" fmla="*/ 16 h 480"/>
                <a:gd name="T32" fmla="*/ 2 w 422"/>
                <a:gd name="T33" fmla="*/ 18 h 480"/>
                <a:gd name="T34" fmla="*/ 3 w 422"/>
                <a:gd name="T35" fmla="*/ 19 h 480"/>
                <a:gd name="T36" fmla="*/ 3 w 422"/>
                <a:gd name="T37" fmla="*/ 21 h 480"/>
                <a:gd name="T38" fmla="*/ 4 w 422"/>
                <a:gd name="T39" fmla="*/ 23 h 480"/>
                <a:gd name="T40" fmla="*/ 6 w 422"/>
                <a:gd name="T41" fmla="*/ 24 h 480"/>
                <a:gd name="T42" fmla="*/ 9 w 422"/>
                <a:gd name="T43" fmla="*/ 25 h 480"/>
                <a:gd name="T44" fmla="*/ 12 w 422"/>
                <a:gd name="T45" fmla="*/ 24 h 480"/>
                <a:gd name="T46" fmla="*/ 16 w 422"/>
                <a:gd name="T47" fmla="*/ 23 h 480"/>
                <a:gd name="T48" fmla="*/ 16 w 422"/>
                <a:gd name="T49" fmla="*/ 23 h 480"/>
                <a:gd name="T50" fmla="*/ 20 w 422"/>
                <a:gd name="T51" fmla="*/ 20 h 480"/>
                <a:gd name="T52" fmla="*/ 22 w 422"/>
                <a:gd name="T53" fmla="*/ 18 h 480"/>
                <a:gd name="T54" fmla="*/ 19 w 422"/>
                <a:gd name="T55" fmla="*/ 15 h 480"/>
                <a:gd name="T56" fmla="*/ 19 w 422"/>
                <a:gd name="T57" fmla="*/ 14 h 480"/>
                <a:gd name="T58" fmla="*/ 19 w 422"/>
                <a:gd name="T59" fmla="*/ 13 h 480"/>
                <a:gd name="T60" fmla="*/ 17 w 422"/>
                <a:gd name="T61" fmla="*/ 12 h 480"/>
                <a:gd name="T62" fmla="*/ 17 w 422"/>
                <a:gd name="T63" fmla="*/ 10 h 480"/>
                <a:gd name="T64" fmla="*/ 16 w 422"/>
                <a:gd name="T65" fmla="*/ 8 h 480"/>
                <a:gd name="T66" fmla="*/ 16 w 422"/>
                <a:gd name="T67" fmla="*/ 7 h 480"/>
                <a:gd name="T68" fmla="*/ 16 w 422"/>
                <a:gd name="T69" fmla="*/ 5 h 480"/>
                <a:gd name="T70" fmla="*/ 14 w 422"/>
                <a:gd name="T71" fmla="*/ 4 h 480"/>
                <a:gd name="T72" fmla="*/ 15 w 422"/>
                <a:gd name="T73" fmla="*/ 3 h 480"/>
                <a:gd name="T74" fmla="*/ 15 w 422"/>
                <a:gd name="T75" fmla="*/ 2 h 480"/>
                <a:gd name="T76" fmla="*/ 14 w 422"/>
                <a:gd name="T77" fmla="*/ 1 h 480"/>
                <a:gd name="T78" fmla="*/ 12 w 422"/>
                <a:gd name="T79" fmla="*/ 0 h 480"/>
                <a:gd name="T80" fmla="*/ 10 w 422"/>
                <a:gd name="T81" fmla="*/ 0 h 480"/>
                <a:gd name="T82" fmla="*/ 9 w 422"/>
                <a:gd name="T83" fmla="*/ 1 h 480"/>
                <a:gd name="T84" fmla="*/ 8 w 422"/>
                <a:gd name="T85" fmla="*/ 3 h 480"/>
                <a:gd name="T86" fmla="*/ 6 w 422"/>
                <a:gd name="T87" fmla="*/ 3 h 4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2"/>
                <a:gd name="T133" fmla="*/ 0 h 480"/>
                <a:gd name="T134" fmla="*/ 422 w 422"/>
                <a:gd name="T135" fmla="*/ 480 h 4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2" h="480">
                  <a:moveTo>
                    <a:pt x="107" y="59"/>
                  </a:moveTo>
                  <a:cubicBezTo>
                    <a:pt x="107" y="59"/>
                    <a:pt x="98" y="67"/>
                    <a:pt x="88" y="6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8" y="60"/>
                    <a:pt x="64" y="59"/>
                  </a:cubicBezTo>
                  <a:cubicBezTo>
                    <a:pt x="50" y="58"/>
                    <a:pt x="49" y="48"/>
                    <a:pt x="49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31" y="33"/>
                    <a:pt x="27" y="33"/>
                  </a:cubicBezTo>
                  <a:cubicBezTo>
                    <a:pt x="23" y="33"/>
                    <a:pt x="16" y="36"/>
                    <a:pt x="16" y="3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52"/>
                    <a:pt x="17" y="56"/>
                  </a:cubicBezTo>
                  <a:cubicBezTo>
                    <a:pt x="27" y="60"/>
                    <a:pt x="40" y="64"/>
                    <a:pt x="40" y="6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2" y="85"/>
                    <a:pt x="110" y="90"/>
                    <a:pt x="109" y="95"/>
                  </a:cubicBezTo>
                  <a:cubicBezTo>
                    <a:pt x="108" y="100"/>
                    <a:pt x="103" y="114"/>
                    <a:pt x="103" y="114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11" y="157"/>
                    <a:pt x="113" y="165"/>
                  </a:cubicBezTo>
                  <a:cubicBezTo>
                    <a:pt x="115" y="173"/>
                    <a:pt x="130" y="183"/>
                    <a:pt x="130" y="183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77" y="205"/>
                    <a:pt x="179" y="217"/>
                  </a:cubicBezTo>
                  <a:cubicBezTo>
                    <a:pt x="181" y="229"/>
                    <a:pt x="182" y="239"/>
                    <a:pt x="182" y="239"/>
                  </a:cubicBezTo>
                  <a:cubicBezTo>
                    <a:pt x="182" y="239"/>
                    <a:pt x="170" y="233"/>
                    <a:pt x="167" y="234"/>
                  </a:cubicBezTo>
                  <a:cubicBezTo>
                    <a:pt x="164" y="235"/>
                    <a:pt x="142" y="260"/>
                    <a:pt x="142" y="260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6" y="288"/>
                    <a:pt x="81" y="300"/>
                    <a:pt x="81" y="309"/>
                  </a:cubicBezTo>
                  <a:cubicBezTo>
                    <a:pt x="81" y="318"/>
                    <a:pt x="61" y="318"/>
                    <a:pt x="61" y="318"/>
                  </a:cubicBezTo>
                  <a:cubicBezTo>
                    <a:pt x="45" y="336"/>
                    <a:pt x="45" y="336"/>
                    <a:pt x="45" y="336"/>
                  </a:cubicBezTo>
                  <a:cubicBezTo>
                    <a:pt x="45" y="336"/>
                    <a:pt x="41" y="348"/>
                    <a:pt x="43" y="352"/>
                  </a:cubicBezTo>
                  <a:cubicBezTo>
                    <a:pt x="45" y="356"/>
                    <a:pt x="49" y="364"/>
                    <a:pt x="49" y="364"/>
                  </a:cubicBezTo>
                  <a:cubicBezTo>
                    <a:pt x="47" y="380"/>
                    <a:pt x="47" y="380"/>
                    <a:pt x="47" y="380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2" y="393"/>
                    <a:pt x="52" y="425"/>
                    <a:pt x="56" y="434"/>
                  </a:cubicBezTo>
                  <a:cubicBezTo>
                    <a:pt x="60" y="443"/>
                    <a:pt x="71" y="452"/>
                    <a:pt x="71" y="452"/>
                  </a:cubicBezTo>
                  <a:cubicBezTo>
                    <a:pt x="86" y="463"/>
                    <a:pt x="86" y="463"/>
                    <a:pt x="86" y="463"/>
                  </a:cubicBezTo>
                  <a:cubicBezTo>
                    <a:pt x="114" y="460"/>
                    <a:pt x="114" y="460"/>
                    <a:pt x="114" y="460"/>
                  </a:cubicBezTo>
                  <a:cubicBezTo>
                    <a:pt x="114" y="460"/>
                    <a:pt x="105" y="476"/>
                    <a:pt x="125" y="478"/>
                  </a:cubicBezTo>
                  <a:cubicBezTo>
                    <a:pt x="145" y="480"/>
                    <a:pt x="180" y="475"/>
                    <a:pt x="180" y="475"/>
                  </a:cubicBezTo>
                  <a:cubicBezTo>
                    <a:pt x="199" y="465"/>
                    <a:pt x="199" y="465"/>
                    <a:pt x="199" y="465"/>
                  </a:cubicBezTo>
                  <a:cubicBezTo>
                    <a:pt x="222" y="465"/>
                    <a:pt x="222" y="465"/>
                    <a:pt x="222" y="465"/>
                  </a:cubicBezTo>
                  <a:cubicBezTo>
                    <a:pt x="255" y="448"/>
                    <a:pt x="255" y="448"/>
                    <a:pt x="255" y="448"/>
                  </a:cubicBezTo>
                  <a:cubicBezTo>
                    <a:pt x="304" y="451"/>
                    <a:pt x="304" y="451"/>
                    <a:pt x="304" y="451"/>
                  </a:cubicBezTo>
                  <a:cubicBezTo>
                    <a:pt x="309" y="448"/>
                    <a:pt x="309" y="448"/>
                    <a:pt x="309" y="448"/>
                  </a:cubicBezTo>
                  <a:cubicBezTo>
                    <a:pt x="305" y="441"/>
                    <a:pt x="305" y="441"/>
                    <a:pt x="305" y="441"/>
                  </a:cubicBezTo>
                  <a:cubicBezTo>
                    <a:pt x="305" y="441"/>
                    <a:pt x="346" y="417"/>
                    <a:pt x="350" y="412"/>
                  </a:cubicBezTo>
                  <a:cubicBezTo>
                    <a:pt x="354" y="407"/>
                    <a:pt x="382" y="381"/>
                    <a:pt x="382" y="381"/>
                  </a:cubicBezTo>
                  <a:cubicBezTo>
                    <a:pt x="382" y="381"/>
                    <a:pt x="403" y="369"/>
                    <a:pt x="407" y="362"/>
                  </a:cubicBezTo>
                  <a:cubicBezTo>
                    <a:pt x="411" y="355"/>
                    <a:pt x="420" y="348"/>
                    <a:pt x="421" y="340"/>
                  </a:cubicBezTo>
                  <a:cubicBezTo>
                    <a:pt x="422" y="332"/>
                    <a:pt x="399" y="313"/>
                    <a:pt x="399" y="313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60" y="295"/>
                    <a:pt x="381" y="281"/>
                    <a:pt x="380" y="277"/>
                  </a:cubicBezTo>
                  <a:cubicBezTo>
                    <a:pt x="379" y="273"/>
                    <a:pt x="368" y="265"/>
                    <a:pt x="368" y="265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60" y="251"/>
                    <a:pt x="359" y="247"/>
                  </a:cubicBezTo>
                  <a:cubicBezTo>
                    <a:pt x="358" y="243"/>
                    <a:pt x="339" y="238"/>
                    <a:pt x="339" y="238"/>
                  </a:cubicBezTo>
                  <a:cubicBezTo>
                    <a:pt x="339" y="228"/>
                    <a:pt x="339" y="228"/>
                    <a:pt x="339" y="228"/>
                  </a:cubicBezTo>
                  <a:cubicBezTo>
                    <a:pt x="332" y="222"/>
                    <a:pt x="332" y="222"/>
                    <a:pt x="332" y="222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7" y="202"/>
                    <a:pt x="365" y="208"/>
                    <a:pt x="359" y="198"/>
                  </a:cubicBezTo>
                  <a:cubicBezTo>
                    <a:pt x="353" y="188"/>
                    <a:pt x="312" y="156"/>
                    <a:pt x="312" y="156"/>
                  </a:cubicBezTo>
                  <a:cubicBezTo>
                    <a:pt x="299" y="145"/>
                    <a:pt x="299" y="145"/>
                    <a:pt x="299" y="145"/>
                  </a:cubicBezTo>
                  <a:cubicBezTo>
                    <a:pt x="299" y="145"/>
                    <a:pt x="316" y="138"/>
                    <a:pt x="316" y="133"/>
                  </a:cubicBezTo>
                  <a:cubicBezTo>
                    <a:pt x="316" y="128"/>
                    <a:pt x="340" y="126"/>
                    <a:pt x="331" y="116"/>
                  </a:cubicBezTo>
                  <a:cubicBezTo>
                    <a:pt x="322" y="106"/>
                    <a:pt x="316" y="103"/>
                    <a:pt x="312" y="98"/>
                  </a:cubicBezTo>
                  <a:cubicBezTo>
                    <a:pt x="308" y="93"/>
                    <a:pt x="303" y="86"/>
                    <a:pt x="297" y="86"/>
                  </a:cubicBezTo>
                  <a:cubicBezTo>
                    <a:pt x="291" y="86"/>
                    <a:pt x="277" y="94"/>
                    <a:pt x="275" y="82"/>
                  </a:cubicBezTo>
                  <a:cubicBezTo>
                    <a:pt x="273" y="70"/>
                    <a:pt x="270" y="67"/>
                    <a:pt x="270" y="67"/>
                  </a:cubicBezTo>
                  <a:cubicBezTo>
                    <a:pt x="270" y="67"/>
                    <a:pt x="283" y="65"/>
                    <a:pt x="282" y="62"/>
                  </a:cubicBezTo>
                  <a:cubicBezTo>
                    <a:pt x="281" y="59"/>
                    <a:pt x="277" y="53"/>
                    <a:pt x="277" y="53"/>
                  </a:cubicBezTo>
                  <a:cubicBezTo>
                    <a:pt x="280" y="36"/>
                    <a:pt x="280" y="36"/>
                    <a:pt x="280" y="36"/>
                  </a:cubicBezTo>
                  <a:cubicBezTo>
                    <a:pt x="280" y="36"/>
                    <a:pt x="293" y="48"/>
                    <a:pt x="289" y="31"/>
                  </a:cubicBezTo>
                  <a:cubicBezTo>
                    <a:pt x="285" y="14"/>
                    <a:pt x="271" y="13"/>
                    <a:pt x="271" y="13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8" y="8"/>
                    <a:pt x="255" y="2"/>
                    <a:pt x="240" y="1"/>
                  </a:cubicBezTo>
                  <a:cubicBezTo>
                    <a:pt x="225" y="0"/>
                    <a:pt x="214" y="7"/>
                    <a:pt x="214" y="7"/>
                  </a:cubicBezTo>
                  <a:cubicBezTo>
                    <a:pt x="214" y="7"/>
                    <a:pt x="203" y="6"/>
                    <a:pt x="198" y="5"/>
                  </a:cubicBezTo>
                  <a:cubicBezTo>
                    <a:pt x="193" y="4"/>
                    <a:pt x="176" y="13"/>
                    <a:pt x="176" y="13"/>
                  </a:cubicBezTo>
                  <a:cubicBezTo>
                    <a:pt x="176" y="13"/>
                    <a:pt x="172" y="26"/>
                    <a:pt x="173" y="30"/>
                  </a:cubicBezTo>
                  <a:cubicBezTo>
                    <a:pt x="174" y="34"/>
                    <a:pt x="173" y="50"/>
                    <a:pt x="173" y="50"/>
                  </a:cubicBezTo>
                  <a:cubicBezTo>
                    <a:pt x="173" y="50"/>
                    <a:pt x="164" y="45"/>
                    <a:pt x="157" y="50"/>
                  </a:cubicBezTo>
                  <a:cubicBezTo>
                    <a:pt x="150" y="55"/>
                    <a:pt x="156" y="65"/>
                    <a:pt x="148" y="65"/>
                  </a:cubicBezTo>
                  <a:cubicBezTo>
                    <a:pt x="140" y="65"/>
                    <a:pt x="128" y="57"/>
                    <a:pt x="123" y="56"/>
                  </a:cubicBezTo>
                  <a:cubicBezTo>
                    <a:pt x="118" y="55"/>
                    <a:pt x="107" y="59"/>
                    <a:pt x="107" y="5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A7D6A73C-1A70-4B01-F609-E991009E88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9422" y="2048490"/>
              <a:ext cx="260661" cy="378033"/>
            </a:xfrm>
            <a:custGeom>
              <a:avLst/>
              <a:gdLst>
                <a:gd name="T0" fmla="*/ 23 w 459"/>
                <a:gd name="T1" fmla="*/ 5 h 664"/>
                <a:gd name="T2" fmla="*/ 22 w 459"/>
                <a:gd name="T3" fmla="*/ 3 h 664"/>
                <a:gd name="T4" fmla="*/ 20 w 459"/>
                <a:gd name="T5" fmla="*/ 1 h 664"/>
                <a:gd name="T6" fmla="*/ 18 w 459"/>
                <a:gd name="T7" fmla="*/ 0 h 664"/>
                <a:gd name="T8" fmla="*/ 16 w 459"/>
                <a:gd name="T9" fmla="*/ 1 h 664"/>
                <a:gd name="T10" fmla="*/ 15 w 459"/>
                <a:gd name="T11" fmla="*/ 1 h 664"/>
                <a:gd name="T12" fmla="*/ 13 w 459"/>
                <a:gd name="T13" fmla="*/ 1 h 664"/>
                <a:gd name="T14" fmla="*/ 11 w 459"/>
                <a:gd name="T15" fmla="*/ 2 h 664"/>
                <a:gd name="T16" fmla="*/ 9 w 459"/>
                <a:gd name="T17" fmla="*/ 4 h 664"/>
                <a:gd name="T18" fmla="*/ 8 w 459"/>
                <a:gd name="T19" fmla="*/ 5 h 664"/>
                <a:gd name="T20" fmla="*/ 7 w 459"/>
                <a:gd name="T21" fmla="*/ 7 h 664"/>
                <a:gd name="T22" fmla="*/ 6 w 459"/>
                <a:gd name="T23" fmla="*/ 7 h 664"/>
                <a:gd name="T24" fmla="*/ 5 w 459"/>
                <a:gd name="T25" fmla="*/ 10 h 664"/>
                <a:gd name="T26" fmla="*/ 3 w 459"/>
                <a:gd name="T27" fmla="*/ 12 h 664"/>
                <a:gd name="T28" fmla="*/ 1 w 459"/>
                <a:gd name="T29" fmla="*/ 13 h 664"/>
                <a:gd name="T30" fmla="*/ 1 w 459"/>
                <a:gd name="T31" fmla="*/ 15 h 664"/>
                <a:gd name="T32" fmla="*/ 1 w 459"/>
                <a:gd name="T33" fmla="*/ 18 h 664"/>
                <a:gd name="T34" fmla="*/ 3 w 459"/>
                <a:gd name="T35" fmla="*/ 19 h 664"/>
                <a:gd name="T36" fmla="*/ 3 w 459"/>
                <a:gd name="T37" fmla="*/ 21 h 664"/>
                <a:gd name="T38" fmla="*/ 2 w 459"/>
                <a:gd name="T39" fmla="*/ 22 h 664"/>
                <a:gd name="T40" fmla="*/ 1 w 459"/>
                <a:gd name="T41" fmla="*/ 24 h 664"/>
                <a:gd name="T42" fmla="*/ 0 w 459"/>
                <a:gd name="T43" fmla="*/ 24 h 664"/>
                <a:gd name="T44" fmla="*/ 1 w 459"/>
                <a:gd name="T45" fmla="*/ 27 h 664"/>
                <a:gd name="T46" fmla="*/ 3 w 459"/>
                <a:gd name="T47" fmla="*/ 31 h 664"/>
                <a:gd name="T48" fmla="*/ 3 w 459"/>
                <a:gd name="T49" fmla="*/ 32 h 664"/>
                <a:gd name="T50" fmla="*/ 4 w 459"/>
                <a:gd name="T51" fmla="*/ 34 h 664"/>
                <a:gd name="T52" fmla="*/ 6 w 459"/>
                <a:gd name="T53" fmla="*/ 33 h 664"/>
                <a:gd name="T54" fmla="*/ 9 w 459"/>
                <a:gd name="T55" fmla="*/ 32 h 664"/>
                <a:gd name="T56" fmla="*/ 11 w 459"/>
                <a:gd name="T57" fmla="*/ 29 h 664"/>
                <a:gd name="T58" fmla="*/ 10 w 459"/>
                <a:gd name="T59" fmla="*/ 27 h 664"/>
                <a:gd name="T60" fmla="*/ 12 w 459"/>
                <a:gd name="T61" fmla="*/ 25 h 664"/>
                <a:gd name="T62" fmla="*/ 14 w 459"/>
                <a:gd name="T63" fmla="*/ 24 h 664"/>
                <a:gd name="T64" fmla="*/ 14 w 459"/>
                <a:gd name="T65" fmla="*/ 21 h 664"/>
                <a:gd name="T66" fmla="*/ 11 w 459"/>
                <a:gd name="T67" fmla="*/ 18 h 664"/>
                <a:gd name="T68" fmla="*/ 12 w 459"/>
                <a:gd name="T69" fmla="*/ 16 h 664"/>
                <a:gd name="T70" fmla="*/ 14 w 459"/>
                <a:gd name="T71" fmla="*/ 14 h 664"/>
                <a:gd name="T72" fmla="*/ 18 w 459"/>
                <a:gd name="T73" fmla="*/ 13 h 664"/>
                <a:gd name="T74" fmla="*/ 19 w 459"/>
                <a:gd name="T75" fmla="*/ 9 h 664"/>
                <a:gd name="T76" fmla="*/ 20 w 459"/>
                <a:gd name="T77" fmla="*/ 7 h 664"/>
                <a:gd name="T78" fmla="*/ 24 w 459"/>
                <a:gd name="T79" fmla="*/ 8 h 664"/>
                <a:gd name="T80" fmla="*/ 14 w 459"/>
                <a:gd name="T81" fmla="*/ 30 h 664"/>
                <a:gd name="T82" fmla="*/ 15 w 459"/>
                <a:gd name="T83" fmla="*/ 28 h 664"/>
                <a:gd name="T84" fmla="*/ 10 w 459"/>
                <a:gd name="T85" fmla="*/ 31 h 664"/>
                <a:gd name="T86" fmla="*/ 12 w 459"/>
                <a:gd name="T87" fmla="*/ 30 h 66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9"/>
                <a:gd name="T133" fmla="*/ 0 h 664"/>
                <a:gd name="T134" fmla="*/ 459 w 459"/>
                <a:gd name="T135" fmla="*/ 664 h 66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9" h="664">
                  <a:moveTo>
                    <a:pt x="451" y="136"/>
                  </a:moveTo>
                  <a:cubicBezTo>
                    <a:pt x="451" y="136"/>
                    <a:pt x="436" y="126"/>
                    <a:pt x="434" y="118"/>
                  </a:cubicBezTo>
                  <a:cubicBezTo>
                    <a:pt x="432" y="110"/>
                    <a:pt x="445" y="95"/>
                    <a:pt x="445" y="95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24" y="67"/>
                    <a:pt x="424" y="67"/>
                    <a:pt x="424" y="67"/>
                  </a:cubicBezTo>
                  <a:cubicBezTo>
                    <a:pt x="424" y="67"/>
                    <a:pt x="429" y="53"/>
                    <a:pt x="430" y="48"/>
                  </a:cubicBezTo>
                  <a:cubicBezTo>
                    <a:pt x="431" y="43"/>
                    <a:pt x="413" y="38"/>
                    <a:pt x="413" y="3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1" y="17"/>
                    <a:pt x="361" y="17"/>
                    <a:pt x="361" y="17"/>
                  </a:cubicBezTo>
                  <a:cubicBezTo>
                    <a:pt x="361" y="17"/>
                    <a:pt x="348" y="13"/>
                    <a:pt x="338" y="9"/>
                  </a:cubicBezTo>
                  <a:cubicBezTo>
                    <a:pt x="332" y="7"/>
                    <a:pt x="327" y="3"/>
                    <a:pt x="324" y="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5" y="14"/>
                    <a:pt x="298" y="11"/>
                    <a:pt x="298" y="16"/>
                  </a:cubicBezTo>
                  <a:cubicBezTo>
                    <a:pt x="298" y="21"/>
                    <a:pt x="311" y="27"/>
                    <a:pt x="303" y="29"/>
                  </a:cubicBezTo>
                  <a:cubicBezTo>
                    <a:pt x="295" y="31"/>
                    <a:pt x="284" y="25"/>
                    <a:pt x="284" y="25"/>
                  </a:cubicBezTo>
                  <a:cubicBezTo>
                    <a:pt x="275" y="25"/>
                    <a:pt x="275" y="25"/>
                    <a:pt x="275" y="25"/>
                  </a:cubicBezTo>
                  <a:cubicBezTo>
                    <a:pt x="262" y="21"/>
                    <a:pt x="262" y="21"/>
                    <a:pt x="262" y="21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243" y="25"/>
                    <a:pt x="243" y="12"/>
                    <a:pt x="235" y="18"/>
                  </a:cubicBezTo>
                  <a:cubicBezTo>
                    <a:pt x="227" y="24"/>
                    <a:pt x="237" y="35"/>
                    <a:pt x="234" y="40"/>
                  </a:cubicBezTo>
                  <a:cubicBezTo>
                    <a:pt x="231" y="45"/>
                    <a:pt x="216" y="45"/>
                    <a:pt x="216" y="45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1" y="59"/>
                    <a:pt x="164" y="67"/>
                    <a:pt x="165" y="71"/>
                  </a:cubicBezTo>
                  <a:cubicBezTo>
                    <a:pt x="166" y="75"/>
                    <a:pt x="177" y="83"/>
                    <a:pt x="177" y="83"/>
                  </a:cubicBezTo>
                  <a:cubicBezTo>
                    <a:pt x="172" y="93"/>
                    <a:pt x="172" y="93"/>
                    <a:pt x="172" y="93"/>
                  </a:cubicBezTo>
                  <a:cubicBezTo>
                    <a:pt x="172" y="93"/>
                    <a:pt x="167" y="94"/>
                    <a:pt x="161" y="99"/>
                  </a:cubicBezTo>
                  <a:cubicBezTo>
                    <a:pt x="155" y="104"/>
                    <a:pt x="153" y="111"/>
                    <a:pt x="153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53" y="126"/>
                    <a:pt x="146" y="128"/>
                  </a:cubicBezTo>
                  <a:cubicBezTo>
                    <a:pt x="139" y="130"/>
                    <a:pt x="130" y="135"/>
                    <a:pt x="130" y="135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8"/>
                    <a:pt x="101" y="190"/>
                    <a:pt x="96" y="194"/>
                  </a:cubicBezTo>
                  <a:cubicBezTo>
                    <a:pt x="91" y="198"/>
                    <a:pt x="82" y="204"/>
                    <a:pt x="82" y="204"/>
                  </a:cubicBezTo>
                  <a:cubicBezTo>
                    <a:pt x="82" y="204"/>
                    <a:pt x="103" y="214"/>
                    <a:pt x="99" y="223"/>
                  </a:cubicBezTo>
                  <a:cubicBezTo>
                    <a:pt x="95" y="232"/>
                    <a:pt x="68" y="227"/>
                    <a:pt x="68" y="227"/>
                  </a:cubicBezTo>
                  <a:cubicBezTo>
                    <a:pt x="68" y="227"/>
                    <a:pt x="53" y="239"/>
                    <a:pt x="46" y="244"/>
                  </a:cubicBezTo>
                  <a:cubicBezTo>
                    <a:pt x="39" y="249"/>
                    <a:pt x="33" y="254"/>
                    <a:pt x="33" y="254"/>
                  </a:cubicBezTo>
                  <a:cubicBezTo>
                    <a:pt x="28" y="260"/>
                    <a:pt x="28" y="260"/>
                    <a:pt x="28" y="260"/>
                  </a:cubicBezTo>
                  <a:cubicBezTo>
                    <a:pt x="28" y="260"/>
                    <a:pt x="22" y="265"/>
                    <a:pt x="22" y="268"/>
                  </a:cubicBezTo>
                  <a:cubicBezTo>
                    <a:pt x="22" y="271"/>
                    <a:pt x="40" y="271"/>
                    <a:pt x="34" y="277"/>
                  </a:cubicBezTo>
                  <a:cubicBezTo>
                    <a:pt x="28" y="283"/>
                    <a:pt x="19" y="285"/>
                    <a:pt x="21" y="290"/>
                  </a:cubicBezTo>
                  <a:cubicBezTo>
                    <a:pt x="23" y="295"/>
                    <a:pt x="29" y="303"/>
                    <a:pt x="29" y="303"/>
                  </a:cubicBezTo>
                  <a:cubicBezTo>
                    <a:pt x="29" y="303"/>
                    <a:pt x="40" y="310"/>
                    <a:pt x="39" y="315"/>
                  </a:cubicBezTo>
                  <a:cubicBezTo>
                    <a:pt x="38" y="320"/>
                    <a:pt x="32" y="327"/>
                    <a:pt x="33" y="334"/>
                  </a:cubicBezTo>
                  <a:cubicBezTo>
                    <a:pt x="34" y="341"/>
                    <a:pt x="42" y="348"/>
                    <a:pt x="42" y="348"/>
                  </a:cubicBezTo>
                  <a:cubicBezTo>
                    <a:pt x="42" y="348"/>
                    <a:pt x="61" y="354"/>
                    <a:pt x="59" y="361"/>
                  </a:cubicBezTo>
                  <a:cubicBezTo>
                    <a:pt x="57" y="368"/>
                    <a:pt x="50" y="374"/>
                    <a:pt x="50" y="374"/>
                  </a:cubicBezTo>
                  <a:cubicBezTo>
                    <a:pt x="35" y="377"/>
                    <a:pt x="35" y="377"/>
                    <a:pt x="35" y="377"/>
                  </a:cubicBezTo>
                  <a:cubicBezTo>
                    <a:pt x="35" y="377"/>
                    <a:pt x="41" y="394"/>
                    <a:pt x="44" y="397"/>
                  </a:cubicBezTo>
                  <a:cubicBezTo>
                    <a:pt x="47" y="400"/>
                    <a:pt x="51" y="409"/>
                    <a:pt x="51" y="409"/>
                  </a:cubicBezTo>
                  <a:cubicBezTo>
                    <a:pt x="44" y="409"/>
                    <a:pt x="44" y="409"/>
                    <a:pt x="44" y="409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26"/>
                    <a:pt x="41" y="431"/>
                    <a:pt x="36" y="431"/>
                  </a:cubicBezTo>
                  <a:cubicBezTo>
                    <a:pt x="31" y="431"/>
                    <a:pt x="17" y="425"/>
                    <a:pt x="19" y="431"/>
                  </a:cubicBezTo>
                  <a:cubicBezTo>
                    <a:pt x="21" y="437"/>
                    <a:pt x="21" y="441"/>
                    <a:pt x="21" y="441"/>
                  </a:cubicBezTo>
                  <a:cubicBezTo>
                    <a:pt x="21" y="441"/>
                    <a:pt x="12" y="444"/>
                    <a:pt x="15" y="452"/>
                  </a:cubicBezTo>
                  <a:cubicBezTo>
                    <a:pt x="18" y="460"/>
                    <a:pt x="24" y="461"/>
                    <a:pt x="22" y="466"/>
                  </a:cubicBezTo>
                  <a:cubicBezTo>
                    <a:pt x="20" y="471"/>
                    <a:pt x="14" y="482"/>
                    <a:pt x="14" y="482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2" y="510"/>
                    <a:pt x="2" y="510"/>
                    <a:pt x="2" y="510"/>
                  </a:cubicBezTo>
                  <a:cubicBezTo>
                    <a:pt x="2" y="510"/>
                    <a:pt x="16" y="499"/>
                    <a:pt x="23" y="511"/>
                  </a:cubicBezTo>
                  <a:cubicBezTo>
                    <a:pt x="30" y="523"/>
                    <a:pt x="19" y="515"/>
                    <a:pt x="19" y="515"/>
                  </a:cubicBezTo>
                  <a:cubicBezTo>
                    <a:pt x="19" y="515"/>
                    <a:pt x="14" y="549"/>
                    <a:pt x="18" y="553"/>
                  </a:cubicBezTo>
                  <a:cubicBezTo>
                    <a:pt x="22" y="557"/>
                    <a:pt x="34" y="562"/>
                    <a:pt x="34" y="562"/>
                  </a:cubicBezTo>
                  <a:cubicBezTo>
                    <a:pt x="34" y="562"/>
                    <a:pt x="43" y="579"/>
                    <a:pt x="49" y="586"/>
                  </a:cubicBezTo>
                  <a:cubicBezTo>
                    <a:pt x="55" y="593"/>
                    <a:pt x="66" y="597"/>
                    <a:pt x="66" y="597"/>
                  </a:cubicBezTo>
                  <a:cubicBezTo>
                    <a:pt x="65" y="605"/>
                    <a:pt x="65" y="605"/>
                    <a:pt x="65" y="605"/>
                  </a:cubicBezTo>
                  <a:cubicBezTo>
                    <a:pt x="53" y="607"/>
                    <a:pt x="53" y="607"/>
                    <a:pt x="53" y="607"/>
                  </a:cubicBezTo>
                  <a:cubicBezTo>
                    <a:pt x="53" y="607"/>
                    <a:pt x="51" y="615"/>
                    <a:pt x="52" y="621"/>
                  </a:cubicBezTo>
                  <a:cubicBezTo>
                    <a:pt x="53" y="627"/>
                    <a:pt x="68" y="640"/>
                    <a:pt x="68" y="640"/>
                  </a:cubicBezTo>
                  <a:cubicBezTo>
                    <a:pt x="68" y="640"/>
                    <a:pt x="64" y="653"/>
                    <a:pt x="69" y="656"/>
                  </a:cubicBezTo>
                  <a:cubicBezTo>
                    <a:pt x="74" y="659"/>
                    <a:pt x="94" y="657"/>
                    <a:pt x="94" y="657"/>
                  </a:cubicBezTo>
                  <a:cubicBezTo>
                    <a:pt x="94" y="657"/>
                    <a:pt x="122" y="664"/>
                    <a:pt x="121" y="655"/>
                  </a:cubicBezTo>
                  <a:cubicBezTo>
                    <a:pt x="120" y="646"/>
                    <a:pt x="120" y="631"/>
                    <a:pt x="120" y="631"/>
                  </a:cubicBezTo>
                  <a:cubicBezTo>
                    <a:pt x="132" y="625"/>
                    <a:pt x="132" y="625"/>
                    <a:pt x="132" y="625"/>
                  </a:cubicBezTo>
                  <a:cubicBezTo>
                    <a:pt x="133" y="615"/>
                    <a:pt x="133" y="615"/>
                    <a:pt x="133" y="615"/>
                  </a:cubicBezTo>
                  <a:cubicBezTo>
                    <a:pt x="176" y="618"/>
                    <a:pt x="176" y="618"/>
                    <a:pt x="176" y="618"/>
                  </a:cubicBezTo>
                  <a:cubicBezTo>
                    <a:pt x="185" y="623"/>
                    <a:pt x="185" y="623"/>
                    <a:pt x="185" y="623"/>
                  </a:cubicBezTo>
                  <a:cubicBezTo>
                    <a:pt x="199" y="581"/>
                    <a:pt x="199" y="581"/>
                    <a:pt x="199" y="581"/>
                  </a:cubicBezTo>
                  <a:cubicBezTo>
                    <a:pt x="199" y="581"/>
                    <a:pt x="208" y="555"/>
                    <a:pt x="206" y="549"/>
                  </a:cubicBezTo>
                  <a:cubicBezTo>
                    <a:pt x="204" y="543"/>
                    <a:pt x="198" y="532"/>
                    <a:pt x="198" y="532"/>
                  </a:cubicBezTo>
                  <a:cubicBezTo>
                    <a:pt x="198" y="532"/>
                    <a:pt x="219" y="529"/>
                    <a:pt x="217" y="518"/>
                  </a:cubicBezTo>
                  <a:cubicBezTo>
                    <a:pt x="215" y="507"/>
                    <a:pt x="196" y="507"/>
                    <a:pt x="196" y="50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0" y="498"/>
                    <a:pt x="200" y="498"/>
                    <a:pt x="200" y="498"/>
                  </a:cubicBezTo>
                  <a:cubicBezTo>
                    <a:pt x="200" y="498"/>
                    <a:pt x="234" y="500"/>
                    <a:pt x="237" y="489"/>
                  </a:cubicBezTo>
                  <a:cubicBezTo>
                    <a:pt x="240" y="478"/>
                    <a:pt x="245" y="472"/>
                    <a:pt x="245" y="472"/>
                  </a:cubicBezTo>
                  <a:cubicBezTo>
                    <a:pt x="245" y="472"/>
                    <a:pt x="256" y="490"/>
                    <a:pt x="266" y="478"/>
                  </a:cubicBezTo>
                  <a:cubicBezTo>
                    <a:pt x="276" y="466"/>
                    <a:pt x="270" y="456"/>
                    <a:pt x="270" y="456"/>
                  </a:cubicBezTo>
                  <a:cubicBezTo>
                    <a:pt x="270" y="456"/>
                    <a:pt x="297" y="451"/>
                    <a:pt x="290" y="437"/>
                  </a:cubicBezTo>
                  <a:cubicBezTo>
                    <a:pt x="283" y="423"/>
                    <a:pt x="271" y="420"/>
                    <a:pt x="271" y="420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47" y="399"/>
                    <a:pt x="247" y="399"/>
                    <a:pt x="247" y="399"/>
                  </a:cubicBezTo>
                  <a:cubicBezTo>
                    <a:pt x="247" y="399"/>
                    <a:pt x="236" y="406"/>
                    <a:pt x="228" y="399"/>
                  </a:cubicBezTo>
                  <a:cubicBezTo>
                    <a:pt x="220" y="392"/>
                    <a:pt x="217" y="350"/>
                    <a:pt x="217" y="350"/>
                  </a:cubicBezTo>
                  <a:cubicBezTo>
                    <a:pt x="217" y="350"/>
                    <a:pt x="228" y="340"/>
                    <a:pt x="229" y="329"/>
                  </a:cubicBezTo>
                  <a:cubicBezTo>
                    <a:pt x="230" y="318"/>
                    <a:pt x="219" y="308"/>
                    <a:pt x="219" y="308"/>
                  </a:cubicBezTo>
                  <a:cubicBezTo>
                    <a:pt x="219" y="308"/>
                    <a:pt x="233" y="311"/>
                    <a:pt x="237" y="303"/>
                  </a:cubicBezTo>
                  <a:cubicBezTo>
                    <a:pt x="241" y="295"/>
                    <a:pt x="232" y="283"/>
                    <a:pt x="232" y="283"/>
                  </a:cubicBezTo>
                  <a:cubicBezTo>
                    <a:pt x="232" y="283"/>
                    <a:pt x="249" y="292"/>
                    <a:pt x="254" y="287"/>
                  </a:cubicBezTo>
                  <a:cubicBezTo>
                    <a:pt x="259" y="282"/>
                    <a:pt x="271" y="270"/>
                    <a:pt x="271" y="270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9" y="258"/>
                    <a:pt x="330" y="259"/>
                    <a:pt x="340" y="249"/>
                  </a:cubicBezTo>
                  <a:cubicBezTo>
                    <a:pt x="350" y="239"/>
                    <a:pt x="364" y="213"/>
                    <a:pt x="364" y="213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72" y="175"/>
                    <a:pt x="372" y="175"/>
                    <a:pt x="372" y="175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86" y="156"/>
                    <a:pt x="386" y="156"/>
                    <a:pt x="386" y="156"/>
                  </a:cubicBezTo>
                  <a:cubicBezTo>
                    <a:pt x="396" y="144"/>
                    <a:pt x="396" y="144"/>
                    <a:pt x="396" y="144"/>
                  </a:cubicBezTo>
                  <a:cubicBezTo>
                    <a:pt x="449" y="146"/>
                    <a:pt x="449" y="146"/>
                    <a:pt x="449" y="146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9" y="157"/>
                    <a:pt x="459" y="157"/>
                    <a:pt x="459" y="157"/>
                  </a:cubicBezTo>
                  <a:lnTo>
                    <a:pt x="451" y="136"/>
                  </a:lnTo>
                  <a:close/>
                  <a:moveTo>
                    <a:pt x="262" y="549"/>
                  </a:moveTo>
                  <a:cubicBezTo>
                    <a:pt x="259" y="560"/>
                    <a:pt x="271" y="583"/>
                    <a:pt x="271" y="583"/>
                  </a:cubicBezTo>
                  <a:cubicBezTo>
                    <a:pt x="279" y="566"/>
                    <a:pt x="279" y="566"/>
                    <a:pt x="279" y="566"/>
                  </a:cubicBezTo>
                  <a:cubicBezTo>
                    <a:pt x="279" y="566"/>
                    <a:pt x="285" y="569"/>
                    <a:pt x="290" y="560"/>
                  </a:cubicBezTo>
                  <a:cubicBezTo>
                    <a:pt x="296" y="552"/>
                    <a:pt x="290" y="543"/>
                    <a:pt x="290" y="543"/>
                  </a:cubicBezTo>
                  <a:cubicBezTo>
                    <a:pt x="302" y="531"/>
                    <a:pt x="302" y="531"/>
                    <a:pt x="302" y="531"/>
                  </a:cubicBezTo>
                  <a:cubicBezTo>
                    <a:pt x="302" y="531"/>
                    <a:pt x="265" y="538"/>
                    <a:pt x="262" y="549"/>
                  </a:cubicBezTo>
                  <a:close/>
                  <a:moveTo>
                    <a:pt x="200" y="597"/>
                  </a:moveTo>
                  <a:cubicBezTo>
                    <a:pt x="200" y="602"/>
                    <a:pt x="199" y="615"/>
                    <a:pt x="199" y="615"/>
                  </a:cubicBezTo>
                  <a:cubicBezTo>
                    <a:pt x="207" y="615"/>
                    <a:pt x="216" y="584"/>
                    <a:pt x="216" y="584"/>
                  </a:cubicBezTo>
                  <a:cubicBezTo>
                    <a:pt x="230" y="570"/>
                    <a:pt x="230" y="570"/>
                    <a:pt x="230" y="570"/>
                  </a:cubicBezTo>
                  <a:cubicBezTo>
                    <a:pt x="226" y="557"/>
                    <a:pt x="226" y="557"/>
                    <a:pt x="226" y="557"/>
                  </a:cubicBezTo>
                  <a:cubicBezTo>
                    <a:pt x="226" y="557"/>
                    <a:pt x="200" y="591"/>
                    <a:pt x="200" y="59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281088DA-27B5-EF31-0AB0-33637DD382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7662" y="1774111"/>
              <a:ext cx="516748" cy="576196"/>
            </a:xfrm>
            <a:custGeom>
              <a:avLst/>
              <a:gdLst>
                <a:gd name="T0" fmla="*/ 24 w 905"/>
                <a:gd name="T1" fmla="*/ 2 h 1010"/>
                <a:gd name="T2" fmla="*/ 34 w 905"/>
                <a:gd name="T3" fmla="*/ 3 h 1010"/>
                <a:gd name="T4" fmla="*/ 29 w 905"/>
                <a:gd name="T5" fmla="*/ 0 h 1010"/>
                <a:gd name="T6" fmla="*/ 22 w 905"/>
                <a:gd name="T7" fmla="*/ 1 h 1010"/>
                <a:gd name="T8" fmla="*/ 15 w 905"/>
                <a:gd name="T9" fmla="*/ 5 h 1010"/>
                <a:gd name="T10" fmla="*/ 18 w 905"/>
                <a:gd name="T11" fmla="*/ 6 h 1010"/>
                <a:gd name="T12" fmla="*/ 23 w 905"/>
                <a:gd name="T13" fmla="*/ 5 h 1010"/>
                <a:gd name="T14" fmla="*/ 27 w 905"/>
                <a:gd name="T15" fmla="*/ 6 h 1010"/>
                <a:gd name="T16" fmla="*/ 29 w 905"/>
                <a:gd name="T17" fmla="*/ 4 h 1010"/>
                <a:gd name="T18" fmla="*/ 24 w 905"/>
                <a:gd name="T19" fmla="*/ 3 h 1010"/>
                <a:gd name="T20" fmla="*/ 17 w 905"/>
                <a:gd name="T21" fmla="*/ 1 h 1010"/>
                <a:gd name="T22" fmla="*/ 13 w 905"/>
                <a:gd name="T23" fmla="*/ 1 h 1010"/>
                <a:gd name="T24" fmla="*/ 22 w 905"/>
                <a:gd name="T25" fmla="*/ 24 h 1010"/>
                <a:gd name="T26" fmla="*/ 19 w 905"/>
                <a:gd name="T27" fmla="*/ 25 h 1010"/>
                <a:gd name="T28" fmla="*/ 32 w 905"/>
                <a:gd name="T29" fmla="*/ 21 h 1010"/>
                <a:gd name="T30" fmla="*/ 17 w 905"/>
                <a:gd name="T31" fmla="*/ 27 h 1010"/>
                <a:gd name="T32" fmla="*/ 48 w 905"/>
                <a:gd name="T33" fmla="*/ 22 h 1010"/>
                <a:gd name="T34" fmla="*/ 39 w 905"/>
                <a:gd name="T35" fmla="*/ 22 h 1010"/>
                <a:gd name="T36" fmla="*/ 36 w 905"/>
                <a:gd name="T37" fmla="*/ 21 h 1010"/>
                <a:gd name="T38" fmla="*/ 31 w 905"/>
                <a:gd name="T39" fmla="*/ 24 h 1010"/>
                <a:gd name="T40" fmla="*/ 27 w 905"/>
                <a:gd name="T41" fmla="*/ 23 h 1010"/>
                <a:gd name="T42" fmla="*/ 26 w 905"/>
                <a:gd name="T43" fmla="*/ 23 h 1010"/>
                <a:gd name="T44" fmla="*/ 24 w 905"/>
                <a:gd name="T45" fmla="*/ 26 h 1010"/>
                <a:gd name="T46" fmla="*/ 21 w 905"/>
                <a:gd name="T47" fmla="*/ 27 h 1010"/>
                <a:gd name="T48" fmla="*/ 19 w 905"/>
                <a:gd name="T49" fmla="*/ 28 h 1010"/>
                <a:gd name="T50" fmla="*/ 19 w 905"/>
                <a:gd name="T51" fmla="*/ 30 h 1010"/>
                <a:gd name="T52" fmla="*/ 15 w 905"/>
                <a:gd name="T53" fmla="*/ 32 h 1010"/>
                <a:gd name="T54" fmla="*/ 14 w 905"/>
                <a:gd name="T55" fmla="*/ 34 h 1010"/>
                <a:gd name="T56" fmla="*/ 12 w 905"/>
                <a:gd name="T57" fmla="*/ 36 h 1010"/>
                <a:gd name="T58" fmla="*/ 9 w 905"/>
                <a:gd name="T59" fmla="*/ 37 h 1010"/>
                <a:gd name="T60" fmla="*/ 6 w 905"/>
                <a:gd name="T61" fmla="*/ 39 h 1010"/>
                <a:gd name="T62" fmla="*/ 6 w 905"/>
                <a:gd name="T63" fmla="*/ 41 h 1010"/>
                <a:gd name="T64" fmla="*/ 4 w 905"/>
                <a:gd name="T65" fmla="*/ 42 h 1010"/>
                <a:gd name="T66" fmla="*/ 1 w 905"/>
                <a:gd name="T67" fmla="*/ 42 h 1010"/>
                <a:gd name="T68" fmla="*/ 1 w 905"/>
                <a:gd name="T69" fmla="*/ 44 h 1010"/>
                <a:gd name="T70" fmla="*/ 4 w 905"/>
                <a:gd name="T71" fmla="*/ 45 h 1010"/>
                <a:gd name="T72" fmla="*/ 0 w 905"/>
                <a:gd name="T73" fmla="*/ 45 h 1010"/>
                <a:gd name="T74" fmla="*/ 3 w 905"/>
                <a:gd name="T75" fmla="*/ 46 h 1010"/>
                <a:gd name="T76" fmla="*/ 1 w 905"/>
                <a:gd name="T77" fmla="*/ 49 h 1010"/>
                <a:gd name="T78" fmla="*/ 2 w 905"/>
                <a:gd name="T79" fmla="*/ 51 h 1010"/>
                <a:gd name="T80" fmla="*/ 6 w 905"/>
                <a:gd name="T81" fmla="*/ 53 h 1010"/>
                <a:gd name="T82" fmla="*/ 11 w 905"/>
                <a:gd name="T83" fmla="*/ 49 h 1010"/>
                <a:gd name="T84" fmla="*/ 13 w 905"/>
                <a:gd name="T85" fmla="*/ 48 h 1010"/>
                <a:gd name="T86" fmla="*/ 14 w 905"/>
                <a:gd name="T87" fmla="*/ 45 h 1010"/>
                <a:gd name="T88" fmla="*/ 14 w 905"/>
                <a:gd name="T89" fmla="*/ 41 h 1010"/>
                <a:gd name="T90" fmla="*/ 15 w 905"/>
                <a:gd name="T91" fmla="*/ 38 h 1010"/>
                <a:gd name="T92" fmla="*/ 18 w 905"/>
                <a:gd name="T93" fmla="*/ 33 h 1010"/>
                <a:gd name="T94" fmla="*/ 20 w 905"/>
                <a:gd name="T95" fmla="*/ 31 h 1010"/>
                <a:gd name="T96" fmla="*/ 22 w 905"/>
                <a:gd name="T97" fmla="*/ 28 h 1010"/>
                <a:gd name="T98" fmla="*/ 27 w 905"/>
                <a:gd name="T99" fmla="*/ 27 h 1010"/>
                <a:gd name="T100" fmla="*/ 29 w 905"/>
                <a:gd name="T101" fmla="*/ 25 h 1010"/>
                <a:gd name="T102" fmla="*/ 31 w 905"/>
                <a:gd name="T103" fmla="*/ 25 h 1010"/>
                <a:gd name="T104" fmla="*/ 36 w 905"/>
                <a:gd name="T105" fmla="*/ 25 h 1010"/>
                <a:gd name="T106" fmla="*/ 40 w 905"/>
                <a:gd name="T107" fmla="*/ 23 h 1010"/>
                <a:gd name="T108" fmla="*/ 44 w 905"/>
                <a:gd name="T109" fmla="*/ 25 h 1010"/>
                <a:gd name="T110" fmla="*/ 47 w 905"/>
                <a:gd name="T111" fmla="*/ 24 h 1010"/>
                <a:gd name="T112" fmla="*/ 20 w 905"/>
                <a:gd name="T113" fmla="*/ 27 h 1010"/>
                <a:gd name="T114" fmla="*/ 18 w 905"/>
                <a:gd name="T115" fmla="*/ 25 h 10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5"/>
                <a:gd name="T175" fmla="*/ 0 h 1010"/>
                <a:gd name="T176" fmla="*/ 905 w 905"/>
                <a:gd name="T177" fmla="*/ 1010 h 10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5" h="1010">
                  <a:moveTo>
                    <a:pt x="215" y="87"/>
                  </a:moveTo>
                  <a:cubicBezTo>
                    <a:pt x="229" y="97"/>
                    <a:pt x="250" y="93"/>
                    <a:pt x="250" y="93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1" y="78"/>
                    <a:pt x="201" y="78"/>
                    <a:pt x="215" y="87"/>
                  </a:cubicBezTo>
                  <a:close/>
                  <a:moveTo>
                    <a:pt x="453" y="40"/>
                  </a:moveTo>
                  <a:cubicBezTo>
                    <a:pt x="481" y="40"/>
                    <a:pt x="481" y="40"/>
                    <a:pt x="481" y="40"/>
                  </a:cubicBezTo>
                  <a:cubicBezTo>
                    <a:pt x="481" y="40"/>
                    <a:pt x="512" y="51"/>
                    <a:pt x="516" y="49"/>
                  </a:cubicBezTo>
                  <a:cubicBezTo>
                    <a:pt x="520" y="48"/>
                    <a:pt x="542" y="44"/>
                    <a:pt x="547" y="44"/>
                  </a:cubicBezTo>
                  <a:cubicBezTo>
                    <a:pt x="553" y="44"/>
                    <a:pt x="599" y="62"/>
                    <a:pt x="599" y="62"/>
                  </a:cubicBezTo>
                  <a:cubicBezTo>
                    <a:pt x="613" y="47"/>
                    <a:pt x="613" y="47"/>
                    <a:pt x="613" y="47"/>
                  </a:cubicBezTo>
                  <a:cubicBezTo>
                    <a:pt x="653" y="48"/>
                    <a:pt x="653" y="48"/>
                    <a:pt x="653" y="48"/>
                  </a:cubicBezTo>
                  <a:cubicBezTo>
                    <a:pt x="656" y="35"/>
                    <a:pt x="656" y="35"/>
                    <a:pt x="656" y="35"/>
                  </a:cubicBezTo>
                  <a:cubicBezTo>
                    <a:pt x="656" y="35"/>
                    <a:pt x="677" y="42"/>
                    <a:pt x="688" y="21"/>
                  </a:cubicBezTo>
                  <a:cubicBezTo>
                    <a:pt x="699" y="0"/>
                    <a:pt x="653" y="17"/>
                    <a:pt x="653" y="17"/>
                  </a:cubicBezTo>
                  <a:cubicBezTo>
                    <a:pt x="653" y="17"/>
                    <a:pt x="650" y="7"/>
                    <a:pt x="626" y="7"/>
                  </a:cubicBezTo>
                  <a:cubicBezTo>
                    <a:pt x="602" y="7"/>
                    <a:pt x="585" y="19"/>
                    <a:pt x="578" y="17"/>
                  </a:cubicBezTo>
                  <a:cubicBezTo>
                    <a:pt x="571" y="16"/>
                    <a:pt x="577" y="4"/>
                    <a:pt x="558" y="4"/>
                  </a:cubicBezTo>
                  <a:cubicBezTo>
                    <a:pt x="540" y="4"/>
                    <a:pt x="535" y="20"/>
                    <a:pt x="535" y="20"/>
                  </a:cubicBezTo>
                  <a:cubicBezTo>
                    <a:pt x="491" y="4"/>
                    <a:pt x="491" y="4"/>
                    <a:pt x="491" y="4"/>
                  </a:cubicBezTo>
                  <a:cubicBezTo>
                    <a:pt x="491" y="4"/>
                    <a:pt x="470" y="11"/>
                    <a:pt x="447" y="16"/>
                  </a:cubicBezTo>
                  <a:cubicBezTo>
                    <a:pt x="425" y="20"/>
                    <a:pt x="440" y="4"/>
                    <a:pt x="440" y="4"/>
                  </a:cubicBezTo>
                  <a:cubicBezTo>
                    <a:pt x="419" y="14"/>
                    <a:pt x="419" y="14"/>
                    <a:pt x="419" y="14"/>
                  </a:cubicBezTo>
                  <a:cubicBezTo>
                    <a:pt x="429" y="28"/>
                    <a:pt x="429" y="28"/>
                    <a:pt x="429" y="28"/>
                  </a:cubicBezTo>
                  <a:lnTo>
                    <a:pt x="453" y="40"/>
                  </a:lnTo>
                  <a:close/>
                  <a:moveTo>
                    <a:pt x="214" y="49"/>
                  </a:moveTo>
                  <a:cubicBezTo>
                    <a:pt x="221" y="54"/>
                    <a:pt x="236" y="51"/>
                    <a:pt x="239" y="55"/>
                  </a:cubicBezTo>
                  <a:cubicBezTo>
                    <a:pt x="242" y="59"/>
                    <a:pt x="223" y="69"/>
                    <a:pt x="223" y="6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67" y="90"/>
                    <a:pt x="281" y="93"/>
                  </a:cubicBezTo>
                  <a:cubicBezTo>
                    <a:pt x="295" y="96"/>
                    <a:pt x="305" y="76"/>
                    <a:pt x="305" y="76"/>
                  </a:cubicBezTo>
                  <a:cubicBezTo>
                    <a:pt x="333" y="71"/>
                    <a:pt x="333" y="71"/>
                    <a:pt x="333" y="71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6" y="85"/>
                    <a:pt x="337" y="90"/>
                    <a:pt x="319" y="94"/>
                  </a:cubicBezTo>
                  <a:cubicBezTo>
                    <a:pt x="301" y="99"/>
                    <a:pt x="302" y="106"/>
                    <a:pt x="302" y="106"/>
                  </a:cubicBezTo>
                  <a:cubicBezTo>
                    <a:pt x="302" y="106"/>
                    <a:pt x="352" y="110"/>
                    <a:pt x="345" y="111"/>
                  </a:cubicBezTo>
                  <a:cubicBezTo>
                    <a:pt x="337" y="113"/>
                    <a:pt x="307" y="125"/>
                    <a:pt x="307" y="125"/>
                  </a:cubicBezTo>
                  <a:cubicBezTo>
                    <a:pt x="340" y="137"/>
                    <a:pt x="340" y="137"/>
                    <a:pt x="340" y="137"/>
                  </a:cubicBezTo>
                  <a:cubicBezTo>
                    <a:pt x="340" y="137"/>
                    <a:pt x="370" y="152"/>
                    <a:pt x="395" y="148"/>
                  </a:cubicBezTo>
                  <a:cubicBezTo>
                    <a:pt x="421" y="144"/>
                    <a:pt x="402" y="128"/>
                    <a:pt x="402" y="121"/>
                  </a:cubicBezTo>
                  <a:cubicBezTo>
                    <a:pt x="402" y="114"/>
                    <a:pt x="432" y="114"/>
                    <a:pt x="432" y="114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51" y="96"/>
                    <a:pt x="451" y="96"/>
                    <a:pt x="451" y="96"/>
                  </a:cubicBezTo>
                  <a:cubicBezTo>
                    <a:pt x="460" y="75"/>
                    <a:pt x="460" y="75"/>
                    <a:pt x="460" y="75"/>
                  </a:cubicBezTo>
                  <a:cubicBezTo>
                    <a:pt x="473" y="82"/>
                    <a:pt x="473" y="82"/>
                    <a:pt x="473" y="82"/>
                  </a:cubicBezTo>
                  <a:cubicBezTo>
                    <a:pt x="489" y="73"/>
                    <a:pt x="489" y="73"/>
                    <a:pt x="489" y="73"/>
                  </a:cubicBezTo>
                  <a:cubicBezTo>
                    <a:pt x="489" y="73"/>
                    <a:pt x="498" y="87"/>
                    <a:pt x="518" y="92"/>
                  </a:cubicBezTo>
                  <a:cubicBezTo>
                    <a:pt x="537" y="96"/>
                    <a:pt x="515" y="123"/>
                    <a:pt x="515" y="123"/>
                  </a:cubicBezTo>
                  <a:cubicBezTo>
                    <a:pt x="551" y="121"/>
                    <a:pt x="551" y="121"/>
                    <a:pt x="551" y="121"/>
                  </a:cubicBezTo>
                  <a:cubicBezTo>
                    <a:pt x="551" y="121"/>
                    <a:pt x="570" y="137"/>
                    <a:pt x="571" y="132"/>
                  </a:cubicBezTo>
                  <a:cubicBezTo>
                    <a:pt x="572" y="128"/>
                    <a:pt x="623" y="114"/>
                    <a:pt x="627" y="106"/>
                  </a:cubicBezTo>
                  <a:cubicBezTo>
                    <a:pt x="632" y="97"/>
                    <a:pt x="589" y="99"/>
                    <a:pt x="589" y="99"/>
                  </a:cubicBezTo>
                  <a:cubicBezTo>
                    <a:pt x="587" y="87"/>
                    <a:pt x="587" y="87"/>
                    <a:pt x="587" y="87"/>
                  </a:cubicBezTo>
                  <a:cubicBezTo>
                    <a:pt x="551" y="82"/>
                    <a:pt x="551" y="82"/>
                    <a:pt x="551" y="82"/>
                  </a:cubicBezTo>
                  <a:cubicBezTo>
                    <a:pt x="550" y="71"/>
                    <a:pt x="550" y="71"/>
                    <a:pt x="550" y="71"/>
                  </a:cubicBezTo>
                  <a:cubicBezTo>
                    <a:pt x="529" y="73"/>
                    <a:pt x="529" y="73"/>
                    <a:pt x="529" y="73"/>
                  </a:cubicBezTo>
                  <a:cubicBezTo>
                    <a:pt x="532" y="61"/>
                    <a:pt x="532" y="61"/>
                    <a:pt x="532" y="61"/>
                  </a:cubicBezTo>
                  <a:cubicBezTo>
                    <a:pt x="481" y="62"/>
                    <a:pt x="481" y="62"/>
                    <a:pt x="481" y="62"/>
                  </a:cubicBezTo>
                  <a:cubicBezTo>
                    <a:pt x="477" y="54"/>
                    <a:pt x="477" y="54"/>
                    <a:pt x="477" y="54"/>
                  </a:cubicBezTo>
                  <a:cubicBezTo>
                    <a:pt x="453" y="54"/>
                    <a:pt x="453" y="54"/>
                    <a:pt x="453" y="54"/>
                  </a:cubicBezTo>
                  <a:cubicBezTo>
                    <a:pt x="453" y="54"/>
                    <a:pt x="450" y="41"/>
                    <a:pt x="435" y="37"/>
                  </a:cubicBezTo>
                  <a:cubicBezTo>
                    <a:pt x="419" y="33"/>
                    <a:pt x="412" y="38"/>
                    <a:pt x="412" y="3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394" y="20"/>
                    <a:pt x="366" y="21"/>
                  </a:cubicBezTo>
                  <a:cubicBezTo>
                    <a:pt x="337" y="23"/>
                    <a:pt x="374" y="55"/>
                    <a:pt x="374" y="55"/>
                  </a:cubicBezTo>
                  <a:cubicBezTo>
                    <a:pt x="374" y="55"/>
                    <a:pt x="343" y="30"/>
                    <a:pt x="328" y="27"/>
                  </a:cubicBezTo>
                  <a:cubicBezTo>
                    <a:pt x="312" y="24"/>
                    <a:pt x="307" y="44"/>
                    <a:pt x="307" y="44"/>
                  </a:cubicBezTo>
                  <a:cubicBezTo>
                    <a:pt x="307" y="44"/>
                    <a:pt x="284" y="40"/>
                    <a:pt x="278" y="37"/>
                  </a:cubicBezTo>
                  <a:cubicBezTo>
                    <a:pt x="273" y="34"/>
                    <a:pt x="291" y="24"/>
                    <a:pt x="291" y="24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16" y="31"/>
                    <a:pt x="208" y="38"/>
                  </a:cubicBezTo>
                  <a:cubicBezTo>
                    <a:pt x="208" y="38"/>
                    <a:pt x="207" y="45"/>
                    <a:pt x="214" y="49"/>
                  </a:cubicBezTo>
                  <a:close/>
                  <a:moveTo>
                    <a:pt x="425" y="477"/>
                  </a:moveTo>
                  <a:cubicBezTo>
                    <a:pt x="441" y="474"/>
                    <a:pt x="440" y="464"/>
                    <a:pt x="447" y="464"/>
                  </a:cubicBezTo>
                  <a:cubicBezTo>
                    <a:pt x="453" y="464"/>
                    <a:pt x="447" y="453"/>
                    <a:pt x="447" y="453"/>
                  </a:cubicBezTo>
                  <a:cubicBezTo>
                    <a:pt x="417" y="467"/>
                    <a:pt x="417" y="467"/>
                    <a:pt x="417" y="467"/>
                  </a:cubicBezTo>
                  <a:lnTo>
                    <a:pt x="425" y="477"/>
                  </a:lnTo>
                  <a:close/>
                  <a:moveTo>
                    <a:pt x="513" y="437"/>
                  </a:moveTo>
                  <a:cubicBezTo>
                    <a:pt x="522" y="434"/>
                    <a:pt x="535" y="424"/>
                    <a:pt x="517" y="423"/>
                  </a:cubicBezTo>
                  <a:cubicBezTo>
                    <a:pt x="500" y="422"/>
                    <a:pt x="513" y="437"/>
                    <a:pt x="513" y="437"/>
                  </a:cubicBezTo>
                  <a:close/>
                  <a:moveTo>
                    <a:pt x="392" y="470"/>
                  </a:moveTo>
                  <a:cubicBezTo>
                    <a:pt x="373" y="465"/>
                    <a:pt x="363" y="482"/>
                    <a:pt x="363" y="482"/>
                  </a:cubicBezTo>
                  <a:cubicBezTo>
                    <a:pt x="379" y="486"/>
                    <a:pt x="379" y="486"/>
                    <a:pt x="379" y="486"/>
                  </a:cubicBezTo>
                  <a:cubicBezTo>
                    <a:pt x="385" y="482"/>
                    <a:pt x="411" y="474"/>
                    <a:pt x="392" y="470"/>
                  </a:cubicBezTo>
                  <a:close/>
                  <a:moveTo>
                    <a:pt x="610" y="414"/>
                  </a:moveTo>
                  <a:cubicBezTo>
                    <a:pt x="623" y="417"/>
                    <a:pt x="623" y="417"/>
                    <a:pt x="623" y="417"/>
                  </a:cubicBezTo>
                  <a:cubicBezTo>
                    <a:pt x="631" y="408"/>
                    <a:pt x="631" y="402"/>
                    <a:pt x="631" y="402"/>
                  </a:cubicBezTo>
                  <a:cubicBezTo>
                    <a:pt x="611" y="404"/>
                    <a:pt x="611" y="404"/>
                    <a:pt x="611" y="404"/>
                  </a:cubicBezTo>
                  <a:lnTo>
                    <a:pt x="610" y="414"/>
                  </a:lnTo>
                  <a:close/>
                  <a:moveTo>
                    <a:pt x="320" y="509"/>
                  </a:moveTo>
                  <a:cubicBezTo>
                    <a:pt x="304" y="509"/>
                    <a:pt x="279" y="528"/>
                    <a:pt x="285" y="532"/>
                  </a:cubicBezTo>
                  <a:cubicBezTo>
                    <a:pt x="290" y="535"/>
                    <a:pt x="315" y="520"/>
                    <a:pt x="315" y="520"/>
                  </a:cubicBezTo>
                  <a:cubicBezTo>
                    <a:pt x="338" y="516"/>
                    <a:pt x="338" y="516"/>
                    <a:pt x="338" y="516"/>
                  </a:cubicBezTo>
                  <a:cubicBezTo>
                    <a:pt x="335" y="516"/>
                    <a:pt x="336" y="509"/>
                    <a:pt x="320" y="509"/>
                  </a:cubicBezTo>
                  <a:close/>
                  <a:moveTo>
                    <a:pt x="901" y="448"/>
                  </a:moveTo>
                  <a:cubicBezTo>
                    <a:pt x="884" y="451"/>
                    <a:pt x="884" y="451"/>
                    <a:pt x="884" y="451"/>
                  </a:cubicBezTo>
                  <a:cubicBezTo>
                    <a:pt x="856" y="444"/>
                    <a:pt x="856" y="444"/>
                    <a:pt x="856" y="444"/>
                  </a:cubicBezTo>
                  <a:cubicBezTo>
                    <a:pt x="836" y="433"/>
                    <a:pt x="836" y="433"/>
                    <a:pt x="836" y="433"/>
                  </a:cubicBezTo>
                  <a:cubicBezTo>
                    <a:pt x="836" y="433"/>
                    <a:pt x="862" y="437"/>
                    <a:pt x="873" y="432"/>
                  </a:cubicBezTo>
                  <a:cubicBezTo>
                    <a:pt x="884" y="427"/>
                    <a:pt x="902" y="421"/>
                    <a:pt x="902" y="421"/>
                  </a:cubicBezTo>
                  <a:cubicBezTo>
                    <a:pt x="902" y="421"/>
                    <a:pt x="876" y="406"/>
                    <a:pt x="862" y="406"/>
                  </a:cubicBezTo>
                  <a:cubicBezTo>
                    <a:pt x="848" y="406"/>
                    <a:pt x="827" y="395"/>
                    <a:pt x="827" y="395"/>
                  </a:cubicBezTo>
                  <a:cubicBezTo>
                    <a:pt x="827" y="395"/>
                    <a:pt x="819" y="421"/>
                    <a:pt x="803" y="418"/>
                  </a:cubicBezTo>
                  <a:cubicBezTo>
                    <a:pt x="787" y="415"/>
                    <a:pt x="815" y="397"/>
                    <a:pt x="815" y="397"/>
                  </a:cubicBezTo>
                  <a:cubicBezTo>
                    <a:pt x="771" y="382"/>
                    <a:pt x="771" y="382"/>
                    <a:pt x="771" y="382"/>
                  </a:cubicBezTo>
                  <a:cubicBezTo>
                    <a:pt x="771" y="382"/>
                    <a:pt x="763" y="431"/>
                    <a:pt x="749" y="425"/>
                  </a:cubicBezTo>
                  <a:cubicBezTo>
                    <a:pt x="735" y="419"/>
                    <a:pt x="746" y="393"/>
                    <a:pt x="746" y="393"/>
                  </a:cubicBezTo>
                  <a:cubicBezTo>
                    <a:pt x="746" y="393"/>
                    <a:pt x="708" y="437"/>
                    <a:pt x="698" y="430"/>
                  </a:cubicBezTo>
                  <a:cubicBezTo>
                    <a:pt x="688" y="423"/>
                    <a:pt x="734" y="387"/>
                    <a:pt x="734" y="387"/>
                  </a:cubicBezTo>
                  <a:cubicBezTo>
                    <a:pt x="711" y="385"/>
                    <a:pt x="711" y="385"/>
                    <a:pt x="711" y="385"/>
                  </a:cubicBezTo>
                  <a:cubicBezTo>
                    <a:pt x="699" y="395"/>
                    <a:pt x="699" y="395"/>
                    <a:pt x="699" y="395"/>
                  </a:cubicBezTo>
                  <a:cubicBezTo>
                    <a:pt x="683" y="393"/>
                    <a:pt x="683" y="393"/>
                    <a:pt x="683" y="393"/>
                  </a:cubicBezTo>
                  <a:cubicBezTo>
                    <a:pt x="653" y="411"/>
                    <a:pt x="653" y="411"/>
                    <a:pt x="653" y="411"/>
                  </a:cubicBezTo>
                  <a:cubicBezTo>
                    <a:pt x="637" y="412"/>
                    <a:pt x="637" y="412"/>
                    <a:pt x="637" y="41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11" y="423"/>
                    <a:pt x="611" y="423"/>
                    <a:pt x="611" y="423"/>
                  </a:cubicBezTo>
                  <a:cubicBezTo>
                    <a:pt x="585" y="428"/>
                    <a:pt x="585" y="428"/>
                    <a:pt x="585" y="428"/>
                  </a:cubicBezTo>
                  <a:cubicBezTo>
                    <a:pt x="593" y="446"/>
                    <a:pt x="593" y="446"/>
                    <a:pt x="593" y="446"/>
                  </a:cubicBezTo>
                  <a:cubicBezTo>
                    <a:pt x="562" y="437"/>
                    <a:pt x="562" y="437"/>
                    <a:pt x="562" y="437"/>
                  </a:cubicBezTo>
                  <a:cubicBezTo>
                    <a:pt x="551" y="443"/>
                    <a:pt x="551" y="443"/>
                    <a:pt x="551" y="443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24" y="465"/>
                    <a:pt x="524" y="465"/>
                    <a:pt x="524" y="465"/>
                  </a:cubicBezTo>
                  <a:cubicBezTo>
                    <a:pt x="527" y="444"/>
                    <a:pt x="527" y="444"/>
                    <a:pt x="527" y="444"/>
                  </a:cubicBezTo>
                  <a:cubicBezTo>
                    <a:pt x="507" y="444"/>
                    <a:pt x="507" y="444"/>
                    <a:pt x="507" y="444"/>
                  </a:cubicBezTo>
                  <a:cubicBezTo>
                    <a:pt x="513" y="457"/>
                    <a:pt x="513" y="457"/>
                    <a:pt x="513" y="457"/>
                  </a:cubicBezTo>
                  <a:cubicBezTo>
                    <a:pt x="497" y="447"/>
                    <a:pt x="497" y="447"/>
                    <a:pt x="497" y="447"/>
                  </a:cubicBezTo>
                  <a:cubicBezTo>
                    <a:pt x="499" y="467"/>
                    <a:pt x="499" y="467"/>
                    <a:pt x="499" y="467"/>
                  </a:cubicBezTo>
                  <a:cubicBezTo>
                    <a:pt x="482" y="466"/>
                    <a:pt x="482" y="466"/>
                    <a:pt x="482" y="466"/>
                  </a:cubicBezTo>
                  <a:cubicBezTo>
                    <a:pt x="482" y="466"/>
                    <a:pt x="479" y="453"/>
                    <a:pt x="481" y="450"/>
                  </a:cubicBezTo>
                  <a:cubicBezTo>
                    <a:pt x="483" y="447"/>
                    <a:pt x="494" y="437"/>
                    <a:pt x="494" y="437"/>
                  </a:cubicBezTo>
                  <a:cubicBezTo>
                    <a:pt x="471" y="434"/>
                    <a:pt x="471" y="434"/>
                    <a:pt x="471" y="434"/>
                  </a:cubicBezTo>
                  <a:cubicBezTo>
                    <a:pt x="468" y="463"/>
                    <a:pt x="468" y="463"/>
                    <a:pt x="468" y="463"/>
                  </a:cubicBezTo>
                  <a:cubicBezTo>
                    <a:pt x="450" y="472"/>
                    <a:pt x="450" y="472"/>
                    <a:pt x="450" y="472"/>
                  </a:cubicBezTo>
                  <a:cubicBezTo>
                    <a:pt x="460" y="480"/>
                    <a:pt x="460" y="480"/>
                    <a:pt x="460" y="480"/>
                  </a:cubicBezTo>
                  <a:cubicBezTo>
                    <a:pt x="438" y="483"/>
                    <a:pt x="438" y="483"/>
                    <a:pt x="438" y="483"/>
                  </a:cubicBezTo>
                  <a:cubicBezTo>
                    <a:pt x="446" y="491"/>
                    <a:pt x="446" y="491"/>
                    <a:pt x="446" y="491"/>
                  </a:cubicBezTo>
                  <a:cubicBezTo>
                    <a:pt x="418" y="492"/>
                    <a:pt x="418" y="492"/>
                    <a:pt x="418" y="492"/>
                  </a:cubicBezTo>
                  <a:cubicBezTo>
                    <a:pt x="418" y="500"/>
                    <a:pt x="418" y="500"/>
                    <a:pt x="418" y="500"/>
                  </a:cubicBezTo>
                  <a:cubicBezTo>
                    <a:pt x="439" y="505"/>
                    <a:pt x="439" y="505"/>
                    <a:pt x="439" y="505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408" y="504"/>
                    <a:pt x="408" y="504"/>
                    <a:pt x="408" y="504"/>
                  </a:cubicBezTo>
                  <a:cubicBezTo>
                    <a:pt x="399" y="505"/>
                    <a:pt x="399" y="505"/>
                    <a:pt x="399" y="505"/>
                  </a:cubicBezTo>
                  <a:cubicBezTo>
                    <a:pt x="415" y="516"/>
                    <a:pt x="415" y="516"/>
                    <a:pt x="415" y="516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392" y="514"/>
                    <a:pt x="392" y="514"/>
                    <a:pt x="392" y="514"/>
                  </a:cubicBezTo>
                  <a:cubicBezTo>
                    <a:pt x="382" y="520"/>
                    <a:pt x="382" y="520"/>
                    <a:pt x="382" y="520"/>
                  </a:cubicBezTo>
                  <a:cubicBezTo>
                    <a:pt x="383" y="525"/>
                    <a:pt x="383" y="525"/>
                    <a:pt x="383" y="525"/>
                  </a:cubicBezTo>
                  <a:cubicBezTo>
                    <a:pt x="360" y="526"/>
                    <a:pt x="360" y="526"/>
                    <a:pt x="360" y="526"/>
                  </a:cubicBezTo>
                  <a:cubicBezTo>
                    <a:pt x="357" y="535"/>
                    <a:pt x="357" y="535"/>
                    <a:pt x="357" y="535"/>
                  </a:cubicBezTo>
                  <a:cubicBezTo>
                    <a:pt x="374" y="544"/>
                    <a:pt x="374" y="544"/>
                    <a:pt x="374" y="544"/>
                  </a:cubicBezTo>
                  <a:cubicBezTo>
                    <a:pt x="372" y="554"/>
                    <a:pt x="372" y="554"/>
                    <a:pt x="372" y="554"/>
                  </a:cubicBezTo>
                  <a:cubicBezTo>
                    <a:pt x="350" y="546"/>
                    <a:pt x="350" y="546"/>
                    <a:pt x="350" y="546"/>
                  </a:cubicBezTo>
                  <a:cubicBezTo>
                    <a:pt x="347" y="556"/>
                    <a:pt x="347" y="556"/>
                    <a:pt x="347" y="556"/>
                  </a:cubicBezTo>
                  <a:cubicBezTo>
                    <a:pt x="365" y="561"/>
                    <a:pt x="365" y="561"/>
                    <a:pt x="365" y="561"/>
                  </a:cubicBezTo>
                  <a:cubicBezTo>
                    <a:pt x="365" y="561"/>
                    <a:pt x="344" y="562"/>
                    <a:pt x="337" y="563"/>
                  </a:cubicBezTo>
                  <a:cubicBezTo>
                    <a:pt x="330" y="564"/>
                    <a:pt x="334" y="574"/>
                    <a:pt x="334" y="574"/>
                  </a:cubicBezTo>
                  <a:cubicBezTo>
                    <a:pt x="334" y="574"/>
                    <a:pt x="321" y="567"/>
                    <a:pt x="313" y="573"/>
                  </a:cubicBezTo>
                  <a:cubicBezTo>
                    <a:pt x="305" y="579"/>
                    <a:pt x="298" y="584"/>
                    <a:pt x="303" y="587"/>
                  </a:cubicBezTo>
                  <a:cubicBezTo>
                    <a:pt x="308" y="590"/>
                    <a:pt x="297" y="596"/>
                    <a:pt x="297" y="596"/>
                  </a:cubicBezTo>
                  <a:cubicBezTo>
                    <a:pt x="297" y="596"/>
                    <a:pt x="290" y="605"/>
                    <a:pt x="293" y="606"/>
                  </a:cubicBezTo>
                  <a:cubicBezTo>
                    <a:pt x="296" y="607"/>
                    <a:pt x="316" y="608"/>
                    <a:pt x="316" y="608"/>
                  </a:cubicBezTo>
                  <a:cubicBezTo>
                    <a:pt x="309" y="616"/>
                    <a:pt x="309" y="616"/>
                    <a:pt x="309" y="616"/>
                  </a:cubicBezTo>
                  <a:cubicBezTo>
                    <a:pt x="286" y="612"/>
                    <a:pt x="286" y="612"/>
                    <a:pt x="286" y="612"/>
                  </a:cubicBezTo>
                  <a:cubicBezTo>
                    <a:pt x="286" y="612"/>
                    <a:pt x="273" y="614"/>
                    <a:pt x="273" y="622"/>
                  </a:cubicBezTo>
                  <a:cubicBezTo>
                    <a:pt x="273" y="630"/>
                    <a:pt x="283" y="636"/>
                    <a:pt x="279" y="639"/>
                  </a:cubicBezTo>
                  <a:cubicBezTo>
                    <a:pt x="275" y="642"/>
                    <a:pt x="271" y="642"/>
                    <a:pt x="266" y="642"/>
                  </a:cubicBezTo>
                  <a:cubicBezTo>
                    <a:pt x="261" y="642"/>
                    <a:pt x="255" y="643"/>
                    <a:pt x="257" y="650"/>
                  </a:cubicBezTo>
                  <a:cubicBezTo>
                    <a:pt x="259" y="657"/>
                    <a:pt x="267" y="661"/>
                    <a:pt x="267" y="661"/>
                  </a:cubicBezTo>
                  <a:cubicBezTo>
                    <a:pt x="267" y="661"/>
                    <a:pt x="273" y="672"/>
                    <a:pt x="266" y="673"/>
                  </a:cubicBezTo>
                  <a:cubicBezTo>
                    <a:pt x="259" y="674"/>
                    <a:pt x="252" y="673"/>
                    <a:pt x="249" y="673"/>
                  </a:cubicBezTo>
                  <a:cubicBezTo>
                    <a:pt x="246" y="673"/>
                    <a:pt x="243" y="674"/>
                    <a:pt x="240" y="678"/>
                  </a:cubicBezTo>
                  <a:cubicBezTo>
                    <a:pt x="237" y="682"/>
                    <a:pt x="237" y="689"/>
                    <a:pt x="237" y="689"/>
                  </a:cubicBezTo>
                  <a:cubicBezTo>
                    <a:pt x="237" y="689"/>
                    <a:pt x="239" y="696"/>
                    <a:pt x="232" y="696"/>
                  </a:cubicBezTo>
                  <a:cubicBezTo>
                    <a:pt x="225" y="696"/>
                    <a:pt x="222" y="689"/>
                    <a:pt x="216" y="690"/>
                  </a:cubicBezTo>
                  <a:cubicBezTo>
                    <a:pt x="210" y="691"/>
                    <a:pt x="212" y="691"/>
                    <a:pt x="207" y="695"/>
                  </a:cubicBezTo>
                  <a:cubicBezTo>
                    <a:pt x="202" y="699"/>
                    <a:pt x="202" y="700"/>
                    <a:pt x="199" y="704"/>
                  </a:cubicBezTo>
                  <a:cubicBezTo>
                    <a:pt x="196" y="708"/>
                    <a:pt x="187" y="708"/>
                    <a:pt x="187" y="708"/>
                  </a:cubicBezTo>
                  <a:cubicBezTo>
                    <a:pt x="187" y="708"/>
                    <a:pt x="183" y="709"/>
                    <a:pt x="180" y="715"/>
                  </a:cubicBezTo>
                  <a:cubicBezTo>
                    <a:pt x="177" y="721"/>
                    <a:pt x="186" y="725"/>
                    <a:pt x="181" y="728"/>
                  </a:cubicBezTo>
                  <a:cubicBezTo>
                    <a:pt x="176" y="731"/>
                    <a:pt x="175" y="733"/>
                    <a:pt x="170" y="733"/>
                  </a:cubicBezTo>
                  <a:cubicBezTo>
                    <a:pt x="165" y="733"/>
                    <a:pt x="156" y="728"/>
                    <a:pt x="153" y="728"/>
                  </a:cubicBezTo>
                  <a:cubicBezTo>
                    <a:pt x="150" y="728"/>
                    <a:pt x="157" y="720"/>
                    <a:pt x="144" y="727"/>
                  </a:cubicBezTo>
                  <a:cubicBezTo>
                    <a:pt x="131" y="734"/>
                    <a:pt x="130" y="735"/>
                    <a:pt x="126" y="734"/>
                  </a:cubicBezTo>
                  <a:cubicBezTo>
                    <a:pt x="122" y="733"/>
                    <a:pt x="117" y="731"/>
                    <a:pt x="118" y="741"/>
                  </a:cubicBezTo>
                  <a:cubicBezTo>
                    <a:pt x="119" y="751"/>
                    <a:pt x="125" y="750"/>
                    <a:pt x="126" y="753"/>
                  </a:cubicBezTo>
                  <a:cubicBezTo>
                    <a:pt x="127" y="756"/>
                    <a:pt x="130" y="764"/>
                    <a:pt x="122" y="760"/>
                  </a:cubicBezTo>
                  <a:cubicBezTo>
                    <a:pt x="114" y="756"/>
                    <a:pt x="113" y="747"/>
                    <a:pt x="108" y="750"/>
                  </a:cubicBezTo>
                  <a:cubicBezTo>
                    <a:pt x="103" y="753"/>
                    <a:pt x="97" y="760"/>
                    <a:pt x="102" y="763"/>
                  </a:cubicBezTo>
                  <a:cubicBezTo>
                    <a:pt x="107" y="766"/>
                    <a:pt x="122" y="762"/>
                    <a:pt x="119" y="768"/>
                  </a:cubicBezTo>
                  <a:cubicBezTo>
                    <a:pt x="116" y="774"/>
                    <a:pt x="126" y="777"/>
                    <a:pt x="111" y="775"/>
                  </a:cubicBezTo>
                  <a:cubicBezTo>
                    <a:pt x="96" y="773"/>
                    <a:pt x="92" y="773"/>
                    <a:pt x="92" y="773"/>
                  </a:cubicBezTo>
                  <a:cubicBezTo>
                    <a:pt x="92" y="773"/>
                    <a:pt x="94" y="767"/>
                    <a:pt x="88" y="772"/>
                  </a:cubicBezTo>
                  <a:cubicBezTo>
                    <a:pt x="82" y="777"/>
                    <a:pt x="84" y="786"/>
                    <a:pt x="84" y="786"/>
                  </a:cubicBezTo>
                  <a:cubicBezTo>
                    <a:pt x="84" y="786"/>
                    <a:pt x="55" y="773"/>
                    <a:pt x="59" y="781"/>
                  </a:cubicBezTo>
                  <a:cubicBezTo>
                    <a:pt x="63" y="789"/>
                    <a:pt x="85" y="794"/>
                    <a:pt x="85" y="794"/>
                  </a:cubicBezTo>
                  <a:cubicBezTo>
                    <a:pt x="72" y="808"/>
                    <a:pt x="72" y="808"/>
                    <a:pt x="72" y="808"/>
                  </a:cubicBezTo>
                  <a:cubicBezTo>
                    <a:pt x="72" y="808"/>
                    <a:pt x="73" y="798"/>
                    <a:pt x="66" y="797"/>
                  </a:cubicBezTo>
                  <a:cubicBezTo>
                    <a:pt x="59" y="796"/>
                    <a:pt x="53" y="804"/>
                    <a:pt x="53" y="804"/>
                  </a:cubicBezTo>
                  <a:cubicBezTo>
                    <a:pt x="40" y="793"/>
                    <a:pt x="40" y="793"/>
                    <a:pt x="40" y="793"/>
                  </a:cubicBezTo>
                  <a:cubicBezTo>
                    <a:pt x="34" y="802"/>
                    <a:pt x="34" y="802"/>
                    <a:pt x="34" y="802"/>
                  </a:cubicBezTo>
                  <a:cubicBezTo>
                    <a:pt x="43" y="805"/>
                    <a:pt x="43" y="805"/>
                    <a:pt x="43" y="805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9" y="813"/>
                    <a:pt x="19" y="813"/>
                    <a:pt x="19" y="813"/>
                  </a:cubicBezTo>
                  <a:cubicBezTo>
                    <a:pt x="52" y="815"/>
                    <a:pt x="52" y="815"/>
                    <a:pt x="52" y="815"/>
                  </a:cubicBezTo>
                  <a:cubicBezTo>
                    <a:pt x="35" y="820"/>
                    <a:pt x="35" y="820"/>
                    <a:pt x="35" y="820"/>
                  </a:cubicBezTo>
                  <a:cubicBezTo>
                    <a:pt x="11" y="814"/>
                    <a:pt x="11" y="814"/>
                    <a:pt x="11" y="814"/>
                  </a:cubicBezTo>
                  <a:cubicBezTo>
                    <a:pt x="11" y="814"/>
                    <a:pt x="3" y="821"/>
                    <a:pt x="3" y="827"/>
                  </a:cubicBezTo>
                  <a:cubicBezTo>
                    <a:pt x="3" y="833"/>
                    <a:pt x="21" y="834"/>
                    <a:pt x="21" y="834"/>
                  </a:cubicBezTo>
                  <a:cubicBezTo>
                    <a:pt x="10" y="839"/>
                    <a:pt x="10" y="839"/>
                    <a:pt x="10" y="839"/>
                  </a:cubicBezTo>
                  <a:cubicBezTo>
                    <a:pt x="10" y="839"/>
                    <a:pt x="1" y="846"/>
                    <a:pt x="10" y="847"/>
                  </a:cubicBezTo>
                  <a:cubicBezTo>
                    <a:pt x="19" y="848"/>
                    <a:pt x="42" y="848"/>
                    <a:pt x="42" y="848"/>
                  </a:cubicBezTo>
                  <a:cubicBezTo>
                    <a:pt x="52" y="854"/>
                    <a:pt x="52" y="854"/>
                    <a:pt x="52" y="854"/>
                  </a:cubicBezTo>
                  <a:cubicBezTo>
                    <a:pt x="63" y="846"/>
                    <a:pt x="63" y="846"/>
                    <a:pt x="63" y="846"/>
                  </a:cubicBezTo>
                  <a:cubicBezTo>
                    <a:pt x="71" y="854"/>
                    <a:pt x="71" y="854"/>
                    <a:pt x="71" y="854"/>
                  </a:cubicBezTo>
                  <a:cubicBezTo>
                    <a:pt x="89" y="845"/>
                    <a:pt x="89" y="845"/>
                    <a:pt x="89" y="845"/>
                  </a:cubicBezTo>
                  <a:cubicBezTo>
                    <a:pt x="89" y="845"/>
                    <a:pt x="86" y="858"/>
                    <a:pt x="80" y="858"/>
                  </a:cubicBezTo>
                  <a:cubicBezTo>
                    <a:pt x="74" y="858"/>
                    <a:pt x="62" y="857"/>
                    <a:pt x="62" y="857"/>
                  </a:cubicBezTo>
                  <a:cubicBezTo>
                    <a:pt x="44" y="858"/>
                    <a:pt x="44" y="858"/>
                    <a:pt x="44" y="858"/>
                  </a:cubicBezTo>
                  <a:cubicBezTo>
                    <a:pt x="44" y="858"/>
                    <a:pt x="28" y="856"/>
                    <a:pt x="25" y="856"/>
                  </a:cubicBezTo>
                  <a:cubicBezTo>
                    <a:pt x="22" y="856"/>
                    <a:pt x="0" y="858"/>
                    <a:pt x="0" y="858"/>
                  </a:cubicBezTo>
                  <a:cubicBezTo>
                    <a:pt x="0" y="858"/>
                    <a:pt x="2" y="870"/>
                    <a:pt x="7" y="872"/>
                  </a:cubicBezTo>
                  <a:cubicBezTo>
                    <a:pt x="12" y="874"/>
                    <a:pt x="20" y="874"/>
                    <a:pt x="20" y="874"/>
                  </a:cubicBezTo>
                  <a:cubicBezTo>
                    <a:pt x="20" y="874"/>
                    <a:pt x="7" y="884"/>
                    <a:pt x="13" y="891"/>
                  </a:cubicBezTo>
                  <a:cubicBezTo>
                    <a:pt x="19" y="898"/>
                    <a:pt x="29" y="899"/>
                    <a:pt x="29" y="899"/>
                  </a:cubicBezTo>
                  <a:cubicBezTo>
                    <a:pt x="47" y="888"/>
                    <a:pt x="47" y="888"/>
                    <a:pt x="47" y="888"/>
                  </a:cubicBezTo>
                  <a:cubicBezTo>
                    <a:pt x="65" y="884"/>
                    <a:pt x="65" y="884"/>
                    <a:pt x="65" y="884"/>
                  </a:cubicBezTo>
                  <a:cubicBezTo>
                    <a:pt x="59" y="898"/>
                    <a:pt x="59" y="898"/>
                    <a:pt x="59" y="898"/>
                  </a:cubicBezTo>
                  <a:cubicBezTo>
                    <a:pt x="49" y="895"/>
                    <a:pt x="49" y="895"/>
                    <a:pt x="49" y="895"/>
                  </a:cubicBezTo>
                  <a:cubicBezTo>
                    <a:pt x="43" y="907"/>
                    <a:pt x="43" y="907"/>
                    <a:pt x="43" y="907"/>
                  </a:cubicBezTo>
                  <a:cubicBezTo>
                    <a:pt x="43" y="907"/>
                    <a:pt x="13" y="901"/>
                    <a:pt x="17" y="908"/>
                  </a:cubicBezTo>
                  <a:cubicBezTo>
                    <a:pt x="21" y="915"/>
                    <a:pt x="30" y="918"/>
                    <a:pt x="30" y="918"/>
                  </a:cubicBezTo>
                  <a:cubicBezTo>
                    <a:pt x="14" y="926"/>
                    <a:pt x="14" y="926"/>
                    <a:pt x="14" y="926"/>
                  </a:cubicBezTo>
                  <a:cubicBezTo>
                    <a:pt x="2" y="926"/>
                    <a:pt x="2" y="926"/>
                    <a:pt x="2" y="926"/>
                  </a:cubicBezTo>
                  <a:cubicBezTo>
                    <a:pt x="2" y="926"/>
                    <a:pt x="4" y="938"/>
                    <a:pt x="7" y="938"/>
                  </a:cubicBezTo>
                  <a:cubicBezTo>
                    <a:pt x="10" y="938"/>
                    <a:pt x="42" y="939"/>
                    <a:pt x="42" y="939"/>
                  </a:cubicBezTo>
                  <a:cubicBezTo>
                    <a:pt x="33" y="953"/>
                    <a:pt x="33" y="953"/>
                    <a:pt x="33" y="953"/>
                  </a:cubicBezTo>
                  <a:cubicBezTo>
                    <a:pt x="41" y="955"/>
                    <a:pt x="41" y="955"/>
                    <a:pt x="41" y="955"/>
                  </a:cubicBezTo>
                  <a:cubicBezTo>
                    <a:pt x="36" y="967"/>
                    <a:pt x="36" y="967"/>
                    <a:pt x="36" y="967"/>
                  </a:cubicBezTo>
                  <a:cubicBezTo>
                    <a:pt x="36" y="967"/>
                    <a:pt x="10" y="954"/>
                    <a:pt x="11" y="962"/>
                  </a:cubicBezTo>
                  <a:cubicBezTo>
                    <a:pt x="12" y="970"/>
                    <a:pt x="23" y="981"/>
                    <a:pt x="23" y="981"/>
                  </a:cubicBezTo>
                  <a:cubicBezTo>
                    <a:pt x="55" y="995"/>
                    <a:pt x="55" y="995"/>
                    <a:pt x="55" y="995"/>
                  </a:cubicBezTo>
                  <a:cubicBezTo>
                    <a:pt x="55" y="995"/>
                    <a:pt x="48" y="1000"/>
                    <a:pt x="55" y="1003"/>
                  </a:cubicBezTo>
                  <a:cubicBezTo>
                    <a:pt x="62" y="1006"/>
                    <a:pt x="83" y="1001"/>
                    <a:pt x="83" y="1001"/>
                  </a:cubicBezTo>
                  <a:cubicBezTo>
                    <a:pt x="83" y="1001"/>
                    <a:pt x="86" y="1010"/>
                    <a:pt x="103" y="1004"/>
                  </a:cubicBezTo>
                  <a:cubicBezTo>
                    <a:pt x="120" y="998"/>
                    <a:pt x="148" y="973"/>
                    <a:pt x="148" y="973"/>
                  </a:cubicBezTo>
                  <a:cubicBezTo>
                    <a:pt x="172" y="954"/>
                    <a:pt x="172" y="954"/>
                    <a:pt x="172" y="954"/>
                  </a:cubicBezTo>
                  <a:cubicBezTo>
                    <a:pt x="172" y="954"/>
                    <a:pt x="183" y="959"/>
                    <a:pt x="193" y="950"/>
                  </a:cubicBezTo>
                  <a:cubicBezTo>
                    <a:pt x="203" y="941"/>
                    <a:pt x="193" y="922"/>
                    <a:pt x="193" y="922"/>
                  </a:cubicBezTo>
                  <a:cubicBezTo>
                    <a:pt x="205" y="920"/>
                    <a:pt x="205" y="920"/>
                    <a:pt x="205" y="920"/>
                  </a:cubicBezTo>
                  <a:cubicBezTo>
                    <a:pt x="205" y="920"/>
                    <a:pt x="192" y="937"/>
                    <a:pt x="207" y="942"/>
                  </a:cubicBezTo>
                  <a:cubicBezTo>
                    <a:pt x="222" y="947"/>
                    <a:pt x="233" y="949"/>
                    <a:pt x="233" y="949"/>
                  </a:cubicBezTo>
                  <a:cubicBezTo>
                    <a:pt x="247" y="962"/>
                    <a:pt x="247" y="962"/>
                    <a:pt x="247" y="962"/>
                  </a:cubicBezTo>
                  <a:cubicBezTo>
                    <a:pt x="247" y="962"/>
                    <a:pt x="253" y="951"/>
                    <a:pt x="255" y="946"/>
                  </a:cubicBezTo>
                  <a:cubicBezTo>
                    <a:pt x="257" y="941"/>
                    <a:pt x="251" y="940"/>
                    <a:pt x="248" y="932"/>
                  </a:cubicBezTo>
                  <a:cubicBezTo>
                    <a:pt x="245" y="924"/>
                    <a:pt x="254" y="921"/>
                    <a:pt x="254" y="921"/>
                  </a:cubicBezTo>
                  <a:cubicBezTo>
                    <a:pt x="254" y="921"/>
                    <a:pt x="254" y="917"/>
                    <a:pt x="252" y="911"/>
                  </a:cubicBezTo>
                  <a:cubicBezTo>
                    <a:pt x="250" y="905"/>
                    <a:pt x="264" y="911"/>
                    <a:pt x="269" y="911"/>
                  </a:cubicBezTo>
                  <a:cubicBezTo>
                    <a:pt x="274" y="911"/>
                    <a:pt x="277" y="906"/>
                    <a:pt x="277" y="906"/>
                  </a:cubicBezTo>
                  <a:cubicBezTo>
                    <a:pt x="277" y="889"/>
                    <a:pt x="277" y="889"/>
                    <a:pt x="277" y="889"/>
                  </a:cubicBezTo>
                  <a:cubicBezTo>
                    <a:pt x="284" y="889"/>
                    <a:pt x="284" y="889"/>
                    <a:pt x="284" y="889"/>
                  </a:cubicBezTo>
                  <a:cubicBezTo>
                    <a:pt x="284" y="889"/>
                    <a:pt x="280" y="880"/>
                    <a:pt x="277" y="877"/>
                  </a:cubicBezTo>
                  <a:cubicBezTo>
                    <a:pt x="274" y="874"/>
                    <a:pt x="268" y="857"/>
                    <a:pt x="268" y="857"/>
                  </a:cubicBezTo>
                  <a:cubicBezTo>
                    <a:pt x="283" y="854"/>
                    <a:pt x="283" y="854"/>
                    <a:pt x="283" y="854"/>
                  </a:cubicBezTo>
                  <a:cubicBezTo>
                    <a:pt x="283" y="854"/>
                    <a:pt x="290" y="848"/>
                    <a:pt x="292" y="841"/>
                  </a:cubicBezTo>
                  <a:cubicBezTo>
                    <a:pt x="294" y="834"/>
                    <a:pt x="275" y="828"/>
                    <a:pt x="275" y="828"/>
                  </a:cubicBezTo>
                  <a:cubicBezTo>
                    <a:pt x="275" y="828"/>
                    <a:pt x="267" y="821"/>
                    <a:pt x="266" y="814"/>
                  </a:cubicBezTo>
                  <a:cubicBezTo>
                    <a:pt x="265" y="807"/>
                    <a:pt x="271" y="800"/>
                    <a:pt x="272" y="795"/>
                  </a:cubicBezTo>
                  <a:cubicBezTo>
                    <a:pt x="273" y="790"/>
                    <a:pt x="262" y="783"/>
                    <a:pt x="262" y="783"/>
                  </a:cubicBezTo>
                  <a:cubicBezTo>
                    <a:pt x="262" y="783"/>
                    <a:pt x="256" y="775"/>
                    <a:pt x="254" y="770"/>
                  </a:cubicBezTo>
                  <a:cubicBezTo>
                    <a:pt x="252" y="765"/>
                    <a:pt x="261" y="763"/>
                    <a:pt x="267" y="757"/>
                  </a:cubicBezTo>
                  <a:cubicBezTo>
                    <a:pt x="273" y="751"/>
                    <a:pt x="255" y="751"/>
                    <a:pt x="255" y="748"/>
                  </a:cubicBezTo>
                  <a:cubicBezTo>
                    <a:pt x="255" y="745"/>
                    <a:pt x="261" y="740"/>
                    <a:pt x="261" y="740"/>
                  </a:cubicBezTo>
                  <a:cubicBezTo>
                    <a:pt x="266" y="734"/>
                    <a:pt x="266" y="734"/>
                    <a:pt x="266" y="734"/>
                  </a:cubicBezTo>
                  <a:cubicBezTo>
                    <a:pt x="266" y="734"/>
                    <a:pt x="272" y="729"/>
                    <a:pt x="279" y="724"/>
                  </a:cubicBezTo>
                  <a:cubicBezTo>
                    <a:pt x="286" y="719"/>
                    <a:pt x="301" y="707"/>
                    <a:pt x="301" y="707"/>
                  </a:cubicBezTo>
                  <a:cubicBezTo>
                    <a:pt x="301" y="707"/>
                    <a:pt x="328" y="712"/>
                    <a:pt x="332" y="703"/>
                  </a:cubicBezTo>
                  <a:cubicBezTo>
                    <a:pt x="336" y="694"/>
                    <a:pt x="315" y="684"/>
                    <a:pt x="315" y="684"/>
                  </a:cubicBezTo>
                  <a:cubicBezTo>
                    <a:pt x="315" y="684"/>
                    <a:pt x="324" y="678"/>
                    <a:pt x="329" y="674"/>
                  </a:cubicBezTo>
                  <a:cubicBezTo>
                    <a:pt x="334" y="670"/>
                    <a:pt x="344" y="658"/>
                    <a:pt x="344" y="658"/>
                  </a:cubicBezTo>
                  <a:cubicBezTo>
                    <a:pt x="348" y="629"/>
                    <a:pt x="348" y="629"/>
                    <a:pt x="348" y="629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08"/>
                    <a:pt x="349" y="608"/>
                    <a:pt x="349" y="608"/>
                  </a:cubicBezTo>
                  <a:cubicBezTo>
                    <a:pt x="363" y="615"/>
                    <a:pt x="363" y="615"/>
                    <a:pt x="363" y="615"/>
                  </a:cubicBezTo>
                  <a:cubicBezTo>
                    <a:pt x="363" y="615"/>
                    <a:pt x="372" y="610"/>
                    <a:pt x="379" y="608"/>
                  </a:cubicBezTo>
                  <a:cubicBezTo>
                    <a:pt x="386" y="606"/>
                    <a:pt x="372" y="592"/>
                    <a:pt x="372" y="592"/>
                  </a:cubicBezTo>
                  <a:cubicBezTo>
                    <a:pt x="386" y="591"/>
                    <a:pt x="386" y="591"/>
                    <a:pt x="386" y="591"/>
                  </a:cubicBezTo>
                  <a:cubicBezTo>
                    <a:pt x="386" y="591"/>
                    <a:pt x="388" y="584"/>
                    <a:pt x="394" y="579"/>
                  </a:cubicBezTo>
                  <a:cubicBezTo>
                    <a:pt x="400" y="574"/>
                    <a:pt x="405" y="573"/>
                    <a:pt x="405" y="573"/>
                  </a:cubicBezTo>
                  <a:cubicBezTo>
                    <a:pt x="410" y="563"/>
                    <a:pt x="410" y="563"/>
                    <a:pt x="410" y="563"/>
                  </a:cubicBezTo>
                  <a:cubicBezTo>
                    <a:pt x="410" y="563"/>
                    <a:pt x="399" y="555"/>
                    <a:pt x="398" y="551"/>
                  </a:cubicBezTo>
                  <a:cubicBezTo>
                    <a:pt x="397" y="547"/>
                    <a:pt x="414" y="539"/>
                    <a:pt x="414" y="539"/>
                  </a:cubicBezTo>
                  <a:cubicBezTo>
                    <a:pt x="423" y="529"/>
                    <a:pt x="423" y="529"/>
                    <a:pt x="423" y="529"/>
                  </a:cubicBezTo>
                  <a:cubicBezTo>
                    <a:pt x="449" y="525"/>
                    <a:pt x="449" y="525"/>
                    <a:pt x="449" y="525"/>
                  </a:cubicBezTo>
                  <a:cubicBezTo>
                    <a:pt x="449" y="525"/>
                    <a:pt x="464" y="525"/>
                    <a:pt x="467" y="520"/>
                  </a:cubicBezTo>
                  <a:cubicBezTo>
                    <a:pt x="470" y="515"/>
                    <a:pt x="460" y="504"/>
                    <a:pt x="468" y="498"/>
                  </a:cubicBezTo>
                  <a:cubicBezTo>
                    <a:pt x="476" y="492"/>
                    <a:pt x="476" y="505"/>
                    <a:pt x="476" y="505"/>
                  </a:cubicBezTo>
                  <a:cubicBezTo>
                    <a:pt x="495" y="501"/>
                    <a:pt x="495" y="501"/>
                    <a:pt x="495" y="501"/>
                  </a:cubicBezTo>
                  <a:cubicBezTo>
                    <a:pt x="508" y="505"/>
                    <a:pt x="508" y="505"/>
                    <a:pt x="508" y="505"/>
                  </a:cubicBezTo>
                  <a:cubicBezTo>
                    <a:pt x="517" y="505"/>
                    <a:pt x="517" y="505"/>
                    <a:pt x="517" y="505"/>
                  </a:cubicBezTo>
                  <a:cubicBezTo>
                    <a:pt x="517" y="505"/>
                    <a:pt x="528" y="511"/>
                    <a:pt x="536" y="509"/>
                  </a:cubicBezTo>
                  <a:cubicBezTo>
                    <a:pt x="544" y="507"/>
                    <a:pt x="531" y="501"/>
                    <a:pt x="531" y="496"/>
                  </a:cubicBezTo>
                  <a:cubicBezTo>
                    <a:pt x="531" y="491"/>
                    <a:pt x="538" y="494"/>
                    <a:pt x="538" y="494"/>
                  </a:cubicBezTo>
                  <a:cubicBezTo>
                    <a:pt x="537" y="480"/>
                    <a:pt x="537" y="480"/>
                    <a:pt x="537" y="480"/>
                  </a:cubicBezTo>
                  <a:cubicBezTo>
                    <a:pt x="557" y="481"/>
                    <a:pt x="557" y="481"/>
                    <a:pt x="557" y="481"/>
                  </a:cubicBezTo>
                  <a:cubicBezTo>
                    <a:pt x="555" y="479"/>
                    <a:pt x="554" y="478"/>
                    <a:pt x="554" y="478"/>
                  </a:cubicBezTo>
                  <a:cubicBezTo>
                    <a:pt x="556" y="473"/>
                    <a:pt x="556" y="473"/>
                    <a:pt x="556" y="473"/>
                  </a:cubicBezTo>
                  <a:cubicBezTo>
                    <a:pt x="568" y="478"/>
                    <a:pt x="568" y="478"/>
                    <a:pt x="568" y="478"/>
                  </a:cubicBezTo>
                  <a:cubicBezTo>
                    <a:pt x="570" y="469"/>
                    <a:pt x="570" y="469"/>
                    <a:pt x="570" y="469"/>
                  </a:cubicBezTo>
                  <a:cubicBezTo>
                    <a:pt x="570" y="469"/>
                    <a:pt x="577" y="466"/>
                    <a:pt x="581" y="466"/>
                  </a:cubicBezTo>
                  <a:cubicBezTo>
                    <a:pt x="585" y="466"/>
                    <a:pt x="594" y="480"/>
                    <a:pt x="594" y="480"/>
                  </a:cubicBezTo>
                  <a:cubicBezTo>
                    <a:pt x="603" y="481"/>
                    <a:pt x="603" y="481"/>
                    <a:pt x="603" y="481"/>
                  </a:cubicBezTo>
                  <a:cubicBezTo>
                    <a:pt x="603" y="481"/>
                    <a:pt x="604" y="491"/>
                    <a:pt x="618" y="492"/>
                  </a:cubicBezTo>
                  <a:cubicBezTo>
                    <a:pt x="632" y="493"/>
                    <a:pt x="632" y="494"/>
                    <a:pt x="632" y="494"/>
                  </a:cubicBezTo>
                  <a:cubicBezTo>
                    <a:pt x="632" y="494"/>
                    <a:pt x="632" y="494"/>
                    <a:pt x="642" y="497"/>
                  </a:cubicBezTo>
                  <a:cubicBezTo>
                    <a:pt x="652" y="500"/>
                    <a:pt x="661" y="492"/>
                    <a:pt x="661" y="492"/>
                  </a:cubicBezTo>
                  <a:cubicBezTo>
                    <a:pt x="661" y="492"/>
                    <a:pt x="672" y="488"/>
                    <a:pt x="677" y="489"/>
                  </a:cubicBezTo>
                  <a:cubicBezTo>
                    <a:pt x="682" y="490"/>
                    <a:pt x="694" y="498"/>
                    <a:pt x="702" y="498"/>
                  </a:cubicBezTo>
                  <a:cubicBezTo>
                    <a:pt x="710" y="498"/>
                    <a:pt x="704" y="488"/>
                    <a:pt x="711" y="483"/>
                  </a:cubicBezTo>
                  <a:cubicBezTo>
                    <a:pt x="718" y="478"/>
                    <a:pt x="727" y="483"/>
                    <a:pt x="727" y="483"/>
                  </a:cubicBezTo>
                  <a:cubicBezTo>
                    <a:pt x="727" y="483"/>
                    <a:pt x="728" y="467"/>
                    <a:pt x="727" y="463"/>
                  </a:cubicBezTo>
                  <a:cubicBezTo>
                    <a:pt x="726" y="459"/>
                    <a:pt x="730" y="446"/>
                    <a:pt x="730" y="446"/>
                  </a:cubicBezTo>
                  <a:cubicBezTo>
                    <a:pt x="730" y="446"/>
                    <a:pt x="747" y="437"/>
                    <a:pt x="752" y="438"/>
                  </a:cubicBezTo>
                  <a:cubicBezTo>
                    <a:pt x="757" y="439"/>
                    <a:pt x="768" y="440"/>
                    <a:pt x="768" y="440"/>
                  </a:cubicBezTo>
                  <a:cubicBezTo>
                    <a:pt x="768" y="440"/>
                    <a:pt x="779" y="433"/>
                    <a:pt x="794" y="434"/>
                  </a:cubicBezTo>
                  <a:cubicBezTo>
                    <a:pt x="809" y="435"/>
                    <a:pt x="802" y="441"/>
                    <a:pt x="802" y="441"/>
                  </a:cubicBezTo>
                  <a:cubicBezTo>
                    <a:pt x="825" y="446"/>
                    <a:pt x="825" y="446"/>
                    <a:pt x="825" y="446"/>
                  </a:cubicBezTo>
                  <a:cubicBezTo>
                    <a:pt x="825" y="446"/>
                    <a:pt x="839" y="447"/>
                    <a:pt x="843" y="464"/>
                  </a:cubicBezTo>
                  <a:cubicBezTo>
                    <a:pt x="847" y="481"/>
                    <a:pt x="834" y="469"/>
                    <a:pt x="834" y="469"/>
                  </a:cubicBezTo>
                  <a:cubicBezTo>
                    <a:pt x="832" y="477"/>
                    <a:pt x="832" y="477"/>
                    <a:pt x="832" y="477"/>
                  </a:cubicBezTo>
                  <a:cubicBezTo>
                    <a:pt x="836" y="479"/>
                    <a:pt x="840" y="480"/>
                    <a:pt x="845" y="480"/>
                  </a:cubicBezTo>
                  <a:cubicBezTo>
                    <a:pt x="854" y="479"/>
                    <a:pt x="855" y="465"/>
                    <a:pt x="855" y="465"/>
                  </a:cubicBezTo>
                  <a:cubicBezTo>
                    <a:pt x="870" y="464"/>
                    <a:pt x="870" y="464"/>
                    <a:pt x="870" y="464"/>
                  </a:cubicBezTo>
                  <a:cubicBezTo>
                    <a:pt x="874" y="456"/>
                    <a:pt x="874" y="456"/>
                    <a:pt x="874" y="456"/>
                  </a:cubicBezTo>
                  <a:cubicBezTo>
                    <a:pt x="874" y="456"/>
                    <a:pt x="873" y="459"/>
                    <a:pt x="891" y="456"/>
                  </a:cubicBezTo>
                  <a:cubicBezTo>
                    <a:pt x="899" y="455"/>
                    <a:pt x="903" y="451"/>
                    <a:pt x="905" y="448"/>
                  </a:cubicBezTo>
                  <a:lnTo>
                    <a:pt x="901" y="448"/>
                  </a:lnTo>
                  <a:close/>
                  <a:moveTo>
                    <a:pt x="372" y="489"/>
                  </a:moveTo>
                  <a:cubicBezTo>
                    <a:pt x="357" y="498"/>
                    <a:pt x="357" y="498"/>
                    <a:pt x="357" y="498"/>
                  </a:cubicBezTo>
                  <a:cubicBezTo>
                    <a:pt x="362" y="511"/>
                    <a:pt x="362" y="511"/>
                    <a:pt x="362" y="511"/>
                  </a:cubicBezTo>
                  <a:cubicBezTo>
                    <a:pt x="380" y="512"/>
                    <a:pt x="380" y="512"/>
                    <a:pt x="380" y="512"/>
                  </a:cubicBezTo>
                  <a:cubicBezTo>
                    <a:pt x="376" y="499"/>
                    <a:pt x="376" y="499"/>
                    <a:pt x="376" y="499"/>
                  </a:cubicBezTo>
                  <a:lnTo>
                    <a:pt x="372" y="489"/>
                  </a:lnTo>
                  <a:close/>
                  <a:moveTo>
                    <a:pt x="346" y="483"/>
                  </a:moveTo>
                  <a:cubicBezTo>
                    <a:pt x="335" y="487"/>
                    <a:pt x="339" y="504"/>
                    <a:pt x="339" y="504"/>
                  </a:cubicBezTo>
                  <a:cubicBezTo>
                    <a:pt x="351" y="516"/>
                    <a:pt x="351" y="516"/>
                    <a:pt x="351" y="516"/>
                  </a:cubicBezTo>
                  <a:cubicBezTo>
                    <a:pt x="351" y="516"/>
                    <a:pt x="357" y="479"/>
                    <a:pt x="346" y="483"/>
                  </a:cubicBezTo>
                  <a:close/>
                  <a:moveTo>
                    <a:pt x="403" y="498"/>
                  </a:moveTo>
                  <a:cubicBezTo>
                    <a:pt x="412" y="493"/>
                    <a:pt x="427" y="490"/>
                    <a:pt x="408" y="486"/>
                  </a:cubicBezTo>
                  <a:cubicBezTo>
                    <a:pt x="389" y="483"/>
                    <a:pt x="380" y="494"/>
                    <a:pt x="380" y="494"/>
                  </a:cubicBezTo>
                  <a:cubicBezTo>
                    <a:pt x="386" y="501"/>
                    <a:pt x="386" y="501"/>
                    <a:pt x="386" y="501"/>
                  </a:cubicBezTo>
                  <a:lnTo>
                    <a:pt x="403" y="49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EA63BA36-A782-4AC5-F69B-565127B33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6393" y="2764924"/>
              <a:ext cx="336877" cy="233223"/>
            </a:xfrm>
            <a:custGeom>
              <a:avLst/>
              <a:gdLst>
                <a:gd name="T0" fmla="*/ 28 w 591"/>
                <a:gd name="T1" fmla="*/ 10 h 413"/>
                <a:gd name="T2" fmla="*/ 27 w 591"/>
                <a:gd name="T3" fmla="*/ 11 h 413"/>
                <a:gd name="T4" fmla="*/ 28 w 591"/>
                <a:gd name="T5" fmla="*/ 12 h 413"/>
                <a:gd name="T6" fmla="*/ 28 w 591"/>
                <a:gd name="T7" fmla="*/ 11 h 413"/>
                <a:gd name="T8" fmla="*/ 24 w 591"/>
                <a:gd name="T9" fmla="*/ 13 h 413"/>
                <a:gd name="T10" fmla="*/ 29 w 591"/>
                <a:gd name="T11" fmla="*/ 10 h 413"/>
                <a:gd name="T12" fmla="*/ 29 w 591"/>
                <a:gd name="T13" fmla="*/ 10 h 413"/>
                <a:gd name="T14" fmla="*/ 28 w 591"/>
                <a:gd name="T15" fmla="*/ 4 h 413"/>
                <a:gd name="T16" fmla="*/ 28 w 591"/>
                <a:gd name="T17" fmla="*/ 3 h 413"/>
                <a:gd name="T18" fmla="*/ 27 w 591"/>
                <a:gd name="T19" fmla="*/ 4 h 413"/>
                <a:gd name="T20" fmla="*/ 26 w 591"/>
                <a:gd name="T21" fmla="*/ 4 h 413"/>
                <a:gd name="T22" fmla="*/ 25 w 591"/>
                <a:gd name="T23" fmla="*/ 3 h 413"/>
                <a:gd name="T24" fmla="*/ 24 w 591"/>
                <a:gd name="T25" fmla="*/ 3 h 413"/>
                <a:gd name="T26" fmla="*/ 23 w 591"/>
                <a:gd name="T27" fmla="*/ 3 h 413"/>
                <a:gd name="T28" fmla="*/ 22 w 591"/>
                <a:gd name="T29" fmla="*/ 3 h 413"/>
                <a:gd name="T30" fmla="*/ 21 w 591"/>
                <a:gd name="T31" fmla="*/ 3 h 413"/>
                <a:gd name="T32" fmla="*/ 20 w 591"/>
                <a:gd name="T33" fmla="*/ 3 h 413"/>
                <a:gd name="T34" fmla="*/ 18 w 591"/>
                <a:gd name="T35" fmla="*/ 2 h 413"/>
                <a:gd name="T36" fmla="*/ 17 w 591"/>
                <a:gd name="T37" fmla="*/ 1 h 413"/>
                <a:gd name="T38" fmla="*/ 17 w 591"/>
                <a:gd name="T39" fmla="*/ 1 h 413"/>
                <a:gd name="T40" fmla="*/ 12 w 591"/>
                <a:gd name="T41" fmla="*/ 1 h 413"/>
                <a:gd name="T42" fmla="*/ 8 w 591"/>
                <a:gd name="T43" fmla="*/ 0 h 413"/>
                <a:gd name="T44" fmla="*/ 5 w 591"/>
                <a:gd name="T45" fmla="*/ 0 h 413"/>
                <a:gd name="T46" fmla="*/ 3 w 591"/>
                <a:gd name="T47" fmla="*/ 1 h 413"/>
                <a:gd name="T48" fmla="*/ 1 w 591"/>
                <a:gd name="T49" fmla="*/ 3 h 413"/>
                <a:gd name="T50" fmla="*/ 1 w 591"/>
                <a:gd name="T51" fmla="*/ 5 h 413"/>
                <a:gd name="T52" fmla="*/ 3 w 591"/>
                <a:gd name="T53" fmla="*/ 5 h 413"/>
                <a:gd name="T54" fmla="*/ 3 w 591"/>
                <a:gd name="T55" fmla="*/ 5 h 413"/>
                <a:gd name="T56" fmla="*/ 4 w 591"/>
                <a:gd name="T57" fmla="*/ 5 h 413"/>
                <a:gd name="T58" fmla="*/ 6 w 591"/>
                <a:gd name="T59" fmla="*/ 6 h 413"/>
                <a:gd name="T60" fmla="*/ 5 w 591"/>
                <a:gd name="T61" fmla="*/ 7 h 413"/>
                <a:gd name="T62" fmla="*/ 5 w 591"/>
                <a:gd name="T63" fmla="*/ 9 h 413"/>
                <a:gd name="T64" fmla="*/ 5 w 591"/>
                <a:gd name="T65" fmla="*/ 10 h 413"/>
                <a:gd name="T66" fmla="*/ 3 w 591"/>
                <a:gd name="T67" fmla="*/ 11 h 413"/>
                <a:gd name="T68" fmla="*/ 4 w 591"/>
                <a:gd name="T69" fmla="*/ 12 h 413"/>
                <a:gd name="T70" fmla="*/ 3 w 591"/>
                <a:gd name="T71" fmla="*/ 14 h 413"/>
                <a:gd name="T72" fmla="*/ 4 w 591"/>
                <a:gd name="T73" fmla="*/ 15 h 413"/>
                <a:gd name="T74" fmla="*/ 3 w 591"/>
                <a:gd name="T75" fmla="*/ 16 h 413"/>
                <a:gd name="T76" fmla="*/ 3 w 591"/>
                <a:gd name="T77" fmla="*/ 18 h 413"/>
                <a:gd name="T78" fmla="*/ 4 w 591"/>
                <a:gd name="T79" fmla="*/ 18 h 413"/>
                <a:gd name="T80" fmla="*/ 6 w 591"/>
                <a:gd name="T81" fmla="*/ 19 h 413"/>
                <a:gd name="T82" fmla="*/ 6 w 591"/>
                <a:gd name="T83" fmla="*/ 20 h 413"/>
                <a:gd name="T84" fmla="*/ 7 w 591"/>
                <a:gd name="T85" fmla="*/ 21 h 413"/>
                <a:gd name="T86" fmla="*/ 9 w 591"/>
                <a:gd name="T87" fmla="*/ 20 h 413"/>
                <a:gd name="T88" fmla="*/ 12 w 591"/>
                <a:gd name="T89" fmla="*/ 19 h 413"/>
                <a:gd name="T90" fmla="*/ 14 w 591"/>
                <a:gd name="T91" fmla="*/ 19 h 413"/>
                <a:gd name="T92" fmla="*/ 16 w 591"/>
                <a:gd name="T93" fmla="*/ 19 h 413"/>
                <a:gd name="T94" fmla="*/ 17 w 591"/>
                <a:gd name="T95" fmla="*/ 17 h 413"/>
                <a:gd name="T96" fmla="*/ 19 w 591"/>
                <a:gd name="T97" fmla="*/ 16 h 413"/>
                <a:gd name="T98" fmla="*/ 21 w 591"/>
                <a:gd name="T99" fmla="*/ 14 h 413"/>
                <a:gd name="T100" fmla="*/ 20 w 591"/>
                <a:gd name="T101" fmla="*/ 11 h 413"/>
                <a:gd name="T102" fmla="*/ 22 w 591"/>
                <a:gd name="T103" fmla="*/ 9 h 413"/>
                <a:gd name="T104" fmla="*/ 23 w 591"/>
                <a:gd name="T105" fmla="*/ 7 h 413"/>
                <a:gd name="T106" fmla="*/ 27 w 591"/>
                <a:gd name="T107" fmla="*/ 6 h 41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91"/>
                <a:gd name="T163" fmla="*/ 0 h 413"/>
                <a:gd name="T164" fmla="*/ 591 w 591"/>
                <a:gd name="T165" fmla="*/ 413 h 41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91" h="413">
                  <a:moveTo>
                    <a:pt x="536" y="212"/>
                  </a:moveTo>
                  <a:cubicBezTo>
                    <a:pt x="536" y="212"/>
                    <a:pt x="533" y="205"/>
                    <a:pt x="527" y="205"/>
                  </a:cubicBezTo>
                  <a:cubicBezTo>
                    <a:pt x="521" y="205"/>
                    <a:pt x="498" y="218"/>
                    <a:pt x="501" y="223"/>
                  </a:cubicBezTo>
                  <a:cubicBezTo>
                    <a:pt x="504" y="228"/>
                    <a:pt x="511" y="226"/>
                    <a:pt x="511" y="226"/>
                  </a:cubicBezTo>
                  <a:cubicBezTo>
                    <a:pt x="511" y="226"/>
                    <a:pt x="515" y="235"/>
                    <a:pt x="519" y="236"/>
                  </a:cubicBezTo>
                  <a:cubicBezTo>
                    <a:pt x="523" y="237"/>
                    <a:pt x="531" y="237"/>
                    <a:pt x="531" y="237"/>
                  </a:cubicBezTo>
                  <a:cubicBezTo>
                    <a:pt x="537" y="235"/>
                    <a:pt x="547" y="225"/>
                    <a:pt x="546" y="218"/>
                  </a:cubicBezTo>
                  <a:cubicBezTo>
                    <a:pt x="545" y="211"/>
                    <a:pt x="536" y="212"/>
                    <a:pt x="536" y="212"/>
                  </a:cubicBezTo>
                  <a:close/>
                  <a:moveTo>
                    <a:pt x="447" y="261"/>
                  </a:moveTo>
                  <a:cubicBezTo>
                    <a:pt x="456" y="270"/>
                    <a:pt x="466" y="259"/>
                    <a:pt x="461" y="249"/>
                  </a:cubicBezTo>
                  <a:cubicBezTo>
                    <a:pt x="456" y="239"/>
                    <a:pt x="447" y="261"/>
                    <a:pt x="447" y="261"/>
                  </a:cubicBezTo>
                  <a:close/>
                  <a:moveTo>
                    <a:pt x="560" y="198"/>
                  </a:moveTo>
                  <a:cubicBezTo>
                    <a:pt x="560" y="198"/>
                    <a:pt x="573" y="218"/>
                    <a:pt x="582" y="213"/>
                  </a:cubicBezTo>
                  <a:cubicBezTo>
                    <a:pt x="591" y="208"/>
                    <a:pt x="570" y="191"/>
                    <a:pt x="560" y="198"/>
                  </a:cubicBezTo>
                  <a:close/>
                  <a:moveTo>
                    <a:pt x="535" y="101"/>
                  </a:moveTo>
                  <a:cubicBezTo>
                    <a:pt x="536" y="98"/>
                    <a:pt x="534" y="86"/>
                    <a:pt x="534" y="86"/>
                  </a:cubicBezTo>
                  <a:cubicBezTo>
                    <a:pt x="542" y="81"/>
                    <a:pt x="542" y="81"/>
                    <a:pt x="542" y="81"/>
                  </a:cubicBezTo>
                  <a:cubicBezTo>
                    <a:pt x="542" y="81"/>
                    <a:pt x="530" y="75"/>
                    <a:pt x="527" y="67"/>
                  </a:cubicBezTo>
                  <a:cubicBezTo>
                    <a:pt x="521" y="67"/>
                    <a:pt x="521" y="67"/>
                    <a:pt x="521" y="67"/>
                  </a:cubicBezTo>
                  <a:cubicBezTo>
                    <a:pt x="521" y="67"/>
                    <a:pt x="521" y="77"/>
                    <a:pt x="514" y="77"/>
                  </a:cubicBezTo>
                  <a:cubicBezTo>
                    <a:pt x="507" y="77"/>
                    <a:pt x="506" y="77"/>
                    <a:pt x="506" y="77"/>
                  </a:cubicBezTo>
                  <a:cubicBezTo>
                    <a:pt x="506" y="77"/>
                    <a:pt x="499" y="69"/>
                    <a:pt x="496" y="70"/>
                  </a:cubicBezTo>
                  <a:cubicBezTo>
                    <a:pt x="493" y="71"/>
                    <a:pt x="486" y="73"/>
                    <a:pt x="486" y="73"/>
                  </a:cubicBezTo>
                  <a:cubicBezTo>
                    <a:pt x="486" y="73"/>
                    <a:pt x="483" y="67"/>
                    <a:pt x="479" y="68"/>
                  </a:cubicBezTo>
                  <a:cubicBezTo>
                    <a:pt x="475" y="69"/>
                    <a:pt x="466" y="71"/>
                    <a:pt x="466" y="71"/>
                  </a:cubicBezTo>
                  <a:cubicBezTo>
                    <a:pt x="459" y="56"/>
                    <a:pt x="459" y="56"/>
                    <a:pt x="459" y="5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50" y="55"/>
                    <a:pt x="450" y="48"/>
                    <a:pt x="437" y="48"/>
                  </a:cubicBezTo>
                  <a:cubicBezTo>
                    <a:pt x="424" y="48"/>
                    <a:pt x="430" y="60"/>
                    <a:pt x="430" y="60"/>
                  </a:cubicBezTo>
                  <a:cubicBezTo>
                    <a:pt x="417" y="63"/>
                    <a:pt x="417" y="63"/>
                    <a:pt x="417" y="63"/>
                  </a:cubicBezTo>
                  <a:cubicBezTo>
                    <a:pt x="415" y="55"/>
                    <a:pt x="415" y="55"/>
                    <a:pt x="415" y="55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4" y="51"/>
                    <a:pt x="390" y="49"/>
                  </a:cubicBezTo>
                  <a:cubicBezTo>
                    <a:pt x="386" y="47"/>
                    <a:pt x="376" y="51"/>
                    <a:pt x="376" y="51"/>
                  </a:cubicBezTo>
                  <a:cubicBezTo>
                    <a:pt x="376" y="51"/>
                    <a:pt x="370" y="42"/>
                    <a:pt x="363" y="41"/>
                  </a:cubicBezTo>
                  <a:cubicBezTo>
                    <a:pt x="356" y="40"/>
                    <a:pt x="342" y="38"/>
                    <a:pt x="342" y="38"/>
                  </a:cubicBezTo>
                  <a:cubicBezTo>
                    <a:pt x="342" y="38"/>
                    <a:pt x="348" y="35"/>
                    <a:pt x="342" y="28"/>
                  </a:cubicBezTo>
                  <a:cubicBezTo>
                    <a:pt x="336" y="21"/>
                    <a:pt x="327" y="29"/>
                    <a:pt x="327" y="29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4" y="23"/>
                    <a:pt x="322" y="23"/>
                    <a:pt x="320" y="23"/>
                  </a:cubicBezTo>
                  <a:cubicBezTo>
                    <a:pt x="301" y="23"/>
                    <a:pt x="254" y="14"/>
                    <a:pt x="254" y="14"/>
                  </a:cubicBezTo>
                  <a:cubicBezTo>
                    <a:pt x="234" y="22"/>
                    <a:pt x="234" y="22"/>
                    <a:pt x="234" y="22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71" y="4"/>
                    <a:pt x="156" y="7"/>
                  </a:cubicBezTo>
                  <a:cubicBezTo>
                    <a:pt x="141" y="10"/>
                    <a:pt x="120" y="11"/>
                    <a:pt x="115" y="11"/>
                  </a:cubicBezTo>
                  <a:cubicBezTo>
                    <a:pt x="110" y="11"/>
                    <a:pt x="91" y="8"/>
                    <a:pt x="91" y="8"/>
                  </a:cubicBezTo>
                  <a:cubicBezTo>
                    <a:pt x="91" y="8"/>
                    <a:pt x="81" y="0"/>
                    <a:pt x="75" y="0"/>
                  </a:cubicBezTo>
                  <a:cubicBezTo>
                    <a:pt x="69" y="0"/>
                    <a:pt x="49" y="18"/>
                    <a:pt x="49" y="18"/>
                  </a:cubicBezTo>
                  <a:cubicBezTo>
                    <a:pt x="49" y="18"/>
                    <a:pt x="4" y="25"/>
                    <a:pt x="2" y="38"/>
                  </a:cubicBezTo>
                  <a:cubicBezTo>
                    <a:pt x="0" y="51"/>
                    <a:pt x="21" y="67"/>
                    <a:pt x="21" y="6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4" y="94"/>
                    <a:pt x="15" y="101"/>
                  </a:cubicBezTo>
                  <a:cubicBezTo>
                    <a:pt x="20" y="95"/>
                    <a:pt x="27" y="88"/>
                    <a:pt x="36" y="88"/>
                  </a:cubicBezTo>
                  <a:cubicBezTo>
                    <a:pt x="50" y="88"/>
                    <a:pt x="55" y="89"/>
                    <a:pt x="50" y="94"/>
                  </a:cubicBezTo>
                  <a:cubicBezTo>
                    <a:pt x="45" y="99"/>
                    <a:pt x="38" y="103"/>
                    <a:pt x="44" y="103"/>
                  </a:cubicBezTo>
                  <a:cubicBezTo>
                    <a:pt x="50" y="103"/>
                    <a:pt x="54" y="99"/>
                    <a:pt x="61" y="99"/>
                  </a:cubicBezTo>
                  <a:cubicBezTo>
                    <a:pt x="68" y="99"/>
                    <a:pt x="70" y="108"/>
                    <a:pt x="78" y="104"/>
                  </a:cubicBezTo>
                  <a:cubicBezTo>
                    <a:pt x="86" y="100"/>
                    <a:pt x="76" y="96"/>
                    <a:pt x="85" y="96"/>
                  </a:cubicBezTo>
                  <a:cubicBezTo>
                    <a:pt x="94" y="96"/>
                    <a:pt x="110" y="93"/>
                    <a:pt x="114" y="95"/>
                  </a:cubicBezTo>
                  <a:cubicBezTo>
                    <a:pt x="118" y="97"/>
                    <a:pt x="115" y="108"/>
                    <a:pt x="115" y="108"/>
                  </a:cubicBezTo>
                  <a:cubicBezTo>
                    <a:pt x="115" y="108"/>
                    <a:pt x="129" y="109"/>
                    <a:pt x="128" y="117"/>
                  </a:cubicBezTo>
                  <a:cubicBezTo>
                    <a:pt x="127" y="125"/>
                    <a:pt x="95" y="140"/>
                    <a:pt x="94" y="144"/>
                  </a:cubicBezTo>
                  <a:cubicBezTo>
                    <a:pt x="93" y="148"/>
                    <a:pt x="102" y="153"/>
                    <a:pt x="102" y="153"/>
                  </a:cubicBezTo>
                  <a:cubicBezTo>
                    <a:pt x="102" y="153"/>
                    <a:pt x="97" y="178"/>
                    <a:pt x="96" y="181"/>
                  </a:cubicBezTo>
                  <a:cubicBezTo>
                    <a:pt x="95" y="184"/>
                    <a:pt x="90" y="188"/>
                    <a:pt x="90" y="188"/>
                  </a:cubicBezTo>
                  <a:cubicBezTo>
                    <a:pt x="90" y="188"/>
                    <a:pt x="94" y="202"/>
                    <a:pt x="94" y="205"/>
                  </a:cubicBezTo>
                  <a:cubicBezTo>
                    <a:pt x="94" y="208"/>
                    <a:pt x="86" y="215"/>
                    <a:pt x="82" y="216"/>
                  </a:cubicBezTo>
                  <a:cubicBezTo>
                    <a:pt x="78" y="217"/>
                    <a:pt x="61" y="217"/>
                    <a:pt x="61" y="217"/>
                  </a:cubicBezTo>
                  <a:cubicBezTo>
                    <a:pt x="77" y="231"/>
                    <a:pt x="77" y="231"/>
                    <a:pt x="77" y="231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240"/>
                    <a:pt x="90" y="242"/>
                    <a:pt x="88" y="250"/>
                  </a:cubicBezTo>
                  <a:cubicBezTo>
                    <a:pt x="86" y="258"/>
                    <a:pt x="62" y="272"/>
                    <a:pt x="66" y="276"/>
                  </a:cubicBezTo>
                  <a:cubicBezTo>
                    <a:pt x="70" y="280"/>
                    <a:pt x="75" y="294"/>
                    <a:pt x="75" y="294"/>
                  </a:cubicBezTo>
                  <a:cubicBezTo>
                    <a:pt x="75" y="294"/>
                    <a:pt x="88" y="295"/>
                    <a:pt x="84" y="301"/>
                  </a:cubicBezTo>
                  <a:cubicBezTo>
                    <a:pt x="80" y="307"/>
                    <a:pt x="70" y="308"/>
                    <a:pt x="70" y="308"/>
                  </a:cubicBezTo>
                  <a:cubicBezTo>
                    <a:pt x="70" y="308"/>
                    <a:pt x="62" y="318"/>
                    <a:pt x="60" y="325"/>
                  </a:cubicBezTo>
                  <a:cubicBezTo>
                    <a:pt x="58" y="332"/>
                    <a:pt x="59" y="340"/>
                    <a:pt x="59" y="340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2" y="351"/>
                    <a:pt x="62" y="351"/>
                    <a:pt x="62" y="351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97" y="365"/>
                    <a:pt x="97" y="365"/>
                    <a:pt x="97" y="365"/>
                  </a:cubicBezTo>
                  <a:cubicBezTo>
                    <a:pt x="109" y="365"/>
                    <a:pt x="109" y="365"/>
                    <a:pt x="109" y="365"/>
                  </a:cubicBezTo>
                  <a:cubicBezTo>
                    <a:pt x="103" y="382"/>
                    <a:pt x="103" y="382"/>
                    <a:pt x="103" y="382"/>
                  </a:cubicBezTo>
                  <a:cubicBezTo>
                    <a:pt x="110" y="383"/>
                    <a:pt x="110" y="383"/>
                    <a:pt x="110" y="383"/>
                  </a:cubicBezTo>
                  <a:cubicBezTo>
                    <a:pt x="110" y="383"/>
                    <a:pt x="110" y="403"/>
                    <a:pt x="117" y="406"/>
                  </a:cubicBezTo>
                  <a:cubicBezTo>
                    <a:pt x="124" y="409"/>
                    <a:pt x="136" y="413"/>
                    <a:pt x="136" y="413"/>
                  </a:cubicBezTo>
                  <a:cubicBezTo>
                    <a:pt x="136" y="413"/>
                    <a:pt x="153" y="401"/>
                    <a:pt x="156" y="395"/>
                  </a:cubicBezTo>
                  <a:cubicBezTo>
                    <a:pt x="159" y="389"/>
                    <a:pt x="177" y="389"/>
                    <a:pt x="177" y="389"/>
                  </a:cubicBezTo>
                  <a:cubicBezTo>
                    <a:pt x="196" y="377"/>
                    <a:pt x="196" y="377"/>
                    <a:pt x="196" y="377"/>
                  </a:cubicBezTo>
                  <a:cubicBezTo>
                    <a:pt x="196" y="377"/>
                    <a:pt x="229" y="379"/>
                    <a:pt x="235" y="377"/>
                  </a:cubicBezTo>
                  <a:cubicBezTo>
                    <a:pt x="241" y="375"/>
                    <a:pt x="251" y="371"/>
                    <a:pt x="251" y="371"/>
                  </a:cubicBezTo>
                  <a:cubicBezTo>
                    <a:pt x="251" y="371"/>
                    <a:pt x="259" y="379"/>
                    <a:pt x="265" y="378"/>
                  </a:cubicBezTo>
                  <a:cubicBezTo>
                    <a:pt x="271" y="377"/>
                    <a:pt x="287" y="370"/>
                    <a:pt x="287" y="370"/>
                  </a:cubicBezTo>
                  <a:cubicBezTo>
                    <a:pt x="287" y="370"/>
                    <a:pt x="286" y="382"/>
                    <a:pt x="297" y="374"/>
                  </a:cubicBezTo>
                  <a:cubicBezTo>
                    <a:pt x="308" y="366"/>
                    <a:pt x="310" y="347"/>
                    <a:pt x="310" y="347"/>
                  </a:cubicBezTo>
                  <a:cubicBezTo>
                    <a:pt x="331" y="329"/>
                    <a:pt x="331" y="329"/>
                    <a:pt x="331" y="329"/>
                  </a:cubicBezTo>
                  <a:cubicBezTo>
                    <a:pt x="354" y="328"/>
                    <a:pt x="354" y="328"/>
                    <a:pt x="354" y="328"/>
                  </a:cubicBezTo>
                  <a:cubicBezTo>
                    <a:pt x="356" y="315"/>
                    <a:pt x="356" y="315"/>
                    <a:pt x="356" y="315"/>
                  </a:cubicBezTo>
                  <a:cubicBezTo>
                    <a:pt x="356" y="315"/>
                    <a:pt x="367" y="286"/>
                    <a:pt x="370" y="284"/>
                  </a:cubicBezTo>
                  <a:cubicBezTo>
                    <a:pt x="373" y="282"/>
                    <a:pt x="400" y="279"/>
                    <a:pt x="401" y="270"/>
                  </a:cubicBezTo>
                  <a:cubicBezTo>
                    <a:pt x="402" y="261"/>
                    <a:pt x="379" y="249"/>
                    <a:pt x="379" y="249"/>
                  </a:cubicBezTo>
                  <a:cubicBezTo>
                    <a:pt x="379" y="249"/>
                    <a:pt x="377" y="226"/>
                    <a:pt x="385" y="215"/>
                  </a:cubicBezTo>
                  <a:cubicBezTo>
                    <a:pt x="393" y="204"/>
                    <a:pt x="404" y="191"/>
                    <a:pt x="404" y="191"/>
                  </a:cubicBezTo>
                  <a:cubicBezTo>
                    <a:pt x="404" y="191"/>
                    <a:pt x="421" y="173"/>
                    <a:pt x="424" y="172"/>
                  </a:cubicBezTo>
                  <a:cubicBezTo>
                    <a:pt x="427" y="171"/>
                    <a:pt x="439" y="163"/>
                    <a:pt x="436" y="161"/>
                  </a:cubicBezTo>
                  <a:cubicBezTo>
                    <a:pt x="433" y="159"/>
                    <a:pt x="428" y="151"/>
                    <a:pt x="438" y="146"/>
                  </a:cubicBezTo>
                  <a:cubicBezTo>
                    <a:pt x="448" y="141"/>
                    <a:pt x="472" y="136"/>
                    <a:pt x="485" y="131"/>
                  </a:cubicBezTo>
                  <a:cubicBezTo>
                    <a:pt x="498" y="126"/>
                    <a:pt x="514" y="113"/>
                    <a:pt x="514" y="113"/>
                  </a:cubicBezTo>
                  <a:cubicBezTo>
                    <a:pt x="514" y="113"/>
                    <a:pt x="534" y="104"/>
                    <a:pt x="535" y="10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6C52076D-569C-48AB-F43B-6E73CEF15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150" y="2813702"/>
              <a:ext cx="88411" cy="158530"/>
            </a:xfrm>
            <a:custGeom>
              <a:avLst/>
              <a:gdLst>
                <a:gd name="T0" fmla="*/ 7 w 155"/>
                <a:gd name="T1" fmla="*/ 1 h 277"/>
                <a:gd name="T2" fmla="*/ 7 w 155"/>
                <a:gd name="T3" fmla="*/ 0 h 277"/>
                <a:gd name="T4" fmla="*/ 6 w 155"/>
                <a:gd name="T5" fmla="*/ 0 h 277"/>
                <a:gd name="T6" fmla="*/ 6 w 155"/>
                <a:gd name="T7" fmla="*/ 1 h 277"/>
                <a:gd name="T8" fmla="*/ 4 w 155"/>
                <a:gd name="T9" fmla="*/ 1 h 277"/>
                <a:gd name="T10" fmla="*/ 4 w 155"/>
                <a:gd name="T11" fmla="*/ 1 h 277"/>
                <a:gd name="T12" fmla="*/ 4 w 155"/>
                <a:gd name="T13" fmla="*/ 0 h 277"/>
                <a:gd name="T14" fmla="*/ 3 w 155"/>
                <a:gd name="T15" fmla="*/ 0 h 277"/>
                <a:gd name="T16" fmla="*/ 2 w 155"/>
                <a:gd name="T17" fmla="*/ 1 h 277"/>
                <a:gd name="T18" fmla="*/ 2 w 155"/>
                <a:gd name="T19" fmla="*/ 3 h 277"/>
                <a:gd name="T20" fmla="*/ 1 w 155"/>
                <a:gd name="T21" fmla="*/ 6 h 277"/>
                <a:gd name="T22" fmla="*/ 0 w 155"/>
                <a:gd name="T23" fmla="*/ 8 h 277"/>
                <a:gd name="T24" fmla="*/ 0 w 155"/>
                <a:gd name="T25" fmla="*/ 10 h 277"/>
                <a:gd name="T26" fmla="*/ 1 w 155"/>
                <a:gd name="T27" fmla="*/ 10 h 277"/>
                <a:gd name="T28" fmla="*/ 1 w 155"/>
                <a:gd name="T29" fmla="*/ 12 h 277"/>
                <a:gd name="T30" fmla="*/ 1 w 155"/>
                <a:gd name="T31" fmla="*/ 14 h 277"/>
                <a:gd name="T32" fmla="*/ 3 w 155"/>
                <a:gd name="T33" fmla="*/ 14 h 277"/>
                <a:gd name="T34" fmla="*/ 3 w 155"/>
                <a:gd name="T35" fmla="*/ 15 h 277"/>
                <a:gd name="T36" fmla="*/ 4 w 155"/>
                <a:gd name="T37" fmla="*/ 14 h 277"/>
                <a:gd name="T38" fmla="*/ 4 w 155"/>
                <a:gd name="T39" fmla="*/ 14 h 277"/>
                <a:gd name="T40" fmla="*/ 4 w 155"/>
                <a:gd name="T41" fmla="*/ 12 h 277"/>
                <a:gd name="T42" fmla="*/ 5 w 155"/>
                <a:gd name="T43" fmla="*/ 12 h 277"/>
                <a:gd name="T44" fmla="*/ 6 w 155"/>
                <a:gd name="T45" fmla="*/ 11 h 277"/>
                <a:gd name="T46" fmla="*/ 5 w 155"/>
                <a:gd name="T47" fmla="*/ 11 h 277"/>
                <a:gd name="T48" fmla="*/ 5 w 155"/>
                <a:gd name="T49" fmla="*/ 10 h 277"/>
                <a:gd name="T50" fmla="*/ 6 w 155"/>
                <a:gd name="T51" fmla="*/ 9 h 277"/>
                <a:gd name="T52" fmla="*/ 6 w 155"/>
                <a:gd name="T53" fmla="*/ 8 h 277"/>
                <a:gd name="T54" fmla="*/ 6 w 155"/>
                <a:gd name="T55" fmla="*/ 8 h 277"/>
                <a:gd name="T56" fmla="*/ 4 w 155"/>
                <a:gd name="T57" fmla="*/ 7 h 277"/>
                <a:gd name="T58" fmla="*/ 6 w 155"/>
                <a:gd name="T59" fmla="*/ 7 h 277"/>
                <a:gd name="T60" fmla="*/ 6 w 155"/>
                <a:gd name="T61" fmla="*/ 6 h 277"/>
                <a:gd name="T62" fmla="*/ 6 w 155"/>
                <a:gd name="T63" fmla="*/ 5 h 277"/>
                <a:gd name="T64" fmla="*/ 6 w 155"/>
                <a:gd name="T65" fmla="*/ 5 h 277"/>
                <a:gd name="T66" fmla="*/ 7 w 155"/>
                <a:gd name="T67" fmla="*/ 3 h 277"/>
                <a:gd name="T68" fmla="*/ 6 w 155"/>
                <a:gd name="T69" fmla="*/ 3 h 277"/>
                <a:gd name="T70" fmla="*/ 8 w 155"/>
                <a:gd name="T71" fmla="*/ 2 h 277"/>
                <a:gd name="T72" fmla="*/ 7 w 155"/>
                <a:gd name="T73" fmla="*/ 1 h 2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5"/>
                <a:gd name="T112" fmla="*/ 0 h 277"/>
                <a:gd name="T113" fmla="*/ 155 w 155"/>
                <a:gd name="T114" fmla="*/ 277 h 2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5" h="277">
                  <a:moveTo>
                    <a:pt x="141" y="20"/>
                  </a:moveTo>
                  <a:cubicBezTo>
                    <a:pt x="141" y="20"/>
                    <a:pt x="144" y="9"/>
                    <a:pt x="140" y="7"/>
                  </a:cubicBezTo>
                  <a:cubicBezTo>
                    <a:pt x="136" y="5"/>
                    <a:pt x="120" y="8"/>
                    <a:pt x="111" y="8"/>
                  </a:cubicBezTo>
                  <a:cubicBezTo>
                    <a:pt x="102" y="8"/>
                    <a:pt x="112" y="12"/>
                    <a:pt x="104" y="16"/>
                  </a:cubicBezTo>
                  <a:cubicBezTo>
                    <a:pt x="96" y="20"/>
                    <a:pt x="94" y="11"/>
                    <a:pt x="87" y="11"/>
                  </a:cubicBezTo>
                  <a:cubicBezTo>
                    <a:pt x="80" y="11"/>
                    <a:pt x="76" y="15"/>
                    <a:pt x="70" y="15"/>
                  </a:cubicBezTo>
                  <a:cubicBezTo>
                    <a:pt x="64" y="15"/>
                    <a:pt x="71" y="11"/>
                    <a:pt x="76" y="6"/>
                  </a:cubicBezTo>
                  <a:cubicBezTo>
                    <a:pt x="81" y="1"/>
                    <a:pt x="76" y="0"/>
                    <a:pt x="62" y="0"/>
                  </a:cubicBezTo>
                  <a:cubicBezTo>
                    <a:pt x="53" y="0"/>
                    <a:pt x="46" y="7"/>
                    <a:pt x="41" y="13"/>
                  </a:cubicBezTo>
                  <a:cubicBezTo>
                    <a:pt x="44" y="23"/>
                    <a:pt x="47" y="40"/>
                    <a:pt x="46" y="53"/>
                  </a:cubicBezTo>
                  <a:cubicBezTo>
                    <a:pt x="45" y="74"/>
                    <a:pt x="23" y="114"/>
                    <a:pt x="23" y="114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6"/>
                    <a:pt x="0" y="173"/>
                    <a:pt x="6" y="180"/>
                  </a:cubicBezTo>
                  <a:cubicBezTo>
                    <a:pt x="12" y="187"/>
                    <a:pt x="23" y="191"/>
                    <a:pt x="23" y="191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14" y="270"/>
                    <a:pt x="20" y="271"/>
                  </a:cubicBezTo>
                  <a:cubicBezTo>
                    <a:pt x="26" y="272"/>
                    <a:pt x="52" y="268"/>
                    <a:pt x="52" y="268"/>
                  </a:cubicBezTo>
                  <a:cubicBezTo>
                    <a:pt x="52" y="268"/>
                    <a:pt x="56" y="277"/>
                    <a:pt x="62" y="276"/>
                  </a:cubicBezTo>
                  <a:cubicBezTo>
                    <a:pt x="67" y="275"/>
                    <a:pt x="84" y="265"/>
                    <a:pt x="87" y="263"/>
                  </a:cubicBezTo>
                  <a:cubicBezTo>
                    <a:pt x="85" y="252"/>
                    <a:pt x="85" y="252"/>
                    <a:pt x="85" y="252"/>
                  </a:cubicBezTo>
                  <a:cubicBezTo>
                    <a:pt x="85" y="252"/>
                    <a:pt x="84" y="244"/>
                    <a:pt x="86" y="237"/>
                  </a:cubicBezTo>
                  <a:cubicBezTo>
                    <a:pt x="88" y="230"/>
                    <a:pt x="96" y="220"/>
                    <a:pt x="96" y="220"/>
                  </a:cubicBezTo>
                  <a:cubicBezTo>
                    <a:pt x="96" y="220"/>
                    <a:pt x="106" y="219"/>
                    <a:pt x="110" y="213"/>
                  </a:cubicBezTo>
                  <a:cubicBezTo>
                    <a:pt x="114" y="207"/>
                    <a:pt x="101" y="206"/>
                    <a:pt x="101" y="206"/>
                  </a:cubicBezTo>
                  <a:cubicBezTo>
                    <a:pt x="101" y="206"/>
                    <a:pt x="96" y="192"/>
                    <a:pt x="92" y="188"/>
                  </a:cubicBezTo>
                  <a:cubicBezTo>
                    <a:pt x="88" y="184"/>
                    <a:pt x="112" y="170"/>
                    <a:pt x="114" y="162"/>
                  </a:cubicBezTo>
                  <a:cubicBezTo>
                    <a:pt x="116" y="154"/>
                    <a:pt x="103" y="152"/>
                    <a:pt x="103" y="15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104" y="129"/>
                    <a:pt x="108" y="128"/>
                  </a:cubicBezTo>
                  <a:cubicBezTo>
                    <a:pt x="112" y="127"/>
                    <a:pt x="120" y="120"/>
                    <a:pt x="120" y="117"/>
                  </a:cubicBezTo>
                  <a:cubicBezTo>
                    <a:pt x="120" y="114"/>
                    <a:pt x="116" y="100"/>
                    <a:pt x="116" y="100"/>
                  </a:cubicBezTo>
                  <a:cubicBezTo>
                    <a:pt x="116" y="100"/>
                    <a:pt x="121" y="96"/>
                    <a:pt x="122" y="93"/>
                  </a:cubicBezTo>
                  <a:cubicBezTo>
                    <a:pt x="123" y="90"/>
                    <a:pt x="128" y="65"/>
                    <a:pt x="128" y="65"/>
                  </a:cubicBezTo>
                  <a:cubicBezTo>
                    <a:pt x="128" y="65"/>
                    <a:pt x="119" y="60"/>
                    <a:pt x="120" y="56"/>
                  </a:cubicBezTo>
                  <a:cubicBezTo>
                    <a:pt x="121" y="52"/>
                    <a:pt x="153" y="37"/>
                    <a:pt x="154" y="29"/>
                  </a:cubicBezTo>
                  <a:cubicBezTo>
                    <a:pt x="155" y="21"/>
                    <a:pt x="141" y="20"/>
                    <a:pt x="141" y="2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65F0B81D-D204-0F83-7560-4BF985137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7651" y="2237040"/>
              <a:ext cx="224077" cy="314012"/>
            </a:xfrm>
            <a:custGeom>
              <a:avLst/>
              <a:gdLst>
                <a:gd name="T0" fmla="*/ 6 w 395"/>
                <a:gd name="T1" fmla="*/ 14 h 549"/>
                <a:gd name="T2" fmla="*/ 6 w 395"/>
                <a:gd name="T3" fmla="*/ 12 h 549"/>
                <a:gd name="T4" fmla="*/ 5 w 395"/>
                <a:gd name="T5" fmla="*/ 13 h 549"/>
                <a:gd name="T6" fmla="*/ 12 w 395"/>
                <a:gd name="T7" fmla="*/ 5 h 549"/>
                <a:gd name="T8" fmla="*/ 5 w 395"/>
                <a:gd name="T9" fmla="*/ 9 h 549"/>
                <a:gd name="T10" fmla="*/ 5 w 395"/>
                <a:gd name="T11" fmla="*/ 10 h 549"/>
                <a:gd name="T12" fmla="*/ 17 w 395"/>
                <a:gd name="T13" fmla="*/ 0 h 549"/>
                <a:gd name="T14" fmla="*/ 15 w 395"/>
                <a:gd name="T15" fmla="*/ 2 h 549"/>
                <a:gd name="T16" fmla="*/ 16 w 395"/>
                <a:gd name="T17" fmla="*/ 1 h 549"/>
                <a:gd name="T18" fmla="*/ 15 w 395"/>
                <a:gd name="T19" fmla="*/ 2 h 549"/>
                <a:gd name="T20" fmla="*/ 13 w 395"/>
                <a:gd name="T21" fmla="*/ 5 h 549"/>
                <a:gd name="T22" fmla="*/ 7 w 395"/>
                <a:gd name="T23" fmla="*/ 14 h 549"/>
                <a:gd name="T24" fmla="*/ 17 w 395"/>
                <a:gd name="T25" fmla="*/ 21 h 549"/>
                <a:gd name="T26" fmla="*/ 17 w 395"/>
                <a:gd name="T27" fmla="*/ 19 h 549"/>
                <a:gd name="T28" fmla="*/ 15 w 395"/>
                <a:gd name="T29" fmla="*/ 17 h 549"/>
                <a:gd name="T30" fmla="*/ 14 w 395"/>
                <a:gd name="T31" fmla="*/ 14 h 549"/>
                <a:gd name="T32" fmla="*/ 10 w 395"/>
                <a:gd name="T33" fmla="*/ 12 h 549"/>
                <a:gd name="T34" fmla="*/ 11 w 395"/>
                <a:gd name="T35" fmla="*/ 12 h 549"/>
                <a:gd name="T36" fmla="*/ 13 w 395"/>
                <a:gd name="T37" fmla="*/ 9 h 549"/>
                <a:gd name="T38" fmla="*/ 11 w 395"/>
                <a:gd name="T39" fmla="*/ 8 h 549"/>
                <a:gd name="T40" fmla="*/ 9 w 395"/>
                <a:gd name="T41" fmla="*/ 8 h 549"/>
                <a:gd name="T42" fmla="*/ 12 w 395"/>
                <a:gd name="T43" fmla="*/ 6 h 549"/>
                <a:gd name="T44" fmla="*/ 8 w 395"/>
                <a:gd name="T45" fmla="*/ 6 h 549"/>
                <a:gd name="T46" fmla="*/ 7 w 395"/>
                <a:gd name="T47" fmla="*/ 8 h 549"/>
                <a:gd name="T48" fmla="*/ 6 w 395"/>
                <a:gd name="T49" fmla="*/ 9 h 549"/>
                <a:gd name="T50" fmla="*/ 6 w 395"/>
                <a:gd name="T51" fmla="*/ 11 h 549"/>
                <a:gd name="T52" fmla="*/ 7 w 395"/>
                <a:gd name="T53" fmla="*/ 11 h 549"/>
                <a:gd name="T54" fmla="*/ 6 w 395"/>
                <a:gd name="T55" fmla="*/ 13 h 549"/>
                <a:gd name="T56" fmla="*/ 7 w 395"/>
                <a:gd name="T57" fmla="*/ 13 h 549"/>
                <a:gd name="T58" fmla="*/ 7 w 395"/>
                <a:gd name="T59" fmla="*/ 16 h 549"/>
                <a:gd name="T60" fmla="*/ 11 w 395"/>
                <a:gd name="T61" fmla="*/ 16 h 549"/>
                <a:gd name="T62" fmla="*/ 11 w 395"/>
                <a:gd name="T63" fmla="*/ 18 h 549"/>
                <a:gd name="T64" fmla="*/ 8 w 395"/>
                <a:gd name="T65" fmla="*/ 20 h 549"/>
                <a:gd name="T66" fmla="*/ 7 w 395"/>
                <a:gd name="T67" fmla="*/ 21 h 549"/>
                <a:gd name="T68" fmla="*/ 6 w 395"/>
                <a:gd name="T69" fmla="*/ 24 h 549"/>
                <a:gd name="T70" fmla="*/ 8 w 395"/>
                <a:gd name="T71" fmla="*/ 25 h 549"/>
                <a:gd name="T72" fmla="*/ 10 w 395"/>
                <a:gd name="T73" fmla="*/ 25 h 549"/>
                <a:gd name="T74" fmla="*/ 8 w 395"/>
                <a:gd name="T75" fmla="*/ 26 h 549"/>
                <a:gd name="T76" fmla="*/ 7 w 395"/>
                <a:gd name="T77" fmla="*/ 27 h 549"/>
                <a:gd name="T78" fmla="*/ 4 w 395"/>
                <a:gd name="T79" fmla="*/ 29 h 549"/>
                <a:gd name="T80" fmla="*/ 7 w 395"/>
                <a:gd name="T81" fmla="*/ 28 h 549"/>
                <a:gd name="T82" fmla="*/ 11 w 395"/>
                <a:gd name="T83" fmla="*/ 27 h 549"/>
                <a:gd name="T84" fmla="*/ 14 w 395"/>
                <a:gd name="T85" fmla="*/ 27 h 549"/>
                <a:gd name="T86" fmla="*/ 15 w 395"/>
                <a:gd name="T87" fmla="*/ 27 h 549"/>
                <a:gd name="T88" fmla="*/ 17 w 395"/>
                <a:gd name="T89" fmla="*/ 25 h 549"/>
                <a:gd name="T90" fmla="*/ 19 w 395"/>
                <a:gd name="T91" fmla="*/ 24 h 549"/>
                <a:gd name="T92" fmla="*/ 8 w 395"/>
                <a:gd name="T93" fmla="*/ 17 h 549"/>
                <a:gd name="T94" fmla="*/ 5 w 395"/>
                <a:gd name="T95" fmla="*/ 18 h 549"/>
                <a:gd name="T96" fmla="*/ 6 w 395"/>
                <a:gd name="T97" fmla="*/ 17 h 549"/>
                <a:gd name="T98" fmla="*/ 4 w 395"/>
                <a:gd name="T99" fmla="*/ 15 h 549"/>
                <a:gd name="T100" fmla="*/ 3 w 395"/>
                <a:gd name="T101" fmla="*/ 15 h 549"/>
                <a:gd name="T102" fmla="*/ 1 w 395"/>
                <a:gd name="T103" fmla="*/ 17 h 549"/>
                <a:gd name="T104" fmla="*/ 3 w 395"/>
                <a:gd name="T105" fmla="*/ 18 h 549"/>
                <a:gd name="T106" fmla="*/ 3 w 395"/>
                <a:gd name="T107" fmla="*/ 8 h 549"/>
                <a:gd name="T108" fmla="*/ 3 w 395"/>
                <a:gd name="T109" fmla="*/ 8 h 549"/>
                <a:gd name="T110" fmla="*/ 6 w 395"/>
                <a:gd name="T111" fmla="*/ 6 h 549"/>
                <a:gd name="T112" fmla="*/ 4 w 395"/>
                <a:gd name="T113" fmla="*/ 7 h 549"/>
                <a:gd name="T114" fmla="*/ 3 w 395"/>
                <a:gd name="T115" fmla="*/ 9 h 549"/>
                <a:gd name="T116" fmla="*/ 3 w 395"/>
                <a:gd name="T117" fmla="*/ 9 h 54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5"/>
                <a:gd name="T178" fmla="*/ 0 h 549"/>
                <a:gd name="T179" fmla="*/ 395 w 395"/>
                <a:gd name="T180" fmla="*/ 549 h 54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5" h="549">
                  <a:moveTo>
                    <a:pt x="118" y="256"/>
                  </a:moveTo>
                  <a:cubicBezTo>
                    <a:pt x="110" y="256"/>
                    <a:pt x="109" y="262"/>
                    <a:pt x="106" y="277"/>
                  </a:cubicBezTo>
                  <a:cubicBezTo>
                    <a:pt x="104" y="289"/>
                    <a:pt x="126" y="256"/>
                    <a:pt x="118" y="256"/>
                  </a:cubicBezTo>
                  <a:close/>
                  <a:moveTo>
                    <a:pt x="100" y="210"/>
                  </a:moveTo>
                  <a:cubicBezTo>
                    <a:pt x="96" y="210"/>
                    <a:pt x="90" y="222"/>
                    <a:pt x="94" y="225"/>
                  </a:cubicBezTo>
                  <a:cubicBezTo>
                    <a:pt x="98" y="228"/>
                    <a:pt x="111" y="221"/>
                    <a:pt x="111" y="221"/>
                  </a:cubicBezTo>
                  <a:cubicBezTo>
                    <a:pt x="111" y="221"/>
                    <a:pt x="104" y="210"/>
                    <a:pt x="100" y="210"/>
                  </a:cubicBezTo>
                  <a:close/>
                  <a:moveTo>
                    <a:pt x="87" y="261"/>
                  </a:moveTo>
                  <a:cubicBezTo>
                    <a:pt x="102" y="261"/>
                    <a:pt x="109" y="250"/>
                    <a:pt x="98" y="248"/>
                  </a:cubicBezTo>
                  <a:cubicBezTo>
                    <a:pt x="87" y="246"/>
                    <a:pt x="78" y="261"/>
                    <a:pt x="87" y="261"/>
                  </a:cubicBezTo>
                  <a:close/>
                  <a:moveTo>
                    <a:pt x="231" y="85"/>
                  </a:moveTo>
                  <a:cubicBezTo>
                    <a:pt x="223" y="78"/>
                    <a:pt x="222" y="93"/>
                    <a:pt x="222" y="93"/>
                  </a:cubicBezTo>
                  <a:cubicBezTo>
                    <a:pt x="229" y="99"/>
                    <a:pt x="239" y="92"/>
                    <a:pt x="231" y="85"/>
                  </a:cubicBezTo>
                  <a:close/>
                  <a:moveTo>
                    <a:pt x="103" y="176"/>
                  </a:moveTo>
                  <a:cubicBezTo>
                    <a:pt x="103" y="176"/>
                    <a:pt x="107" y="159"/>
                    <a:pt x="97" y="159"/>
                  </a:cubicBezTo>
                  <a:cubicBezTo>
                    <a:pt x="87" y="159"/>
                    <a:pt x="93" y="169"/>
                    <a:pt x="93" y="169"/>
                  </a:cubicBezTo>
                  <a:cubicBezTo>
                    <a:pt x="93" y="169"/>
                    <a:pt x="85" y="166"/>
                    <a:pt x="82" y="169"/>
                  </a:cubicBezTo>
                  <a:cubicBezTo>
                    <a:pt x="79" y="172"/>
                    <a:pt x="91" y="179"/>
                    <a:pt x="93" y="183"/>
                  </a:cubicBezTo>
                  <a:cubicBezTo>
                    <a:pt x="95" y="187"/>
                    <a:pt x="110" y="184"/>
                    <a:pt x="110" y="184"/>
                  </a:cubicBezTo>
                  <a:lnTo>
                    <a:pt x="103" y="176"/>
                  </a:lnTo>
                  <a:close/>
                  <a:moveTo>
                    <a:pt x="325" y="1"/>
                  </a:moveTo>
                  <a:cubicBezTo>
                    <a:pt x="318" y="2"/>
                    <a:pt x="316" y="11"/>
                    <a:pt x="316" y="11"/>
                  </a:cubicBezTo>
                  <a:cubicBezTo>
                    <a:pt x="327" y="16"/>
                    <a:pt x="332" y="0"/>
                    <a:pt x="325" y="1"/>
                  </a:cubicBezTo>
                  <a:close/>
                  <a:moveTo>
                    <a:pt x="296" y="36"/>
                  </a:moveTo>
                  <a:cubicBezTo>
                    <a:pt x="300" y="45"/>
                    <a:pt x="300" y="45"/>
                    <a:pt x="300" y="45"/>
                  </a:cubicBezTo>
                  <a:cubicBezTo>
                    <a:pt x="305" y="49"/>
                    <a:pt x="312" y="28"/>
                    <a:pt x="311" y="24"/>
                  </a:cubicBezTo>
                  <a:cubicBezTo>
                    <a:pt x="310" y="20"/>
                    <a:pt x="301" y="12"/>
                    <a:pt x="301" y="12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0" y="21"/>
                    <a:pt x="287" y="25"/>
                    <a:pt x="288" y="29"/>
                  </a:cubicBezTo>
                  <a:cubicBezTo>
                    <a:pt x="289" y="33"/>
                    <a:pt x="296" y="36"/>
                    <a:pt x="296" y="36"/>
                  </a:cubicBezTo>
                  <a:close/>
                  <a:moveTo>
                    <a:pt x="239" y="94"/>
                  </a:moveTo>
                  <a:cubicBezTo>
                    <a:pt x="237" y="104"/>
                    <a:pt x="237" y="104"/>
                    <a:pt x="237" y="104"/>
                  </a:cubicBezTo>
                  <a:cubicBezTo>
                    <a:pt x="246" y="96"/>
                    <a:pt x="246" y="96"/>
                    <a:pt x="246" y="96"/>
                  </a:cubicBezTo>
                  <a:lnTo>
                    <a:pt x="239" y="94"/>
                  </a:lnTo>
                  <a:close/>
                  <a:moveTo>
                    <a:pt x="137" y="269"/>
                  </a:moveTo>
                  <a:cubicBezTo>
                    <a:pt x="143" y="265"/>
                    <a:pt x="134" y="252"/>
                    <a:pt x="128" y="258"/>
                  </a:cubicBezTo>
                  <a:cubicBezTo>
                    <a:pt x="122" y="264"/>
                    <a:pt x="130" y="273"/>
                    <a:pt x="137" y="269"/>
                  </a:cubicBezTo>
                  <a:close/>
                  <a:moveTo>
                    <a:pt x="346" y="395"/>
                  </a:moveTo>
                  <a:cubicBezTo>
                    <a:pt x="346" y="395"/>
                    <a:pt x="341" y="409"/>
                    <a:pt x="331" y="402"/>
                  </a:cubicBezTo>
                  <a:cubicBezTo>
                    <a:pt x="321" y="394"/>
                    <a:pt x="341" y="387"/>
                    <a:pt x="340" y="378"/>
                  </a:cubicBezTo>
                  <a:cubicBezTo>
                    <a:pt x="339" y="369"/>
                    <a:pt x="308" y="364"/>
                    <a:pt x="308" y="359"/>
                  </a:cubicBezTo>
                  <a:cubicBezTo>
                    <a:pt x="308" y="354"/>
                    <a:pt x="330" y="357"/>
                    <a:pt x="330" y="357"/>
                  </a:cubicBezTo>
                  <a:cubicBezTo>
                    <a:pt x="321" y="349"/>
                    <a:pt x="321" y="349"/>
                    <a:pt x="321" y="349"/>
                  </a:cubicBezTo>
                  <a:cubicBezTo>
                    <a:pt x="321" y="349"/>
                    <a:pt x="312" y="328"/>
                    <a:pt x="308" y="321"/>
                  </a:cubicBezTo>
                  <a:cubicBezTo>
                    <a:pt x="304" y="314"/>
                    <a:pt x="291" y="314"/>
                    <a:pt x="291" y="314"/>
                  </a:cubicBezTo>
                  <a:cubicBezTo>
                    <a:pt x="291" y="314"/>
                    <a:pt x="283" y="305"/>
                    <a:pt x="275" y="299"/>
                  </a:cubicBezTo>
                  <a:cubicBezTo>
                    <a:pt x="267" y="293"/>
                    <a:pt x="273" y="261"/>
                    <a:pt x="273" y="261"/>
                  </a:cubicBezTo>
                  <a:cubicBezTo>
                    <a:pt x="265" y="261"/>
                    <a:pt x="265" y="261"/>
                    <a:pt x="265" y="261"/>
                  </a:cubicBezTo>
                  <a:cubicBezTo>
                    <a:pt x="265" y="261"/>
                    <a:pt x="264" y="255"/>
                    <a:pt x="250" y="245"/>
                  </a:cubicBezTo>
                  <a:cubicBezTo>
                    <a:pt x="235" y="235"/>
                    <a:pt x="216" y="245"/>
                    <a:pt x="208" y="246"/>
                  </a:cubicBezTo>
                  <a:cubicBezTo>
                    <a:pt x="200" y="247"/>
                    <a:pt x="191" y="235"/>
                    <a:pt x="191" y="235"/>
                  </a:cubicBezTo>
                  <a:cubicBezTo>
                    <a:pt x="191" y="235"/>
                    <a:pt x="205" y="240"/>
                    <a:pt x="209" y="239"/>
                  </a:cubicBezTo>
                  <a:cubicBezTo>
                    <a:pt x="213" y="238"/>
                    <a:pt x="231" y="234"/>
                    <a:pt x="232" y="228"/>
                  </a:cubicBezTo>
                  <a:cubicBezTo>
                    <a:pt x="233" y="223"/>
                    <a:pt x="214" y="222"/>
                    <a:pt x="214" y="222"/>
                  </a:cubicBezTo>
                  <a:cubicBezTo>
                    <a:pt x="230" y="218"/>
                    <a:pt x="230" y="218"/>
                    <a:pt x="230" y="218"/>
                  </a:cubicBezTo>
                  <a:cubicBezTo>
                    <a:pt x="230" y="218"/>
                    <a:pt x="239" y="211"/>
                    <a:pt x="245" y="206"/>
                  </a:cubicBezTo>
                  <a:cubicBezTo>
                    <a:pt x="250" y="201"/>
                    <a:pt x="261" y="177"/>
                    <a:pt x="261" y="177"/>
                  </a:cubicBezTo>
                  <a:cubicBezTo>
                    <a:pt x="261" y="177"/>
                    <a:pt x="276" y="168"/>
                    <a:pt x="276" y="161"/>
                  </a:cubicBezTo>
                  <a:cubicBezTo>
                    <a:pt x="276" y="154"/>
                    <a:pt x="222" y="159"/>
                    <a:pt x="222" y="159"/>
                  </a:cubicBezTo>
                  <a:cubicBezTo>
                    <a:pt x="222" y="159"/>
                    <a:pt x="223" y="154"/>
                    <a:pt x="211" y="154"/>
                  </a:cubicBezTo>
                  <a:cubicBezTo>
                    <a:pt x="199" y="154"/>
                    <a:pt x="177" y="162"/>
                    <a:pt x="177" y="162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91" y="145"/>
                    <a:pt x="191" y="145"/>
                    <a:pt x="191" y="145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12" y="132"/>
                    <a:pt x="223" y="123"/>
                    <a:pt x="224" y="112"/>
                  </a:cubicBezTo>
                  <a:cubicBezTo>
                    <a:pt x="225" y="105"/>
                    <a:pt x="211" y="107"/>
                    <a:pt x="203" y="108"/>
                  </a:cubicBezTo>
                  <a:cubicBezTo>
                    <a:pt x="195" y="109"/>
                    <a:pt x="183" y="115"/>
                    <a:pt x="175" y="115"/>
                  </a:cubicBezTo>
                  <a:cubicBezTo>
                    <a:pt x="167" y="115"/>
                    <a:pt x="160" y="106"/>
                    <a:pt x="153" y="110"/>
                  </a:cubicBezTo>
                  <a:cubicBezTo>
                    <a:pt x="146" y="114"/>
                    <a:pt x="153" y="124"/>
                    <a:pt x="153" y="124"/>
                  </a:cubicBezTo>
                  <a:cubicBezTo>
                    <a:pt x="153" y="124"/>
                    <a:pt x="146" y="125"/>
                    <a:pt x="141" y="129"/>
                  </a:cubicBezTo>
                  <a:cubicBezTo>
                    <a:pt x="136" y="133"/>
                    <a:pt x="144" y="148"/>
                    <a:pt x="144" y="148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30" y="180"/>
                    <a:pt x="130" y="180"/>
                    <a:pt x="130" y="180"/>
                  </a:cubicBezTo>
                  <a:cubicBezTo>
                    <a:pt x="130" y="180"/>
                    <a:pt x="124" y="185"/>
                    <a:pt x="121" y="188"/>
                  </a:cubicBezTo>
                  <a:cubicBezTo>
                    <a:pt x="118" y="191"/>
                    <a:pt x="116" y="198"/>
                    <a:pt x="116" y="198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203"/>
                    <a:pt x="111" y="212"/>
                    <a:pt x="119" y="211"/>
                  </a:cubicBezTo>
                  <a:cubicBezTo>
                    <a:pt x="127" y="210"/>
                    <a:pt x="134" y="202"/>
                    <a:pt x="134" y="202"/>
                  </a:cubicBezTo>
                  <a:cubicBezTo>
                    <a:pt x="133" y="214"/>
                    <a:pt x="133" y="214"/>
                    <a:pt x="133" y="214"/>
                  </a:cubicBezTo>
                  <a:cubicBezTo>
                    <a:pt x="133" y="214"/>
                    <a:pt x="120" y="220"/>
                    <a:pt x="115" y="228"/>
                  </a:cubicBezTo>
                  <a:cubicBezTo>
                    <a:pt x="110" y="237"/>
                    <a:pt x="116" y="250"/>
                    <a:pt x="116" y="250"/>
                  </a:cubicBezTo>
                  <a:cubicBezTo>
                    <a:pt x="116" y="250"/>
                    <a:pt x="127" y="242"/>
                    <a:pt x="134" y="247"/>
                  </a:cubicBezTo>
                  <a:cubicBezTo>
                    <a:pt x="140" y="252"/>
                    <a:pt x="153" y="241"/>
                    <a:pt x="153" y="241"/>
                  </a:cubicBezTo>
                  <a:cubicBezTo>
                    <a:pt x="144" y="251"/>
                    <a:pt x="144" y="251"/>
                    <a:pt x="144" y="251"/>
                  </a:cubicBezTo>
                  <a:cubicBezTo>
                    <a:pt x="149" y="269"/>
                    <a:pt x="149" y="269"/>
                    <a:pt x="149" y="269"/>
                  </a:cubicBezTo>
                  <a:cubicBezTo>
                    <a:pt x="149" y="269"/>
                    <a:pt x="138" y="282"/>
                    <a:pt x="130" y="296"/>
                  </a:cubicBezTo>
                  <a:cubicBezTo>
                    <a:pt x="123" y="309"/>
                    <a:pt x="146" y="306"/>
                    <a:pt x="146" y="306"/>
                  </a:cubicBezTo>
                  <a:cubicBezTo>
                    <a:pt x="146" y="306"/>
                    <a:pt x="159" y="300"/>
                    <a:pt x="166" y="303"/>
                  </a:cubicBezTo>
                  <a:cubicBezTo>
                    <a:pt x="173" y="306"/>
                    <a:pt x="189" y="293"/>
                    <a:pt x="189" y="293"/>
                  </a:cubicBezTo>
                  <a:cubicBezTo>
                    <a:pt x="211" y="295"/>
                    <a:pt x="211" y="295"/>
                    <a:pt x="211" y="295"/>
                  </a:cubicBezTo>
                  <a:cubicBezTo>
                    <a:pt x="211" y="295"/>
                    <a:pt x="188" y="308"/>
                    <a:pt x="186" y="318"/>
                  </a:cubicBezTo>
                  <a:cubicBezTo>
                    <a:pt x="185" y="328"/>
                    <a:pt x="215" y="335"/>
                    <a:pt x="215" y="335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1"/>
                    <a:pt x="210" y="375"/>
                    <a:pt x="207" y="379"/>
                  </a:cubicBezTo>
                  <a:cubicBezTo>
                    <a:pt x="204" y="383"/>
                    <a:pt x="162" y="377"/>
                    <a:pt x="162" y="377"/>
                  </a:cubicBezTo>
                  <a:cubicBezTo>
                    <a:pt x="162" y="377"/>
                    <a:pt x="152" y="374"/>
                    <a:pt x="143" y="376"/>
                  </a:cubicBezTo>
                  <a:cubicBezTo>
                    <a:pt x="134" y="378"/>
                    <a:pt x="149" y="389"/>
                    <a:pt x="149" y="389"/>
                  </a:cubicBezTo>
                  <a:cubicBezTo>
                    <a:pt x="135" y="402"/>
                    <a:pt x="135" y="402"/>
                    <a:pt x="135" y="402"/>
                  </a:cubicBezTo>
                  <a:cubicBezTo>
                    <a:pt x="163" y="400"/>
                    <a:pt x="163" y="400"/>
                    <a:pt x="163" y="400"/>
                  </a:cubicBezTo>
                  <a:cubicBezTo>
                    <a:pt x="163" y="400"/>
                    <a:pt x="163" y="423"/>
                    <a:pt x="156" y="430"/>
                  </a:cubicBezTo>
                  <a:cubicBezTo>
                    <a:pt x="149" y="437"/>
                    <a:pt x="121" y="445"/>
                    <a:pt x="117" y="448"/>
                  </a:cubicBezTo>
                  <a:cubicBezTo>
                    <a:pt x="113" y="451"/>
                    <a:pt x="118" y="466"/>
                    <a:pt x="122" y="468"/>
                  </a:cubicBezTo>
                  <a:cubicBezTo>
                    <a:pt x="126" y="470"/>
                    <a:pt x="144" y="456"/>
                    <a:pt x="144" y="456"/>
                  </a:cubicBezTo>
                  <a:cubicBezTo>
                    <a:pt x="144" y="456"/>
                    <a:pt x="147" y="462"/>
                    <a:pt x="151" y="466"/>
                  </a:cubicBezTo>
                  <a:cubicBezTo>
                    <a:pt x="155" y="470"/>
                    <a:pt x="165" y="466"/>
                    <a:pt x="165" y="466"/>
                  </a:cubicBezTo>
                  <a:cubicBezTo>
                    <a:pt x="165" y="466"/>
                    <a:pt x="173" y="475"/>
                    <a:pt x="181" y="476"/>
                  </a:cubicBezTo>
                  <a:cubicBezTo>
                    <a:pt x="190" y="477"/>
                    <a:pt x="197" y="472"/>
                    <a:pt x="202" y="467"/>
                  </a:cubicBezTo>
                  <a:cubicBezTo>
                    <a:pt x="207" y="462"/>
                    <a:pt x="220" y="463"/>
                    <a:pt x="220" y="463"/>
                  </a:cubicBezTo>
                  <a:cubicBezTo>
                    <a:pt x="220" y="463"/>
                    <a:pt x="204" y="478"/>
                    <a:pt x="194" y="485"/>
                  </a:cubicBezTo>
                  <a:cubicBezTo>
                    <a:pt x="183" y="492"/>
                    <a:pt x="163" y="485"/>
                    <a:pt x="156" y="485"/>
                  </a:cubicBezTo>
                  <a:cubicBezTo>
                    <a:pt x="149" y="485"/>
                    <a:pt x="151" y="495"/>
                    <a:pt x="151" y="495"/>
                  </a:cubicBezTo>
                  <a:cubicBezTo>
                    <a:pt x="151" y="495"/>
                    <a:pt x="142" y="495"/>
                    <a:pt x="135" y="498"/>
                  </a:cubicBezTo>
                  <a:cubicBezTo>
                    <a:pt x="127" y="501"/>
                    <a:pt x="135" y="507"/>
                    <a:pt x="129" y="516"/>
                  </a:cubicBezTo>
                  <a:cubicBezTo>
                    <a:pt x="124" y="524"/>
                    <a:pt x="117" y="520"/>
                    <a:pt x="110" y="520"/>
                  </a:cubicBezTo>
                  <a:cubicBezTo>
                    <a:pt x="103" y="520"/>
                    <a:pt x="106" y="530"/>
                    <a:pt x="99" y="536"/>
                  </a:cubicBezTo>
                  <a:cubicBezTo>
                    <a:pt x="92" y="542"/>
                    <a:pt x="83" y="541"/>
                    <a:pt x="83" y="545"/>
                  </a:cubicBezTo>
                  <a:cubicBezTo>
                    <a:pt x="83" y="549"/>
                    <a:pt x="102" y="549"/>
                    <a:pt x="105" y="549"/>
                  </a:cubicBezTo>
                  <a:cubicBezTo>
                    <a:pt x="108" y="549"/>
                    <a:pt x="116" y="539"/>
                    <a:pt x="122" y="534"/>
                  </a:cubicBezTo>
                  <a:cubicBezTo>
                    <a:pt x="128" y="529"/>
                    <a:pt x="138" y="530"/>
                    <a:pt x="147" y="530"/>
                  </a:cubicBezTo>
                  <a:cubicBezTo>
                    <a:pt x="156" y="530"/>
                    <a:pt x="159" y="540"/>
                    <a:pt x="165" y="540"/>
                  </a:cubicBezTo>
                  <a:cubicBezTo>
                    <a:pt x="171" y="540"/>
                    <a:pt x="184" y="515"/>
                    <a:pt x="191" y="512"/>
                  </a:cubicBezTo>
                  <a:cubicBezTo>
                    <a:pt x="197" y="508"/>
                    <a:pt x="211" y="519"/>
                    <a:pt x="211" y="519"/>
                  </a:cubicBezTo>
                  <a:cubicBezTo>
                    <a:pt x="228" y="520"/>
                    <a:pt x="228" y="520"/>
                    <a:pt x="228" y="520"/>
                  </a:cubicBezTo>
                  <a:cubicBezTo>
                    <a:pt x="248" y="512"/>
                    <a:pt x="248" y="512"/>
                    <a:pt x="248" y="512"/>
                  </a:cubicBezTo>
                  <a:cubicBezTo>
                    <a:pt x="248" y="512"/>
                    <a:pt x="267" y="521"/>
                    <a:pt x="273" y="520"/>
                  </a:cubicBezTo>
                  <a:cubicBezTo>
                    <a:pt x="279" y="519"/>
                    <a:pt x="265" y="508"/>
                    <a:pt x="271" y="503"/>
                  </a:cubicBezTo>
                  <a:cubicBezTo>
                    <a:pt x="277" y="498"/>
                    <a:pt x="286" y="513"/>
                    <a:pt x="286" y="513"/>
                  </a:cubicBezTo>
                  <a:cubicBezTo>
                    <a:pt x="293" y="508"/>
                    <a:pt x="293" y="508"/>
                    <a:pt x="293" y="508"/>
                  </a:cubicBezTo>
                  <a:cubicBezTo>
                    <a:pt x="293" y="508"/>
                    <a:pt x="346" y="508"/>
                    <a:pt x="359" y="501"/>
                  </a:cubicBezTo>
                  <a:cubicBezTo>
                    <a:pt x="371" y="494"/>
                    <a:pt x="379" y="479"/>
                    <a:pt x="379" y="479"/>
                  </a:cubicBezTo>
                  <a:cubicBezTo>
                    <a:pt x="340" y="474"/>
                    <a:pt x="340" y="474"/>
                    <a:pt x="340" y="474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4" y="461"/>
                    <a:pt x="354" y="461"/>
                    <a:pt x="354" y="461"/>
                  </a:cubicBezTo>
                  <a:cubicBezTo>
                    <a:pt x="354" y="461"/>
                    <a:pt x="368" y="448"/>
                    <a:pt x="375" y="447"/>
                  </a:cubicBezTo>
                  <a:cubicBezTo>
                    <a:pt x="382" y="446"/>
                    <a:pt x="393" y="435"/>
                    <a:pt x="394" y="415"/>
                  </a:cubicBezTo>
                  <a:cubicBezTo>
                    <a:pt x="395" y="394"/>
                    <a:pt x="346" y="395"/>
                    <a:pt x="346" y="395"/>
                  </a:cubicBezTo>
                  <a:close/>
                  <a:moveTo>
                    <a:pt x="157" y="325"/>
                  </a:moveTo>
                  <a:cubicBezTo>
                    <a:pt x="152" y="310"/>
                    <a:pt x="147" y="330"/>
                    <a:pt x="138" y="338"/>
                  </a:cubicBezTo>
                  <a:cubicBezTo>
                    <a:pt x="138" y="338"/>
                    <a:pt x="162" y="340"/>
                    <a:pt x="157" y="325"/>
                  </a:cubicBezTo>
                  <a:close/>
                  <a:moveTo>
                    <a:pt x="94" y="338"/>
                  </a:moveTo>
                  <a:cubicBezTo>
                    <a:pt x="97" y="335"/>
                    <a:pt x="99" y="329"/>
                    <a:pt x="99" y="329"/>
                  </a:cubicBezTo>
                  <a:cubicBezTo>
                    <a:pt x="99" y="329"/>
                    <a:pt x="104" y="336"/>
                    <a:pt x="107" y="330"/>
                  </a:cubicBezTo>
                  <a:cubicBezTo>
                    <a:pt x="110" y="324"/>
                    <a:pt x="117" y="314"/>
                    <a:pt x="110" y="308"/>
                  </a:cubicBezTo>
                  <a:cubicBezTo>
                    <a:pt x="103" y="302"/>
                    <a:pt x="103" y="293"/>
                    <a:pt x="103" y="293"/>
                  </a:cubicBezTo>
                  <a:cubicBezTo>
                    <a:pt x="98" y="295"/>
                    <a:pt x="98" y="295"/>
                    <a:pt x="98" y="295"/>
                  </a:cubicBezTo>
                  <a:cubicBezTo>
                    <a:pt x="98" y="295"/>
                    <a:pt x="93" y="283"/>
                    <a:pt x="86" y="281"/>
                  </a:cubicBezTo>
                  <a:cubicBezTo>
                    <a:pt x="79" y="279"/>
                    <a:pt x="61" y="282"/>
                    <a:pt x="61" y="282"/>
                  </a:cubicBezTo>
                  <a:cubicBezTo>
                    <a:pt x="61" y="282"/>
                    <a:pt x="61" y="282"/>
                    <a:pt x="61" y="281"/>
                  </a:cubicBezTo>
                  <a:cubicBezTo>
                    <a:pt x="58" y="288"/>
                    <a:pt x="58" y="288"/>
                    <a:pt x="58" y="288"/>
                  </a:cubicBezTo>
                  <a:cubicBezTo>
                    <a:pt x="28" y="302"/>
                    <a:pt x="28" y="302"/>
                    <a:pt x="28" y="302"/>
                  </a:cubicBezTo>
                  <a:cubicBezTo>
                    <a:pt x="29" y="312"/>
                    <a:pt x="29" y="312"/>
                    <a:pt x="29" y="312"/>
                  </a:cubicBezTo>
                  <a:cubicBezTo>
                    <a:pt x="29" y="312"/>
                    <a:pt x="0" y="318"/>
                    <a:pt x="13" y="325"/>
                  </a:cubicBezTo>
                  <a:cubicBezTo>
                    <a:pt x="26" y="333"/>
                    <a:pt x="38" y="335"/>
                    <a:pt x="38" y="33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7" y="335"/>
                    <a:pt x="67" y="335"/>
                    <a:pt x="67" y="335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91" y="340"/>
                    <a:pt x="93" y="339"/>
                    <a:pt x="94" y="338"/>
                  </a:cubicBezTo>
                  <a:close/>
                  <a:moveTo>
                    <a:pt x="63" y="155"/>
                  </a:moveTo>
                  <a:cubicBezTo>
                    <a:pt x="57" y="155"/>
                    <a:pt x="54" y="155"/>
                    <a:pt x="52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6" y="163"/>
                    <a:pt x="69" y="155"/>
                    <a:pt x="63" y="155"/>
                  </a:cubicBezTo>
                  <a:close/>
                  <a:moveTo>
                    <a:pt x="82" y="144"/>
                  </a:moveTo>
                  <a:cubicBezTo>
                    <a:pt x="82" y="144"/>
                    <a:pt x="88" y="146"/>
                    <a:pt x="94" y="145"/>
                  </a:cubicBezTo>
                  <a:cubicBezTo>
                    <a:pt x="100" y="144"/>
                    <a:pt x="108" y="115"/>
                    <a:pt x="108" y="115"/>
                  </a:cubicBezTo>
                  <a:cubicBezTo>
                    <a:pt x="108" y="115"/>
                    <a:pt x="100" y="117"/>
                    <a:pt x="94" y="122"/>
                  </a:cubicBezTo>
                  <a:cubicBezTo>
                    <a:pt x="88" y="126"/>
                    <a:pt x="86" y="133"/>
                    <a:pt x="86" y="133"/>
                  </a:cubicBezTo>
                  <a:cubicBezTo>
                    <a:pt x="86" y="133"/>
                    <a:pt x="78" y="125"/>
                    <a:pt x="72" y="128"/>
                  </a:cubicBezTo>
                  <a:cubicBezTo>
                    <a:pt x="67" y="131"/>
                    <a:pt x="73" y="153"/>
                    <a:pt x="73" y="153"/>
                  </a:cubicBezTo>
                  <a:lnTo>
                    <a:pt x="82" y="144"/>
                  </a:lnTo>
                  <a:close/>
                  <a:moveTo>
                    <a:pt x="57" y="169"/>
                  </a:moveTo>
                  <a:cubicBezTo>
                    <a:pt x="51" y="191"/>
                    <a:pt x="51" y="191"/>
                    <a:pt x="51" y="191"/>
                  </a:cubicBezTo>
                  <a:cubicBezTo>
                    <a:pt x="62" y="177"/>
                    <a:pt x="62" y="177"/>
                    <a:pt x="62" y="177"/>
                  </a:cubicBezTo>
                  <a:lnTo>
                    <a:pt x="57" y="16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1D32B198-7F01-A373-7B03-8213BC6C6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251" y="2394046"/>
              <a:ext cx="106703" cy="114325"/>
            </a:xfrm>
            <a:custGeom>
              <a:avLst/>
              <a:gdLst>
                <a:gd name="T0" fmla="*/ 10 w 189"/>
                <a:gd name="T1" fmla="*/ 5 h 202"/>
                <a:gd name="T2" fmla="*/ 9 w 189"/>
                <a:gd name="T3" fmla="*/ 4 h 202"/>
                <a:gd name="T4" fmla="*/ 9 w 189"/>
                <a:gd name="T5" fmla="*/ 4 h 202"/>
                <a:gd name="T6" fmla="*/ 10 w 189"/>
                <a:gd name="T7" fmla="*/ 3 h 202"/>
                <a:gd name="T8" fmla="*/ 9 w 189"/>
                <a:gd name="T9" fmla="*/ 3 h 202"/>
                <a:gd name="T10" fmla="*/ 8 w 189"/>
                <a:gd name="T11" fmla="*/ 2 h 202"/>
                <a:gd name="T12" fmla="*/ 7 w 189"/>
                <a:gd name="T13" fmla="*/ 3 h 202"/>
                <a:gd name="T14" fmla="*/ 6 w 189"/>
                <a:gd name="T15" fmla="*/ 3 h 202"/>
                <a:gd name="T16" fmla="*/ 7 w 189"/>
                <a:gd name="T17" fmla="*/ 2 h 202"/>
                <a:gd name="T18" fmla="*/ 6 w 189"/>
                <a:gd name="T19" fmla="*/ 1 h 202"/>
                <a:gd name="T20" fmla="*/ 8 w 189"/>
                <a:gd name="T21" fmla="*/ 1 h 202"/>
                <a:gd name="T22" fmla="*/ 8 w 189"/>
                <a:gd name="T23" fmla="*/ 0 h 202"/>
                <a:gd name="T24" fmla="*/ 8 w 189"/>
                <a:gd name="T25" fmla="*/ 0 h 202"/>
                <a:gd name="T26" fmla="*/ 7 w 189"/>
                <a:gd name="T27" fmla="*/ 1 h 202"/>
                <a:gd name="T28" fmla="*/ 7 w 189"/>
                <a:gd name="T29" fmla="*/ 0 h 202"/>
                <a:gd name="T30" fmla="*/ 6 w 189"/>
                <a:gd name="T31" fmla="*/ 0 h 202"/>
                <a:gd name="T32" fmla="*/ 5 w 189"/>
                <a:gd name="T33" fmla="*/ 1 h 202"/>
                <a:gd name="T34" fmla="*/ 4 w 189"/>
                <a:gd name="T35" fmla="*/ 2 h 202"/>
                <a:gd name="T36" fmla="*/ 5 w 189"/>
                <a:gd name="T37" fmla="*/ 2 h 202"/>
                <a:gd name="T38" fmla="*/ 5 w 189"/>
                <a:gd name="T39" fmla="*/ 3 h 202"/>
                <a:gd name="T40" fmla="*/ 4 w 189"/>
                <a:gd name="T41" fmla="*/ 3 h 202"/>
                <a:gd name="T42" fmla="*/ 4 w 189"/>
                <a:gd name="T43" fmla="*/ 3 h 202"/>
                <a:gd name="T44" fmla="*/ 4 w 189"/>
                <a:gd name="T45" fmla="*/ 3 h 202"/>
                <a:gd name="T46" fmla="*/ 3 w 189"/>
                <a:gd name="T47" fmla="*/ 3 h 202"/>
                <a:gd name="T48" fmla="*/ 1 w 189"/>
                <a:gd name="T49" fmla="*/ 3 h 202"/>
                <a:gd name="T50" fmla="*/ 1 w 189"/>
                <a:gd name="T51" fmla="*/ 4 h 202"/>
                <a:gd name="T52" fmla="*/ 2 w 189"/>
                <a:gd name="T53" fmla="*/ 4 h 202"/>
                <a:gd name="T54" fmla="*/ 1 w 189"/>
                <a:gd name="T55" fmla="*/ 4 h 202"/>
                <a:gd name="T56" fmla="*/ 1 w 189"/>
                <a:gd name="T57" fmla="*/ 5 h 202"/>
                <a:gd name="T58" fmla="*/ 3 w 189"/>
                <a:gd name="T59" fmla="*/ 6 h 202"/>
                <a:gd name="T60" fmla="*/ 3 w 189"/>
                <a:gd name="T61" fmla="*/ 6 h 202"/>
                <a:gd name="T62" fmla="*/ 3 w 189"/>
                <a:gd name="T63" fmla="*/ 6 h 202"/>
                <a:gd name="T64" fmla="*/ 3 w 189"/>
                <a:gd name="T65" fmla="*/ 7 h 202"/>
                <a:gd name="T66" fmla="*/ 2 w 189"/>
                <a:gd name="T67" fmla="*/ 7 h 202"/>
                <a:gd name="T68" fmla="*/ 1 w 189"/>
                <a:gd name="T69" fmla="*/ 8 h 202"/>
                <a:gd name="T70" fmla="*/ 0 w 189"/>
                <a:gd name="T71" fmla="*/ 8 h 202"/>
                <a:gd name="T72" fmla="*/ 1 w 189"/>
                <a:gd name="T73" fmla="*/ 9 h 202"/>
                <a:gd name="T74" fmla="*/ 0 w 189"/>
                <a:gd name="T75" fmla="*/ 9 h 202"/>
                <a:gd name="T76" fmla="*/ 0 w 189"/>
                <a:gd name="T77" fmla="*/ 9 h 202"/>
                <a:gd name="T78" fmla="*/ 1 w 189"/>
                <a:gd name="T79" fmla="*/ 9 h 202"/>
                <a:gd name="T80" fmla="*/ 1 w 189"/>
                <a:gd name="T81" fmla="*/ 10 h 202"/>
                <a:gd name="T82" fmla="*/ 2 w 189"/>
                <a:gd name="T83" fmla="*/ 10 h 202"/>
                <a:gd name="T84" fmla="*/ 1 w 189"/>
                <a:gd name="T85" fmla="*/ 10 h 202"/>
                <a:gd name="T86" fmla="*/ 4 w 189"/>
                <a:gd name="T87" fmla="*/ 10 h 202"/>
                <a:gd name="T88" fmla="*/ 4 w 189"/>
                <a:gd name="T89" fmla="*/ 9 h 202"/>
                <a:gd name="T90" fmla="*/ 5 w 189"/>
                <a:gd name="T91" fmla="*/ 9 h 202"/>
                <a:gd name="T92" fmla="*/ 6 w 189"/>
                <a:gd name="T93" fmla="*/ 9 h 202"/>
                <a:gd name="T94" fmla="*/ 7 w 189"/>
                <a:gd name="T95" fmla="*/ 9 h 202"/>
                <a:gd name="T96" fmla="*/ 7 w 189"/>
                <a:gd name="T97" fmla="*/ 8 h 202"/>
                <a:gd name="T98" fmla="*/ 9 w 189"/>
                <a:gd name="T99" fmla="*/ 8 h 202"/>
                <a:gd name="T100" fmla="*/ 9 w 189"/>
                <a:gd name="T101" fmla="*/ 7 h 202"/>
                <a:gd name="T102" fmla="*/ 9 w 189"/>
                <a:gd name="T103" fmla="*/ 7 h 202"/>
                <a:gd name="T104" fmla="*/ 9 w 189"/>
                <a:gd name="T105" fmla="*/ 7 h 202"/>
                <a:gd name="T106" fmla="*/ 10 w 189"/>
                <a:gd name="T107" fmla="*/ 5 h 2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9"/>
                <a:gd name="T163" fmla="*/ 0 h 202"/>
                <a:gd name="T164" fmla="*/ 189 w 189"/>
                <a:gd name="T165" fmla="*/ 202 h 2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9" h="202">
                  <a:moveTo>
                    <a:pt x="186" y="104"/>
                  </a:moveTo>
                  <a:cubicBezTo>
                    <a:pt x="186" y="94"/>
                    <a:pt x="177" y="87"/>
                    <a:pt x="177" y="87"/>
                  </a:cubicBezTo>
                  <a:cubicBezTo>
                    <a:pt x="177" y="87"/>
                    <a:pt x="177" y="78"/>
                    <a:pt x="175" y="73"/>
                  </a:cubicBezTo>
                  <a:cubicBezTo>
                    <a:pt x="175" y="69"/>
                    <a:pt x="184" y="68"/>
                    <a:pt x="189" y="66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8" y="61"/>
                    <a:pt x="126" y="59"/>
                    <a:pt x="113" y="51"/>
                  </a:cubicBezTo>
                  <a:cubicBezTo>
                    <a:pt x="100" y="44"/>
                    <a:pt x="129" y="38"/>
                    <a:pt x="129" y="3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0" y="6"/>
                    <a:pt x="158" y="4"/>
                    <a:pt x="153" y="2"/>
                  </a:cubicBezTo>
                  <a:cubicBezTo>
                    <a:pt x="146" y="0"/>
                    <a:pt x="138" y="14"/>
                    <a:pt x="138" y="14"/>
                  </a:cubicBezTo>
                  <a:cubicBezTo>
                    <a:pt x="134" y="4"/>
                    <a:pt x="134" y="4"/>
                    <a:pt x="134" y="4"/>
                  </a:cubicBezTo>
                  <a:cubicBezTo>
                    <a:pt x="134" y="4"/>
                    <a:pt x="111" y="4"/>
                    <a:pt x="107" y="9"/>
                  </a:cubicBezTo>
                  <a:cubicBezTo>
                    <a:pt x="103" y="15"/>
                    <a:pt x="99" y="30"/>
                    <a:pt x="99" y="30"/>
                  </a:cubicBezTo>
                  <a:cubicBezTo>
                    <a:pt x="99" y="30"/>
                    <a:pt x="84" y="29"/>
                    <a:pt x="84" y="35"/>
                  </a:cubicBezTo>
                  <a:cubicBezTo>
                    <a:pt x="84" y="41"/>
                    <a:pt x="106" y="37"/>
                    <a:pt x="102" y="44"/>
                  </a:cubicBezTo>
                  <a:cubicBezTo>
                    <a:pt x="98" y="51"/>
                    <a:pt x="94" y="47"/>
                    <a:pt x="92" y="50"/>
                  </a:cubicBezTo>
                  <a:cubicBezTo>
                    <a:pt x="90" y="53"/>
                    <a:pt x="87" y="57"/>
                    <a:pt x="87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56" y="47"/>
                    <a:pt x="48" y="51"/>
                  </a:cubicBezTo>
                  <a:cubicBezTo>
                    <a:pt x="40" y="55"/>
                    <a:pt x="30" y="54"/>
                    <a:pt x="30" y="54"/>
                  </a:cubicBezTo>
                  <a:cubicBezTo>
                    <a:pt x="30" y="54"/>
                    <a:pt x="28" y="71"/>
                    <a:pt x="33" y="71"/>
                  </a:cubicBezTo>
                  <a:cubicBezTo>
                    <a:pt x="38" y="71"/>
                    <a:pt x="42" y="79"/>
                    <a:pt x="42" y="79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20" y="90"/>
                    <a:pt x="25" y="98"/>
                  </a:cubicBezTo>
                  <a:cubicBezTo>
                    <a:pt x="30" y="106"/>
                    <a:pt x="48" y="107"/>
                    <a:pt x="48" y="107"/>
                  </a:cubicBezTo>
                  <a:cubicBezTo>
                    <a:pt x="48" y="107"/>
                    <a:pt x="67" y="99"/>
                    <a:pt x="66" y="107"/>
                  </a:cubicBezTo>
                  <a:cubicBezTo>
                    <a:pt x="65" y="115"/>
                    <a:pt x="50" y="116"/>
                    <a:pt x="50" y="116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37" y="125"/>
                    <a:pt x="35" y="134"/>
                  </a:cubicBezTo>
                  <a:cubicBezTo>
                    <a:pt x="33" y="143"/>
                    <a:pt x="30" y="156"/>
                    <a:pt x="30" y="156"/>
                  </a:cubicBezTo>
                  <a:cubicBezTo>
                    <a:pt x="30" y="156"/>
                    <a:pt x="5" y="156"/>
                    <a:pt x="4" y="161"/>
                  </a:cubicBezTo>
                  <a:cubicBezTo>
                    <a:pt x="3" y="166"/>
                    <a:pt x="15" y="167"/>
                    <a:pt x="15" y="167"/>
                  </a:cubicBezTo>
                  <a:cubicBezTo>
                    <a:pt x="15" y="167"/>
                    <a:pt x="0" y="169"/>
                    <a:pt x="0" y="176"/>
                  </a:cubicBezTo>
                  <a:cubicBezTo>
                    <a:pt x="0" y="184"/>
                    <a:pt x="7" y="183"/>
                    <a:pt x="7" y="183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19" y="192"/>
                    <a:pt x="36" y="187"/>
                    <a:pt x="35" y="190"/>
                  </a:cubicBezTo>
                  <a:cubicBezTo>
                    <a:pt x="34" y="193"/>
                    <a:pt x="14" y="202"/>
                    <a:pt x="29" y="202"/>
                  </a:cubicBezTo>
                  <a:cubicBezTo>
                    <a:pt x="44" y="202"/>
                    <a:pt x="65" y="196"/>
                    <a:pt x="74" y="191"/>
                  </a:cubicBezTo>
                  <a:cubicBezTo>
                    <a:pt x="83" y="186"/>
                    <a:pt x="83" y="178"/>
                    <a:pt x="83" y="178"/>
                  </a:cubicBezTo>
                  <a:cubicBezTo>
                    <a:pt x="83" y="178"/>
                    <a:pt x="93" y="184"/>
                    <a:pt x="102" y="178"/>
                  </a:cubicBezTo>
                  <a:cubicBezTo>
                    <a:pt x="111" y="173"/>
                    <a:pt x="112" y="167"/>
                    <a:pt x="124" y="166"/>
                  </a:cubicBezTo>
                  <a:cubicBezTo>
                    <a:pt x="135" y="165"/>
                    <a:pt x="140" y="165"/>
                    <a:pt x="140" y="16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167" y="148"/>
                    <a:pt x="179" y="150"/>
                    <a:pt x="179" y="146"/>
                  </a:cubicBezTo>
                  <a:cubicBezTo>
                    <a:pt x="179" y="142"/>
                    <a:pt x="174" y="138"/>
                    <a:pt x="178" y="133"/>
                  </a:cubicBezTo>
                  <a:cubicBezTo>
                    <a:pt x="181" y="128"/>
                    <a:pt x="186" y="114"/>
                    <a:pt x="186" y="10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8599C770-FAFB-3ABE-42C4-34DA28386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6547" y="2301528"/>
              <a:ext cx="135666" cy="60973"/>
            </a:xfrm>
            <a:custGeom>
              <a:avLst/>
              <a:gdLst>
                <a:gd name="T0" fmla="*/ 12 w 237"/>
                <a:gd name="T1" fmla="*/ 4 h 107"/>
                <a:gd name="T2" fmla="*/ 12 w 237"/>
                <a:gd name="T3" fmla="*/ 4 h 107"/>
                <a:gd name="T4" fmla="*/ 12 w 237"/>
                <a:gd name="T5" fmla="*/ 3 h 107"/>
                <a:gd name="T6" fmla="*/ 11 w 237"/>
                <a:gd name="T7" fmla="*/ 3 h 107"/>
                <a:gd name="T8" fmla="*/ 12 w 237"/>
                <a:gd name="T9" fmla="*/ 2 h 107"/>
                <a:gd name="T10" fmla="*/ 12 w 237"/>
                <a:gd name="T11" fmla="*/ 1 h 107"/>
                <a:gd name="T12" fmla="*/ 12 w 237"/>
                <a:gd name="T13" fmla="*/ 1 h 107"/>
                <a:gd name="T14" fmla="*/ 12 w 237"/>
                <a:gd name="T15" fmla="*/ 0 h 107"/>
                <a:gd name="T16" fmla="*/ 9 w 237"/>
                <a:gd name="T17" fmla="*/ 0 h 107"/>
                <a:gd name="T18" fmla="*/ 6 w 237"/>
                <a:gd name="T19" fmla="*/ 0 h 107"/>
                <a:gd name="T20" fmla="*/ 3 w 237"/>
                <a:gd name="T21" fmla="*/ 1 h 107"/>
                <a:gd name="T22" fmla="*/ 3 w 237"/>
                <a:gd name="T23" fmla="*/ 3 h 107"/>
                <a:gd name="T24" fmla="*/ 6 w 237"/>
                <a:gd name="T25" fmla="*/ 3 h 107"/>
                <a:gd name="T26" fmla="*/ 5 w 237"/>
                <a:gd name="T27" fmla="*/ 4 h 107"/>
                <a:gd name="T28" fmla="*/ 5 w 237"/>
                <a:gd name="T29" fmla="*/ 4 h 107"/>
                <a:gd name="T30" fmla="*/ 6 w 237"/>
                <a:gd name="T31" fmla="*/ 4 h 107"/>
                <a:gd name="T32" fmla="*/ 8 w 237"/>
                <a:gd name="T33" fmla="*/ 4 h 107"/>
                <a:gd name="T34" fmla="*/ 9 w 237"/>
                <a:gd name="T35" fmla="*/ 5 h 107"/>
                <a:gd name="T36" fmla="*/ 10 w 237"/>
                <a:gd name="T37" fmla="*/ 6 h 107"/>
                <a:gd name="T38" fmla="*/ 11 w 237"/>
                <a:gd name="T39" fmla="*/ 5 h 107"/>
                <a:gd name="T40" fmla="*/ 11 w 237"/>
                <a:gd name="T41" fmla="*/ 6 h 107"/>
                <a:gd name="T42" fmla="*/ 12 w 237"/>
                <a:gd name="T43" fmla="*/ 6 h 107"/>
                <a:gd name="T44" fmla="*/ 12 w 237"/>
                <a:gd name="T45" fmla="*/ 5 h 107"/>
                <a:gd name="T46" fmla="*/ 12 w 237"/>
                <a:gd name="T47" fmla="*/ 4 h 107"/>
                <a:gd name="T48" fmla="*/ 12 w 237"/>
                <a:gd name="T49" fmla="*/ 4 h 107"/>
                <a:gd name="T50" fmla="*/ 2 w 237"/>
                <a:gd name="T51" fmla="*/ 3 h 107"/>
                <a:gd name="T52" fmla="*/ 0 w 237"/>
                <a:gd name="T53" fmla="*/ 3 h 107"/>
                <a:gd name="T54" fmla="*/ 0 w 237"/>
                <a:gd name="T55" fmla="*/ 4 h 107"/>
                <a:gd name="T56" fmla="*/ 1 w 237"/>
                <a:gd name="T57" fmla="*/ 4 h 107"/>
                <a:gd name="T58" fmla="*/ 2 w 237"/>
                <a:gd name="T59" fmla="*/ 4 h 107"/>
                <a:gd name="T60" fmla="*/ 3 w 237"/>
                <a:gd name="T61" fmla="*/ 3 h 107"/>
                <a:gd name="T62" fmla="*/ 3 w 237"/>
                <a:gd name="T63" fmla="*/ 3 h 107"/>
                <a:gd name="T64" fmla="*/ 2 w 237"/>
                <a:gd name="T65" fmla="*/ 3 h 107"/>
                <a:gd name="T66" fmla="*/ 2 w 237"/>
                <a:gd name="T67" fmla="*/ 2 h 107"/>
                <a:gd name="T68" fmla="*/ 2 w 237"/>
                <a:gd name="T69" fmla="*/ 1 h 107"/>
                <a:gd name="T70" fmla="*/ 2 w 237"/>
                <a:gd name="T71" fmla="*/ 2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37"/>
                <a:gd name="T109" fmla="*/ 0 h 107"/>
                <a:gd name="T110" fmla="*/ 237 w 237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37" h="107">
                  <a:moveTo>
                    <a:pt x="228" y="76"/>
                  </a:moveTo>
                  <a:cubicBezTo>
                    <a:pt x="221" y="74"/>
                    <a:pt x="221" y="74"/>
                    <a:pt x="221" y="74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6" y="38"/>
                    <a:pt x="220" y="36"/>
                  </a:cubicBezTo>
                  <a:cubicBezTo>
                    <a:pt x="224" y="34"/>
                    <a:pt x="231" y="30"/>
                    <a:pt x="231" y="30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15" y="8"/>
                    <a:pt x="180" y="2"/>
                    <a:pt x="170" y="1"/>
                  </a:cubicBezTo>
                  <a:cubicBezTo>
                    <a:pt x="157" y="0"/>
                    <a:pt x="110" y="6"/>
                    <a:pt x="110" y="6"/>
                  </a:cubicBezTo>
                  <a:cubicBezTo>
                    <a:pt x="110" y="6"/>
                    <a:pt x="60" y="24"/>
                    <a:pt x="60" y="31"/>
                  </a:cubicBezTo>
                  <a:cubicBezTo>
                    <a:pt x="60" y="38"/>
                    <a:pt x="66" y="56"/>
                    <a:pt x="66" y="56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02" y="85"/>
                    <a:pt x="102" y="85"/>
                    <a:pt x="102" y="85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9" y="75"/>
                    <a:pt x="144" y="78"/>
                  </a:cubicBezTo>
                  <a:cubicBezTo>
                    <a:pt x="159" y="81"/>
                    <a:pt x="161" y="86"/>
                    <a:pt x="172" y="95"/>
                  </a:cubicBezTo>
                  <a:cubicBezTo>
                    <a:pt x="183" y="104"/>
                    <a:pt x="186" y="107"/>
                    <a:pt x="192" y="107"/>
                  </a:cubicBezTo>
                  <a:cubicBezTo>
                    <a:pt x="198" y="107"/>
                    <a:pt x="200" y="100"/>
                    <a:pt x="203" y="101"/>
                  </a:cubicBezTo>
                  <a:cubicBezTo>
                    <a:pt x="206" y="102"/>
                    <a:pt x="216" y="106"/>
                    <a:pt x="216" y="106"/>
                  </a:cubicBezTo>
                  <a:cubicBezTo>
                    <a:pt x="224" y="105"/>
                    <a:pt x="224" y="105"/>
                    <a:pt x="224" y="105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37" y="88"/>
                    <a:pt x="237" y="88"/>
                    <a:pt x="237" y="88"/>
                  </a:cubicBezTo>
                  <a:lnTo>
                    <a:pt x="228" y="76"/>
                  </a:lnTo>
                  <a:close/>
                  <a:moveTo>
                    <a:pt x="27" y="53"/>
                  </a:moveTo>
                  <a:cubicBezTo>
                    <a:pt x="27" y="53"/>
                    <a:pt x="14" y="52"/>
                    <a:pt x="7" y="55"/>
                  </a:cubicBezTo>
                  <a:cubicBezTo>
                    <a:pt x="0" y="57"/>
                    <a:pt x="9" y="74"/>
                    <a:pt x="9" y="74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30" y="74"/>
                    <a:pt x="34" y="74"/>
                  </a:cubicBezTo>
                  <a:cubicBezTo>
                    <a:pt x="38" y="74"/>
                    <a:pt x="55" y="60"/>
                    <a:pt x="55" y="60"/>
                  </a:cubicBezTo>
                  <a:cubicBezTo>
                    <a:pt x="51" y="49"/>
                    <a:pt x="51" y="49"/>
                    <a:pt x="51" y="49"/>
                  </a:cubicBezTo>
                  <a:lnTo>
                    <a:pt x="27" y="53"/>
                  </a:lnTo>
                  <a:close/>
                  <a:moveTo>
                    <a:pt x="29" y="45"/>
                  </a:moveTo>
                  <a:cubicBezTo>
                    <a:pt x="44" y="45"/>
                    <a:pt x="48" y="23"/>
                    <a:pt x="35" y="25"/>
                  </a:cubicBezTo>
                  <a:cubicBezTo>
                    <a:pt x="22" y="28"/>
                    <a:pt x="15" y="45"/>
                    <a:pt x="29" y="4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87F2D0D1-6ECD-731F-EE0F-959A0A8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195" y="2772546"/>
              <a:ext cx="47255" cy="50303"/>
            </a:xfrm>
            <a:custGeom>
              <a:avLst/>
              <a:gdLst>
                <a:gd name="T0" fmla="*/ 5 w 80"/>
                <a:gd name="T1" fmla="*/ 1 h 90"/>
                <a:gd name="T2" fmla="*/ 4 w 80"/>
                <a:gd name="T3" fmla="*/ 1 h 90"/>
                <a:gd name="T4" fmla="*/ 4 w 80"/>
                <a:gd name="T5" fmla="*/ 1 h 90"/>
                <a:gd name="T6" fmla="*/ 3 w 80"/>
                <a:gd name="T7" fmla="*/ 0 h 90"/>
                <a:gd name="T8" fmla="*/ 3 w 80"/>
                <a:gd name="T9" fmla="*/ 0 h 90"/>
                <a:gd name="T10" fmla="*/ 2 w 80"/>
                <a:gd name="T11" fmla="*/ 0 h 90"/>
                <a:gd name="T12" fmla="*/ 2 w 80"/>
                <a:gd name="T13" fmla="*/ 1 h 90"/>
                <a:gd name="T14" fmla="*/ 1 w 80"/>
                <a:gd name="T15" fmla="*/ 1 h 90"/>
                <a:gd name="T16" fmla="*/ 0 w 80"/>
                <a:gd name="T17" fmla="*/ 1 h 90"/>
                <a:gd name="T18" fmla="*/ 0 w 80"/>
                <a:gd name="T19" fmla="*/ 1 h 90"/>
                <a:gd name="T20" fmla="*/ 0 w 80"/>
                <a:gd name="T21" fmla="*/ 2 h 90"/>
                <a:gd name="T22" fmla="*/ 1 w 80"/>
                <a:gd name="T23" fmla="*/ 3 h 90"/>
                <a:gd name="T24" fmla="*/ 0 w 80"/>
                <a:gd name="T25" fmla="*/ 3 h 90"/>
                <a:gd name="T26" fmla="*/ 0 w 80"/>
                <a:gd name="T27" fmla="*/ 3 h 90"/>
                <a:gd name="T28" fmla="*/ 1 w 80"/>
                <a:gd name="T29" fmla="*/ 3 h 90"/>
                <a:gd name="T30" fmla="*/ 1 w 80"/>
                <a:gd name="T31" fmla="*/ 4 h 90"/>
                <a:gd name="T32" fmla="*/ 2 w 80"/>
                <a:gd name="T33" fmla="*/ 4 h 90"/>
                <a:gd name="T34" fmla="*/ 3 w 80"/>
                <a:gd name="T35" fmla="*/ 4 h 90"/>
                <a:gd name="T36" fmla="*/ 3 w 80"/>
                <a:gd name="T37" fmla="*/ 4 h 90"/>
                <a:gd name="T38" fmla="*/ 2 w 80"/>
                <a:gd name="T39" fmla="*/ 4 h 90"/>
                <a:gd name="T40" fmla="*/ 2 w 80"/>
                <a:gd name="T41" fmla="*/ 3 h 90"/>
                <a:gd name="T42" fmla="*/ 3 w 80"/>
                <a:gd name="T43" fmla="*/ 3 h 90"/>
                <a:gd name="T44" fmla="*/ 3 w 80"/>
                <a:gd name="T45" fmla="*/ 3 h 90"/>
                <a:gd name="T46" fmla="*/ 3 w 80"/>
                <a:gd name="T47" fmla="*/ 3 h 90"/>
                <a:gd name="T48" fmla="*/ 4 w 80"/>
                <a:gd name="T49" fmla="*/ 3 h 90"/>
                <a:gd name="T50" fmla="*/ 5 w 80"/>
                <a:gd name="T51" fmla="*/ 3 h 90"/>
                <a:gd name="T52" fmla="*/ 5 w 80"/>
                <a:gd name="T53" fmla="*/ 3 h 90"/>
                <a:gd name="T54" fmla="*/ 5 w 80"/>
                <a:gd name="T55" fmla="*/ 1 h 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90"/>
                <a:gd name="T86" fmla="*/ 80 w 80"/>
                <a:gd name="T87" fmla="*/ 90 h 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90">
                  <a:moveTo>
                    <a:pt x="79" y="27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29" y="0"/>
                    <a:pt x="29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1" y="10"/>
                    <a:pt x="18" y="14"/>
                  </a:cubicBezTo>
                  <a:cubicBezTo>
                    <a:pt x="15" y="18"/>
                    <a:pt x="9" y="29"/>
                    <a:pt x="9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0" y="36"/>
                    <a:pt x="3" y="39"/>
                  </a:cubicBezTo>
                  <a:cubicBezTo>
                    <a:pt x="6" y="42"/>
                    <a:pt x="17" y="48"/>
                    <a:pt x="17" y="4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5"/>
                    <a:pt x="6" y="65"/>
                    <a:pt x="6" y="65"/>
                  </a:cubicBezTo>
                  <a:cubicBezTo>
                    <a:pt x="13" y="67"/>
                    <a:pt x="24" y="62"/>
                    <a:pt x="24" y="62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80" y="56"/>
                    <a:pt x="80" y="56"/>
                    <a:pt x="80" y="56"/>
                  </a:cubicBezTo>
                  <a:lnTo>
                    <a:pt x="79" y="2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3" name="Freeform 47">
              <a:extLst>
                <a:ext uri="{FF2B5EF4-FFF2-40B4-BE49-F238E27FC236}">
                  <a16:creationId xmlns:a16="http://schemas.microsoft.com/office/drawing/2014/main" id="{18FD02B9-3C93-1206-AEB3-9EF7101496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3932" y="3941705"/>
              <a:ext cx="1057884" cy="1195073"/>
            </a:xfrm>
            <a:custGeom>
              <a:avLst/>
              <a:gdLst>
                <a:gd name="T0" fmla="*/ 57 w 1858"/>
                <a:gd name="T1" fmla="*/ 18 h 2099"/>
                <a:gd name="T2" fmla="*/ 63 w 1858"/>
                <a:gd name="T3" fmla="*/ 16 h 2099"/>
                <a:gd name="T4" fmla="*/ 59 w 1858"/>
                <a:gd name="T5" fmla="*/ 15 h 2099"/>
                <a:gd name="T6" fmla="*/ 59 w 1858"/>
                <a:gd name="T7" fmla="*/ 14 h 2099"/>
                <a:gd name="T8" fmla="*/ 57 w 1858"/>
                <a:gd name="T9" fmla="*/ 15 h 2099"/>
                <a:gd name="T10" fmla="*/ 96 w 1858"/>
                <a:gd name="T11" fmla="*/ 30 h 2099"/>
                <a:gd name="T12" fmla="*/ 89 w 1858"/>
                <a:gd name="T13" fmla="*/ 28 h 2099"/>
                <a:gd name="T14" fmla="*/ 75 w 1858"/>
                <a:gd name="T15" fmla="*/ 22 h 2099"/>
                <a:gd name="T16" fmla="*/ 72 w 1858"/>
                <a:gd name="T17" fmla="*/ 22 h 2099"/>
                <a:gd name="T18" fmla="*/ 66 w 1858"/>
                <a:gd name="T19" fmla="*/ 16 h 2099"/>
                <a:gd name="T20" fmla="*/ 60 w 1858"/>
                <a:gd name="T21" fmla="*/ 22 h 2099"/>
                <a:gd name="T22" fmla="*/ 55 w 1858"/>
                <a:gd name="T23" fmla="*/ 19 h 2099"/>
                <a:gd name="T24" fmla="*/ 57 w 1858"/>
                <a:gd name="T25" fmla="*/ 14 h 2099"/>
                <a:gd name="T26" fmla="*/ 55 w 1858"/>
                <a:gd name="T27" fmla="*/ 3 h 2099"/>
                <a:gd name="T28" fmla="*/ 51 w 1858"/>
                <a:gd name="T29" fmla="*/ 8 h 2099"/>
                <a:gd name="T30" fmla="*/ 46 w 1858"/>
                <a:gd name="T31" fmla="*/ 7 h 2099"/>
                <a:gd name="T32" fmla="*/ 42 w 1858"/>
                <a:gd name="T33" fmla="*/ 9 h 2099"/>
                <a:gd name="T34" fmla="*/ 37 w 1858"/>
                <a:gd name="T35" fmla="*/ 12 h 2099"/>
                <a:gd name="T36" fmla="*/ 35 w 1858"/>
                <a:gd name="T37" fmla="*/ 5 h 2099"/>
                <a:gd name="T38" fmla="*/ 33 w 1858"/>
                <a:gd name="T39" fmla="*/ 0 h 2099"/>
                <a:gd name="T40" fmla="*/ 29 w 1858"/>
                <a:gd name="T41" fmla="*/ 3 h 2099"/>
                <a:gd name="T42" fmla="*/ 24 w 1858"/>
                <a:gd name="T43" fmla="*/ 3 h 2099"/>
                <a:gd name="T44" fmla="*/ 26 w 1858"/>
                <a:gd name="T45" fmla="*/ 8 h 2099"/>
                <a:gd name="T46" fmla="*/ 21 w 1858"/>
                <a:gd name="T47" fmla="*/ 13 h 2099"/>
                <a:gd name="T48" fmla="*/ 16 w 1858"/>
                <a:gd name="T49" fmla="*/ 9 h 2099"/>
                <a:gd name="T50" fmla="*/ 10 w 1858"/>
                <a:gd name="T51" fmla="*/ 12 h 2099"/>
                <a:gd name="T52" fmla="*/ 10 w 1858"/>
                <a:gd name="T53" fmla="*/ 16 h 2099"/>
                <a:gd name="T54" fmla="*/ 9 w 1858"/>
                <a:gd name="T55" fmla="*/ 27 h 2099"/>
                <a:gd name="T56" fmla="*/ 3 w 1858"/>
                <a:gd name="T57" fmla="*/ 28 h 2099"/>
                <a:gd name="T58" fmla="*/ 0 w 1858"/>
                <a:gd name="T59" fmla="*/ 35 h 2099"/>
                <a:gd name="T60" fmla="*/ 2 w 1858"/>
                <a:gd name="T61" fmla="*/ 41 h 2099"/>
                <a:gd name="T62" fmla="*/ 9 w 1858"/>
                <a:gd name="T63" fmla="*/ 46 h 2099"/>
                <a:gd name="T64" fmla="*/ 15 w 1858"/>
                <a:gd name="T65" fmla="*/ 45 h 2099"/>
                <a:gd name="T66" fmla="*/ 21 w 1858"/>
                <a:gd name="T67" fmla="*/ 43 h 2099"/>
                <a:gd name="T68" fmla="*/ 23 w 1858"/>
                <a:gd name="T69" fmla="*/ 49 h 2099"/>
                <a:gd name="T70" fmla="*/ 29 w 1858"/>
                <a:gd name="T71" fmla="*/ 51 h 2099"/>
                <a:gd name="T72" fmla="*/ 35 w 1858"/>
                <a:gd name="T73" fmla="*/ 57 h 2099"/>
                <a:gd name="T74" fmla="*/ 43 w 1858"/>
                <a:gd name="T75" fmla="*/ 66 h 2099"/>
                <a:gd name="T76" fmla="*/ 42 w 1858"/>
                <a:gd name="T77" fmla="*/ 73 h 2099"/>
                <a:gd name="T78" fmla="*/ 52 w 1858"/>
                <a:gd name="T79" fmla="*/ 81 h 2099"/>
                <a:gd name="T80" fmla="*/ 55 w 1858"/>
                <a:gd name="T81" fmla="*/ 88 h 2099"/>
                <a:gd name="T82" fmla="*/ 50 w 1858"/>
                <a:gd name="T83" fmla="*/ 94 h 2099"/>
                <a:gd name="T84" fmla="*/ 48 w 1858"/>
                <a:gd name="T85" fmla="*/ 100 h 2099"/>
                <a:gd name="T86" fmla="*/ 55 w 1858"/>
                <a:gd name="T87" fmla="*/ 103 h 2099"/>
                <a:gd name="T88" fmla="*/ 58 w 1858"/>
                <a:gd name="T89" fmla="*/ 109 h 2099"/>
                <a:gd name="T90" fmla="*/ 61 w 1858"/>
                <a:gd name="T91" fmla="*/ 103 h 2099"/>
                <a:gd name="T92" fmla="*/ 63 w 1858"/>
                <a:gd name="T93" fmla="*/ 102 h 2099"/>
                <a:gd name="T94" fmla="*/ 62 w 1858"/>
                <a:gd name="T95" fmla="*/ 103 h 2099"/>
                <a:gd name="T96" fmla="*/ 67 w 1858"/>
                <a:gd name="T97" fmla="*/ 92 h 2099"/>
                <a:gd name="T98" fmla="*/ 67 w 1858"/>
                <a:gd name="T99" fmla="*/ 87 h 2099"/>
                <a:gd name="T100" fmla="*/ 68 w 1858"/>
                <a:gd name="T101" fmla="*/ 84 h 2099"/>
                <a:gd name="T102" fmla="*/ 74 w 1858"/>
                <a:gd name="T103" fmla="*/ 81 h 2099"/>
                <a:gd name="T104" fmla="*/ 76 w 1858"/>
                <a:gd name="T105" fmla="*/ 79 h 2099"/>
                <a:gd name="T106" fmla="*/ 82 w 1858"/>
                <a:gd name="T107" fmla="*/ 78 h 2099"/>
                <a:gd name="T108" fmla="*/ 85 w 1858"/>
                <a:gd name="T109" fmla="*/ 71 h 2099"/>
                <a:gd name="T110" fmla="*/ 87 w 1858"/>
                <a:gd name="T111" fmla="*/ 63 h 2099"/>
                <a:gd name="T112" fmla="*/ 87 w 1858"/>
                <a:gd name="T113" fmla="*/ 51 h 2099"/>
                <a:gd name="T114" fmla="*/ 93 w 1858"/>
                <a:gd name="T115" fmla="*/ 44 h 20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58"/>
                <a:gd name="T175" fmla="*/ 0 h 2099"/>
                <a:gd name="T176" fmla="*/ 1858 w 1858"/>
                <a:gd name="T177" fmla="*/ 2099 h 209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58" h="2099">
                  <a:moveTo>
                    <a:pt x="1146" y="299"/>
                  </a:moveTo>
                  <a:cubicBezTo>
                    <a:pt x="1140" y="298"/>
                    <a:pt x="1112" y="291"/>
                    <a:pt x="1102" y="293"/>
                  </a:cubicBezTo>
                  <a:cubicBezTo>
                    <a:pt x="1092" y="295"/>
                    <a:pt x="1103" y="318"/>
                    <a:pt x="1103" y="318"/>
                  </a:cubicBezTo>
                  <a:cubicBezTo>
                    <a:pt x="1092" y="320"/>
                    <a:pt x="1092" y="320"/>
                    <a:pt x="1092" y="320"/>
                  </a:cubicBezTo>
                  <a:cubicBezTo>
                    <a:pt x="1092" y="336"/>
                    <a:pt x="1092" y="336"/>
                    <a:pt x="1092" y="336"/>
                  </a:cubicBezTo>
                  <a:cubicBezTo>
                    <a:pt x="1106" y="342"/>
                    <a:pt x="1106" y="342"/>
                    <a:pt x="1106" y="342"/>
                  </a:cubicBezTo>
                  <a:cubicBezTo>
                    <a:pt x="1096" y="350"/>
                    <a:pt x="1096" y="350"/>
                    <a:pt x="1096" y="350"/>
                  </a:cubicBezTo>
                  <a:cubicBezTo>
                    <a:pt x="1096" y="350"/>
                    <a:pt x="1099" y="366"/>
                    <a:pt x="1105" y="376"/>
                  </a:cubicBezTo>
                  <a:cubicBezTo>
                    <a:pt x="1112" y="386"/>
                    <a:pt x="1132" y="380"/>
                    <a:pt x="1139" y="380"/>
                  </a:cubicBezTo>
                  <a:cubicBezTo>
                    <a:pt x="1145" y="380"/>
                    <a:pt x="1144" y="372"/>
                    <a:pt x="1144" y="372"/>
                  </a:cubicBezTo>
                  <a:cubicBezTo>
                    <a:pt x="1144" y="372"/>
                    <a:pt x="1157" y="368"/>
                    <a:pt x="1168" y="368"/>
                  </a:cubicBezTo>
                  <a:cubicBezTo>
                    <a:pt x="1179" y="368"/>
                    <a:pt x="1186" y="355"/>
                    <a:pt x="1186" y="355"/>
                  </a:cubicBezTo>
                  <a:cubicBezTo>
                    <a:pt x="1195" y="326"/>
                    <a:pt x="1195" y="326"/>
                    <a:pt x="1195" y="326"/>
                  </a:cubicBezTo>
                  <a:cubicBezTo>
                    <a:pt x="1195" y="326"/>
                    <a:pt x="1202" y="312"/>
                    <a:pt x="1201" y="299"/>
                  </a:cubicBezTo>
                  <a:cubicBezTo>
                    <a:pt x="1200" y="286"/>
                    <a:pt x="1180" y="291"/>
                    <a:pt x="1169" y="291"/>
                  </a:cubicBezTo>
                  <a:cubicBezTo>
                    <a:pt x="1169" y="291"/>
                    <a:pt x="1153" y="300"/>
                    <a:pt x="1146" y="299"/>
                  </a:cubicBezTo>
                  <a:close/>
                  <a:moveTo>
                    <a:pt x="1144" y="291"/>
                  </a:moveTo>
                  <a:cubicBezTo>
                    <a:pt x="1159" y="286"/>
                    <a:pt x="1159" y="286"/>
                    <a:pt x="1159" y="286"/>
                  </a:cubicBezTo>
                  <a:cubicBezTo>
                    <a:pt x="1147" y="275"/>
                    <a:pt x="1147" y="275"/>
                    <a:pt x="1147" y="275"/>
                  </a:cubicBezTo>
                  <a:cubicBezTo>
                    <a:pt x="1132" y="292"/>
                    <a:pt x="1132" y="292"/>
                    <a:pt x="1132" y="292"/>
                  </a:cubicBezTo>
                  <a:lnTo>
                    <a:pt x="1144" y="291"/>
                  </a:lnTo>
                  <a:close/>
                  <a:moveTo>
                    <a:pt x="1124" y="270"/>
                  </a:moveTo>
                  <a:cubicBezTo>
                    <a:pt x="1110" y="271"/>
                    <a:pt x="1110" y="271"/>
                    <a:pt x="1110" y="271"/>
                  </a:cubicBezTo>
                  <a:cubicBezTo>
                    <a:pt x="1109" y="282"/>
                    <a:pt x="1109" y="282"/>
                    <a:pt x="1109" y="282"/>
                  </a:cubicBezTo>
                  <a:cubicBezTo>
                    <a:pt x="1131" y="283"/>
                    <a:pt x="1131" y="283"/>
                    <a:pt x="1131" y="283"/>
                  </a:cubicBezTo>
                  <a:cubicBezTo>
                    <a:pt x="1143" y="266"/>
                    <a:pt x="1143" y="266"/>
                    <a:pt x="1143" y="266"/>
                  </a:cubicBezTo>
                  <a:cubicBezTo>
                    <a:pt x="1134" y="255"/>
                    <a:pt x="1134" y="255"/>
                    <a:pt x="1134" y="255"/>
                  </a:cubicBezTo>
                  <a:lnTo>
                    <a:pt x="1124" y="270"/>
                  </a:lnTo>
                  <a:close/>
                  <a:moveTo>
                    <a:pt x="1050" y="326"/>
                  </a:moveTo>
                  <a:cubicBezTo>
                    <a:pt x="1047" y="340"/>
                    <a:pt x="1047" y="340"/>
                    <a:pt x="1047" y="340"/>
                  </a:cubicBezTo>
                  <a:cubicBezTo>
                    <a:pt x="1037" y="363"/>
                    <a:pt x="1037" y="363"/>
                    <a:pt x="1037" y="363"/>
                  </a:cubicBezTo>
                  <a:cubicBezTo>
                    <a:pt x="1057" y="351"/>
                    <a:pt x="1057" y="351"/>
                    <a:pt x="1057" y="351"/>
                  </a:cubicBezTo>
                  <a:cubicBezTo>
                    <a:pt x="1057" y="351"/>
                    <a:pt x="1079" y="321"/>
                    <a:pt x="1071" y="316"/>
                  </a:cubicBezTo>
                  <a:cubicBezTo>
                    <a:pt x="1062" y="310"/>
                    <a:pt x="1050" y="326"/>
                    <a:pt x="1050" y="326"/>
                  </a:cubicBezTo>
                  <a:close/>
                  <a:moveTo>
                    <a:pt x="1087" y="283"/>
                  </a:moveTo>
                  <a:cubicBezTo>
                    <a:pt x="1074" y="299"/>
                    <a:pt x="1074" y="299"/>
                    <a:pt x="1074" y="299"/>
                  </a:cubicBezTo>
                  <a:cubicBezTo>
                    <a:pt x="1085" y="304"/>
                    <a:pt x="1085" y="304"/>
                    <a:pt x="1085" y="304"/>
                  </a:cubicBezTo>
                  <a:cubicBezTo>
                    <a:pt x="1096" y="287"/>
                    <a:pt x="1096" y="287"/>
                    <a:pt x="1096" y="287"/>
                  </a:cubicBezTo>
                  <a:lnTo>
                    <a:pt x="1087" y="283"/>
                  </a:lnTo>
                  <a:close/>
                  <a:moveTo>
                    <a:pt x="1855" y="667"/>
                  </a:moveTo>
                  <a:cubicBezTo>
                    <a:pt x="1855" y="650"/>
                    <a:pt x="1839" y="626"/>
                    <a:pt x="1838" y="615"/>
                  </a:cubicBezTo>
                  <a:cubicBezTo>
                    <a:pt x="1837" y="604"/>
                    <a:pt x="1837" y="592"/>
                    <a:pt x="1837" y="583"/>
                  </a:cubicBezTo>
                  <a:cubicBezTo>
                    <a:pt x="1837" y="574"/>
                    <a:pt x="1819" y="558"/>
                    <a:pt x="1819" y="558"/>
                  </a:cubicBezTo>
                  <a:cubicBezTo>
                    <a:pt x="1798" y="554"/>
                    <a:pt x="1798" y="554"/>
                    <a:pt x="1798" y="554"/>
                  </a:cubicBezTo>
                  <a:cubicBezTo>
                    <a:pt x="1764" y="559"/>
                    <a:pt x="1764" y="559"/>
                    <a:pt x="1764" y="559"/>
                  </a:cubicBezTo>
                  <a:cubicBezTo>
                    <a:pt x="1753" y="549"/>
                    <a:pt x="1753" y="549"/>
                    <a:pt x="1753" y="549"/>
                  </a:cubicBezTo>
                  <a:cubicBezTo>
                    <a:pt x="1740" y="548"/>
                    <a:pt x="1740" y="548"/>
                    <a:pt x="1740" y="548"/>
                  </a:cubicBezTo>
                  <a:cubicBezTo>
                    <a:pt x="1728" y="533"/>
                    <a:pt x="1728" y="533"/>
                    <a:pt x="1728" y="533"/>
                  </a:cubicBezTo>
                  <a:cubicBezTo>
                    <a:pt x="1713" y="532"/>
                    <a:pt x="1713" y="532"/>
                    <a:pt x="1713" y="532"/>
                  </a:cubicBezTo>
                  <a:cubicBezTo>
                    <a:pt x="1713" y="532"/>
                    <a:pt x="1695" y="512"/>
                    <a:pt x="1678" y="491"/>
                  </a:cubicBezTo>
                  <a:cubicBezTo>
                    <a:pt x="1661" y="470"/>
                    <a:pt x="1612" y="439"/>
                    <a:pt x="1596" y="438"/>
                  </a:cubicBezTo>
                  <a:cubicBezTo>
                    <a:pt x="1580" y="437"/>
                    <a:pt x="1547" y="439"/>
                    <a:pt x="1547" y="439"/>
                  </a:cubicBezTo>
                  <a:cubicBezTo>
                    <a:pt x="1547" y="449"/>
                    <a:pt x="1547" y="449"/>
                    <a:pt x="1547" y="449"/>
                  </a:cubicBezTo>
                  <a:cubicBezTo>
                    <a:pt x="1547" y="449"/>
                    <a:pt x="1532" y="439"/>
                    <a:pt x="1525" y="436"/>
                  </a:cubicBezTo>
                  <a:cubicBezTo>
                    <a:pt x="1518" y="433"/>
                    <a:pt x="1492" y="432"/>
                    <a:pt x="1492" y="432"/>
                  </a:cubicBezTo>
                  <a:cubicBezTo>
                    <a:pt x="1492" y="432"/>
                    <a:pt x="1464" y="415"/>
                    <a:pt x="1445" y="412"/>
                  </a:cubicBezTo>
                  <a:cubicBezTo>
                    <a:pt x="1426" y="409"/>
                    <a:pt x="1406" y="442"/>
                    <a:pt x="1406" y="442"/>
                  </a:cubicBezTo>
                  <a:cubicBezTo>
                    <a:pt x="1395" y="429"/>
                    <a:pt x="1395" y="429"/>
                    <a:pt x="1395" y="429"/>
                  </a:cubicBezTo>
                  <a:cubicBezTo>
                    <a:pt x="1395" y="451"/>
                    <a:pt x="1395" y="451"/>
                    <a:pt x="1395" y="451"/>
                  </a:cubicBezTo>
                  <a:cubicBezTo>
                    <a:pt x="1375" y="466"/>
                    <a:pt x="1375" y="466"/>
                    <a:pt x="1375" y="466"/>
                  </a:cubicBezTo>
                  <a:cubicBezTo>
                    <a:pt x="1386" y="422"/>
                    <a:pt x="1386" y="422"/>
                    <a:pt x="1386" y="422"/>
                  </a:cubicBezTo>
                  <a:cubicBezTo>
                    <a:pt x="1386" y="422"/>
                    <a:pt x="1404" y="412"/>
                    <a:pt x="1397" y="402"/>
                  </a:cubicBezTo>
                  <a:cubicBezTo>
                    <a:pt x="1390" y="392"/>
                    <a:pt x="1377" y="411"/>
                    <a:pt x="1377" y="411"/>
                  </a:cubicBezTo>
                  <a:cubicBezTo>
                    <a:pt x="1386" y="389"/>
                    <a:pt x="1386" y="389"/>
                    <a:pt x="1386" y="389"/>
                  </a:cubicBezTo>
                  <a:cubicBezTo>
                    <a:pt x="1386" y="389"/>
                    <a:pt x="1377" y="388"/>
                    <a:pt x="1378" y="381"/>
                  </a:cubicBezTo>
                  <a:cubicBezTo>
                    <a:pt x="1379" y="374"/>
                    <a:pt x="1358" y="365"/>
                    <a:pt x="1358" y="365"/>
                  </a:cubicBezTo>
                  <a:cubicBezTo>
                    <a:pt x="1350" y="377"/>
                    <a:pt x="1350" y="377"/>
                    <a:pt x="1350" y="377"/>
                  </a:cubicBezTo>
                  <a:cubicBezTo>
                    <a:pt x="1350" y="377"/>
                    <a:pt x="1337" y="360"/>
                    <a:pt x="1327" y="350"/>
                  </a:cubicBezTo>
                  <a:cubicBezTo>
                    <a:pt x="1317" y="340"/>
                    <a:pt x="1290" y="342"/>
                    <a:pt x="1286" y="338"/>
                  </a:cubicBezTo>
                  <a:cubicBezTo>
                    <a:pt x="1282" y="334"/>
                    <a:pt x="1258" y="316"/>
                    <a:pt x="1258" y="316"/>
                  </a:cubicBezTo>
                  <a:cubicBezTo>
                    <a:pt x="1252" y="324"/>
                    <a:pt x="1252" y="324"/>
                    <a:pt x="1252" y="324"/>
                  </a:cubicBezTo>
                  <a:cubicBezTo>
                    <a:pt x="1252" y="324"/>
                    <a:pt x="1231" y="323"/>
                    <a:pt x="1221" y="322"/>
                  </a:cubicBezTo>
                  <a:cubicBezTo>
                    <a:pt x="1211" y="321"/>
                    <a:pt x="1203" y="356"/>
                    <a:pt x="1203" y="356"/>
                  </a:cubicBezTo>
                  <a:cubicBezTo>
                    <a:pt x="1210" y="368"/>
                    <a:pt x="1210" y="368"/>
                    <a:pt x="1210" y="368"/>
                  </a:cubicBezTo>
                  <a:cubicBezTo>
                    <a:pt x="1210" y="368"/>
                    <a:pt x="1196" y="369"/>
                    <a:pt x="1188" y="369"/>
                  </a:cubicBezTo>
                  <a:cubicBezTo>
                    <a:pt x="1180" y="369"/>
                    <a:pt x="1168" y="391"/>
                    <a:pt x="1168" y="391"/>
                  </a:cubicBezTo>
                  <a:cubicBezTo>
                    <a:pt x="1168" y="391"/>
                    <a:pt x="1161" y="424"/>
                    <a:pt x="1154" y="423"/>
                  </a:cubicBezTo>
                  <a:cubicBezTo>
                    <a:pt x="1147" y="422"/>
                    <a:pt x="1163" y="397"/>
                    <a:pt x="1160" y="386"/>
                  </a:cubicBezTo>
                  <a:cubicBezTo>
                    <a:pt x="1157" y="375"/>
                    <a:pt x="1137" y="396"/>
                    <a:pt x="1137" y="396"/>
                  </a:cubicBezTo>
                  <a:cubicBezTo>
                    <a:pt x="1130" y="390"/>
                    <a:pt x="1130" y="390"/>
                    <a:pt x="1130" y="390"/>
                  </a:cubicBezTo>
                  <a:cubicBezTo>
                    <a:pt x="1130" y="390"/>
                    <a:pt x="1109" y="395"/>
                    <a:pt x="1098" y="388"/>
                  </a:cubicBezTo>
                  <a:cubicBezTo>
                    <a:pt x="1087" y="381"/>
                    <a:pt x="1089" y="371"/>
                    <a:pt x="1089" y="358"/>
                  </a:cubicBezTo>
                  <a:cubicBezTo>
                    <a:pt x="1089" y="345"/>
                    <a:pt x="1084" y="337"/>
                    <a:pt x="1084" y="337"/>
                  </a:cubicBezTo>
                  <a:cubicBezTo>
                    <a:pt x="1077" y="330"/>
                    <a:pt x="1062" y="356"/>
                    <a:pt x="1062" y="356"/>
                  </a:cubicBezTo>
                  <a:cubicBezTo>
                    <a:pt x="1062" y="356"/>
                    <a:pt x="1041" y="371"/>
                    <a:pt x="1029" y="373"/>
                  </a:cubicBezTo>
                  <a:cubicBezTo>
                    <a:pt x="1017" y="375"/>
                    <a:pt x="1003" y="368"/>
                    <a:pt x="1003" y="368"/>
                  </a:cubicBezTo>
                  <a:cubicBezTo>
                    <a:pt x="1029" y="360"/>
                    <a:pt x="1029" y="360"/>
                    <a:pt x="1029" y="360"/>
                  </a:cubicBezTo>
                  <a:cubicBezTo>
                    <a:pt x="1029" y="360"/>
                    <a:pt x="1039" y="348"/>
                    <a:pt x="1042" y="343"/>
                  </a:cubicBezTo>
                  <a:cubicBezTo>
                    <a:pt x="1045" y="338"/>
                    <a:pt x="1044" y="326"/>
                    <a:pt x="1044" y="326"/>
                  </a:cubicBezTo>
                  <a:cubicBezTo>
                    <a:pt x="1044" y="326"/>
                    <a:pt x="1053" y="320"/>
                    <a:pt x="1057" y="308"/>
                  </a:cubicBezTo>
                  <a:cubicBezTo>
                    <a:pt x="1061" y="296"/>
                    <a:pt x="1085" y="277"/>
                    <a:pt x="1095" y="270"/>
                  </a:cubicBezTo>
                  <a:cubicBezTo>
                    <a:pt x="1105" y="263"/>
                    <a:pt x="1107" y="254"/>
                    <a:pt x="1111" y="245"/>
                  </a:cubicBezTo>
                  <a:cubicBezTo>
                    <a:pt x="1115" y="236"/>
                    <a:pt x="1136" y="223"/>
                    <a:pt x="1136" y="223"/>
                  </a:cubicBezTo>
                  <a:cubicBezTo>
                    <a:pt x="1123" y="221"/>
                    <a:pt x="1123" y="221"/>
                    <a:pt x="1123" y="221"/>
                  </a:cubicBezTo>
                  <a:cubicBezTo>
                    <a:pt x="1123" y="221"/>
                    <a:pt x="1135" y="215"/>
                    <a:pt x="1135" y="199"/>
                  </a:cubicBezTo>
                  <a:cubicBezTo>
                    <a:pt x="1135" y="183"/>
                    <a:pt x="1108" y="192"/>
                    <a:pt x="1098" y="181"/>
                  </a:cubicBezTo>
                  <a:cubicBezTo>
                    <a:pt x="1088" y="170"/>
                    <a:pt x="1088" y="147"/>
                    <a:pt x="1084" y="110"/>
                  </a:cubicBezTo>
                  <a:cubicBezTo>
                    <a:pt x="1080" y="73"/>
                    <a:pt x="1072" y="55"/>
                    <a:pt x="1063" y="52"/>
                  </a:cubicBezTo>
                  <a:cubicBezTo>
                    <a:pt x="1054" y="49"/>
                    <a:pt x="1060" y="68"/>
                    <a:pt x="1060" y="72"/>
                  </a:cubicBezTo>
                  <a:cubicBezTo>
                    <a:pt x="1060" y="76"/>
                    <a:pt x="1050" y="71"/>
                    <a:pt x="1048" y="66"/>
                  </a:cubicBezTo>
                  <a:cubicBezTo>
                    <a:pt x="1048" y="66"/>
                    <a:pt x="1043" y="83"/>
                    <a:pt x="1036" y="89"/>
                  </a:cubicBezTo>
                  <a:cubicBezTo>
                    <a:pt x="1029" y="95"/>
                    <a:pt x="1020" y="110"/>
                    <a:pt x="1017" y="120"/>
                  </a:cubicBezTo>
                  <a:cubicBezTo>
                    <a:pt x="1014" y="130"/>
                    <a:pt x="1013" y="149"/>
                    <a:pt x="996" y="163"/>
                  </a:cubicBezTo>
                  <a:cubicBezTo>
                    <a:pt x="996" y="163"/>
                    <a:pt x="981" y="169"/>
                    <a:pt x="975" y="169"/>
                  </a:cubicBezTo>
                  <a:cubicBezTo>
                    <a:pt x="975" y="168"/>
                    <a:pt x="971" y="160"/>
                    <a:pt x="971" y="160"/>
                  </a:cubicBezTo>
                  <a:cubicBezTo>
                    <a:pt x="967" y="165"/>
                    <a:pt x="967" y="165"/>
                    <a:pt x="967" y="165"/>
                  </a:cubicBezTo>
                  <a:cubicBezTo>
                    <a:pt x="957" y="163"/>
                    <a:pt x="957" y="163"/>
                    <a:pt x="957" y="163"/>
                  </a:cubicBezTo>
                  <a:cubicBezTo>
                    <a:pt x="957" y="163"/>
                    <a:pt x="953" y="155"/>
                    <a:pt x="947" y="161"/>
                  </a:cubicBezTo>
                  <a:cubicBezTo>
                    <a:pt x="941" y="167"/>
                    <a:pt x="943" y="173"/>
                    <a:pt x="929" y="172"/>
                  </a:cubicBezTo>
                  <a:cubicBezTo>
                    <a:pt x="915" y="171"/>
                    <a:pt x="913" y="161"/>
                    <a:pt x="913" y="161"/>
                  </a:cubicBezTo>
                  <a:cubicBezTo>
                    <a:pt x="900" y="155"/>
                    <a:pt x="900" y="155"/>
                    <a:pt x="900" y="155"/>
                  </a:cubicBezTo>
                  <a:cubicBezTo>
                    <a:pt x="900" y="155"/>
                    <a:pt x="896" y="144"/>
                    <a:pt x="888" y="145"/>
                  </a:cubicBezTo>
                  <a:cubicBezTo>
                    <a:pt x="880" y="146"/>
                    <a:pt x="871" y="157"/>
                    <a:pt x="871" y="157"/>
                  </a:cubicBezTo>
                  <a:cubicBezTo>
                    <a:pt x="853" y="157"/>
                    <a:pt x="853" y="157"/>
                    <a:pt x="853" y="157"/>
                  </a:cubicBezTo>
                  <a:cubicBezTo>
                    <a:pt x="853" y="157"/>
                    <a:pt x="854" y="148"/>
                    <a:pt x="848" y="149"/>
                  </a:cubicBezTo>
                  <a:cubicBezTo>
                    <a:pt x="842" y="150"/>
                    <a:pt x="838" y="160"/>
                    <a:pt x="841" y="166"/>
                  </a:cubicBezTo>
                  <a:cubicBezTo>
                    <a:pt x="844" y="172"/>
                    <a:pt x="858" y="182"/>
                    <a:pt x="849" y="186"/>
                  </a:cubicBezTo>
                  <a:cubicBezTo>
                    <a:pt x="840" y="190"/>
                    <a:pt x="811" y="174"/>
                    <a:pt x="811" y="174"/>
                  </a:cubicBezTo>
                  <a:cubicBezTo>
                    <a:pt x="811" y="174"/>
                    <a:pt x="815" y="181"/>
                    <a:pt x="807" y="183"/>
                  </a:cubicBezTo>
                  <a:cubicBezTo>
                    <a:pt x="799" y="185"/>
                    <a:pt x="797" y="174"/>
                    <a:pt x="787" y="175"/>
                  </a:cubicBezTo>
                  <a:cubicBezTo>
                    <a:pt x="777" y="176"/>
                    <a:pt x="773" y="192"/>
                    <a:pt x="773" y="192"/>
                  </a:cubicBezTo>
                  <a:cubicBezTo>
                    <a:pt x="752" y="193"/>
                    <a:pt x="752" y="193"/>
                    <a:pt x="752" y="193"/>
                  </a:cubicBezTo>
                  <a:cubicBezTo>
                    <a:pt x="751" y="201"/>
                    <a:pt x="751" y="201"/>
                    <a:pt x="751" y="201"/>
                  </a:cubicBezTo>
                  <a:cubicBezTo>
                    <a:pt x="751" y="201"/>
                    <a:pt x="739" y="198"/>
                    <a:pt x="733" y="202"/>
                  </a:cubicBezTo>
                  <a:cubicBezTo>
                    <a:pt x="727" y="206"/>
                    <a:pt x="732" y="219"/>
                    <a:pt x="722" y="220"/>
                  </a:cubicBezTo>
                  <a:cubicBezTo>
                    <a:pt x="712" y="221"/>
                    <a:pt x="702" y="221"/>
                    <a:pt x="702" y="221"/>
                  </a:cubicBezTo>
                  <a:cubicBezTo>
                    <a:pt x="698" y="210"/>
                    <a:pt x="698" y="210"/>
                    <a:pt x="698" y="210"/>
                  </a:cubicBezTo>
                  <a:cubicBezTo>
                    <a:pt x="689" y="210"/>
                    <a:pt x="689" y="210"/>
                    <a:pt x="689" y="210"/>
                  </a:cubicBezTo>
                  <a:cubicBezTo>
                    <a:pt x="668" y="186"/>
                    <a:pt x="668" y="186"/>
                    <a:pt x="668" y="186"/>
                  </a:cubicBezTo>
                  <a:cubicBezTo>
                    <a:pt x="668" y="186"/>
                    <a:pt x="668" y="174"/>
                    <a:pt x="668" y="166"/>
                  </a:cubicBezTo>
                  <a:cubicBezTo>
                    <a:pt x="668" y="158"/>
                    <a:pt x="651" y="155"/>
                    <a:pt x="651" y="145"/>
                  </a:cubicBezTo>
                  <a:cubicBezTo>
                    <a:pt x="651" y="135"/>
                    <a:pt x="659" y="119"/>
                    <a:pt x="659" y="119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664" y="91"/>
                    <a:pt x="677" y="79"/>
                    <a:pt x="678" y="73"/>
                  </a:cubicBezTo>
                  <a:cubicBezTo>
                    <a:pt x="679" y="67"/>
                    <a:pt x="670" y="63"/>
                    <a:pt x="670" y="63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44"/>
                    <a:pt x="649" y="50"/>
                    <a:pt x="649" y="41"/>
                  </a:cubicBezTo>
                  <a:cubicBezTo>
                    <a:pt x="649" y="41"/>
                    <a:pt x="661" y="29"/>
                    <a:pt x="658" y="15"/>
                  </a:cubicBezTo>
                  <a:cubicBezTo>
                    <a:pt x="655" y="1"/>
                    <a:pt x="646" y="0"/>
                    <a:pt x="646" y="0"/>
                  </a:cubicBezTo>
                  <a:cubicBezTo>
                    <a:pt x="641" y="7"/>
                    <a:pt x="641" y="7"/>
                    <a:pt x="641" y="7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5" y="5"/>
                    <a:pt x="631" y="19"/>
                    <a:pt x="627" y="26"/>
                  </a:cubicBezTo>
                  <a:cubicBezTo>
                    <a:pt x="623" y="33"/>
                    <a:pt x="612" y="31"/>
                    <a:pt x="612" y="31"/>
                  </a:cubicBezTo>
                  <a:cubicBezTo>
                    <a:pt x="614" y="41"/>
                    <a:pt x="614" y="41"/>
                    <a:pt x="614" y="41"/>
                  </a:cubicBezTo>
                  <a:cubicBezTo>
                    <a:pt x="596" y="40"/>
                    <a:pt x="596" y="40"/>
                    <a:pt x="596" y="40"/>
                  </a:cubicBezTo>
                  <a:cubicBezTo>
                    <a:pt x="596" y="40"/>
                    <a:pt x="584" y="45"/>
                    <a:pt x="582" y="51"/>
                  </a:cubicBezTo>
                  <a:cubicBezTo>
                    <a:pt x="580" y="57"/>
                    <a:pt x="566" y="64"/>
                    <a:pt x="559" y="64"/>
                  </a:cubicBezTo>
                  <a:cubicBezTo>
                    <a:pt x="552" y="64"/>
                    <a:pt x="546" y="56"/>
                    <a:pt x="538" y="59"/>
                  </a:cubicBezTo>
                  <a:cubicBezTo>
                    <a:pt x="530" y="62"/>
                    <a:pt x="533" y="96"/>
                    <a:pt x="524" y="96"/>
                  </a:cubicBezTo>
                  <a:cubicBezTo>
                    <a:pt x="515" y="96"/>
                    <a:pt x="504" y="77"/>
                    <a:pt x="500" y="73"/>
                  </a:cubicBezTo>
                  <a:cubicBezTo>
                    <a:pt x="496" y="69"/>
                    <a:pt x="491" y="77"/>
                    <a:pt x="491" y="77"/>
                  </a:cubicBezTo>
                  <a:cubicBezTo>
                    <a:pt x="481" y="71"/>
                    <a:pt x="481" y="71"/>
                    <a:pt x="481" y="71"/>
                  </a:cubicBezTo>
                  <a:cubicBezTo>
                    <a:pt x="481" y="71"/>
                    <a:pt x="469" y="79"/>
                    <a:pt x="467" y="76"/>
                  </a:cubicBezTo>
                  <a:cubicBezTo>
                    <a:pt x="465" y="73"/>
                    <a:pt x="471" y="64"/>
                    <a:pt x="460" y="60"/>
                  </a:cubicBezTo>
                  <a:cubicBezTo>
                    <a:pt x="449" y="56"/>
                    <a:pt x="440" y="64"/>
                    <a:pt x="437" y="61"/>
                  </a:cubicBezTo>
                  <a:cubicBezTo>
                    <a:pt x="434" y="58"/>
                    <a:pt x="431" y="52"/>
                    <a:pt x="431" y="52"/>
                  </a:cubicBezTo>
                  <a:cubicBezTo>
                    <a:pt x="431" y="52"/>
                    <a:pt x="421" y="71"/>
                    <a:pt x="443" y="82"/>
                  </a:cubicBezTo>
                  <a:cubicBezTo>
                    <a:pt x="465" y="93"/>
                    <a:pt x="450" y="117"/>
                    <a:pt x="450" y="117"/>
                  </a:cubicBezTo>
                  <a:cubicBezTo>
                    <a:pt x="450" y="117"/>
                    <a:pt x="463" y="128"/>
                    <a:pt x="463" y="135"/>
                  </a:cubicBezTo>
                  <a:cubicBezTo>
                    <a:pt x="463" y="142"/>
                    <a:pt x="463" y="151"/>
                    <a:pt x="463" y="151"/>
                  </a:cubicBezTo>
                  <a:cubicBezTo>
                    <a:pt x="493" y="154"/>
                    <a:pt x="493" y="154"/>
                    <a:pt x="493" y="154"/>
                  </a:cubicBezTo>
                  <a:cubicBezTo>
                    <a:pt x="493" y="154"/>
                    <a:pt x="500" y="168"/>
                    <a:pt x="488" y="174"/>
                  </a:cubicBezTo>
                  <a:cubicBezTo>
                    <a:pt x="476" y="180"/>
                    <a:pt x="463" y="177"/>
                    <a:pt x="463" y="177"/>
                  </a:cubicBezTo>
                  <a:cubicBezTo>
                    <a:pt x="463" y="177"/>
                    <a:pt x="464" y="202"/>
                    <a:pt x="451" y="206"/>
                  </a:cubicBezTo>
                  <a:cubicBezTo>
                    <a:pt x="438" y="210"/>
                    <a:pt x="433" y="214"/>
                    <a:pt x="433" y="214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31" y="220"/>
                    <a:pt x="419" y="218"/>
                    <a:pt x="413" y="222"/>
                  </a:cubicBezTo>
                  <a:cubicBezTo>
                    <a:pt x="407" y="226"/>
                    <a:pt x="401" y="251"/>
                    <a:pt x="393" y="251"/>
                  </a:cubicBezTo>
                  <a:cubicBezTo>
                    <a:pt x="385" y="251"/>
                    <a:pt x="396" y="234"/>
                    <a:pt x="387" y="232"/>
                  </a:cubicBezTo>
                  <a:cubicBezTo>
                    <a:pt x="378" y="230"/>
                    <a:pt x="367" y="252"/>
                    <a:pt x="357" y="246"/>
                  </a:cubicBezTo>
                  <a:cubicBezTo>
                    <a:pt x="357" y="246"/>
                    <a:pt x="345" y="244"/>
                    <a:pt x="341" y="239"/>
                  </a:cubicBezTo>
                  <a:cubicBezTo>
                    <a:pt x="337" y="234"/>
                    <a:pt x="330" y="221"/>
                    <a:pt x="330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3" y="221"/>
                    <a:pt x="313" y="193"/>
                    <a:pt x="311" y="187"/>
                  </a:cubicBezTo>
                  <a:cubicBezTo>
                    <a:pt x="309" y="181"/>
                    <a:pt x="306" y="180"/>
                    <a:pt x="306" y="180"/>
                  </a:cubicBezTo>
                  <a:cubicBezTo>
                    <a:pt x="306" y="180"/>
                    <a:pt x="311" y="173"/>
                    <a:pt x="304" y="170"/>
                  </a:cubicBezTo>
                  <a:cubicBezTo>
                    <a:pt x="297" y="167"/>
                    <a:pt x="288" y="190"/>
                    <a:pt x="282" y="191"/>
                  </a:cubicBezTo>
                  <a:cubicBezTo>
                    <a:pt x="276" y="192"/>
                    <a:pt x="271" y="176"/>
                    <a:pt x="265" y="176"/>
                  </a:cubicBezTo>
                  <a:cubicBezTo>
                    <a:pt x="259" y="176"/>
                    <a:pt x="259" y="193"/>
                    <a:pt x="259" y="193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5" y="197"/>
                    <a:pt x="201" y="184"/>
                    <a:pt x="192" y="189"/>
                  </a:cubicBezTo>
                  <a:cubicBezTo>
                    <a:pt x="183" y="194"/>
                    <a:pt x="191" y="223"/>
                    <a:pt x="191" y="223"/>
                  </a:cubicBezTo>
                  <a:cubicBezTo>
                    <a:pt x="207" y="230"/>
                    <a:pt x="207" y="230"/>
                    <a:pt x="207" y="230"/>
                  </a:cubicBezTo>
                  <a:cubicBezTo>
                    <a:pt x="214" y="228"/>
                    <a:pt x="214" y="228"/>
                    <a:pt x="214" y="228"/>
                  </a:cubicBezTo>
                  <a:cubicBezTo>
                    <a:pt x="214" y="228"/>
                    <a:pt x="233" y="248"/>
                    <a:pt x="220" y="250"/>
                  </a:cubicBezTo>
                  <a:cubicBezTo>
                    <a:pt x="207" y="252"/>
                    <a:pt x="198" y="248"/>
                    <a:pt x="198" y="248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74" y="295"/>
                    <a:pt x="195" y="304"/>
                    <a:pt x="197" y="313"/>
                  </a:cubicBezTo>
                  <a:cubicBezTo>
                    <a:pt x="199" y="322"/>
                    <a:pt x="200" y="334"/>
                    <a:pt x="200" y="334"/>
                  </a:cubicBezTo>
                  <a:cubicBezTo>
                    <a:pt x="200" y="334"/>
                    <a:pt x="214" y="349"/>
                    <a:pt x="213" y="356"/>
                  </a:cubicBezTo>
                  <a:cubicBezTo>
                    <a:pt x="212" y="363"/>
                    <a:pt x="202" y="374"/>
                    <a:pt x="202" y="37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193" y="438"/>
                    <a:pt x="193" y="438"/>
                    <a:pt x="193" y="438"/>
                  </a:cubicBezTo>
                  <a:cubicBezTo>
                    <a:pt x="191" y="488"/>
                    <a:pt x="191" y="488"/>
                    <a:pt x="191" y="488"/>
                  </a:cubicBezTo>
                  <a:cubicBezTo>
                    <a:pt x="191" y="488"/>
                    <a:pt x="188" y="515"/>
                    <a:pt x="183" y="518"/>
                  </a:cubicBezTo>
                  <a:cubicBezTo>
                    <a:pt x="178" y="521"/>
                    <a:pt x="171" y="518"/>
                    <a:pt x="171" y="518"/>
                  </a:cubicBezTo>
                  <a:cubicBezTo>
                    <a:pt x="171" y="518"/>
                    <a:pt x="167" y="505"/>
                    <a:pt x="157" y="506"/>
                  </a:cubicBezTo>
                  <a:cubicBezTo>
                    <a:pt x="147" y="507"/>
                    <a:pt x="136" y="522"/>
                    <a:pt x="136" y="522"/>
                  </a:cubicBezTo>
                  <a:cubicBezTo>
                    <a:pt x="117" y="519"/>
                    <a:pt x="117" y="519"/>
                    <a:pt x="117" y="519"/>
                  </a:cubicBezTo>
                  <a:cubicBezTo>
                    <a:pt x="115" y="526"/>
                    <a:pt x="115" y="526"/>
                    <a:pt x="115" y="526"/>
                  </a:cubicBezTo>
                  <a:cubicBezTo>
                    <a:pt x="94" y="526"/>
                    <a:pt x="94" y="526"/>
                    <a:pt x="94" y="526"/>
                  </a:cubicBezTo>
                  <a:cubicBezTo>
                    <a:pt x="94" y="526"/>
                    <a:pt x="68" y="543"/>
                    <a:pt x="66" y="547"/>
                  </a:cubicBezTo>
                  <a:cubicBezTo>
                    <a:pt x="64" y="551"/>
                    <a:pt x="63" y="559"/>
                    <a:pt x="63" y="559"/>
                  </a:cubicBezTo>
                  <a:cubicBezTo>
                    <a:pt x="47" y="559"/>
                    <a:pt x="47" y="559"/>
                    <a:pt x="47" y="559"/>
                  </a:cubicBezTo>
                  <a:cubicBezTo>
                    <a:pt x="46" y="597"/>
                    <a:pt x="46" y="597"/>
                    <a:pt x="46" y="597"/>
                  </a:cubicBezTo>
                  <a:cubicBezTo>
                    <a:pt x="46" y="597"/>
                    <a:pt x="31" y="606"/>
                    <a:pt x="33" y="613"/>
                  </a:cubicBezTo>
                  <a:cubicBezTo>
                    <a:pt x="35" y="620"/>
                    <a:pt x="45" y="645"/>
                    <a:pt x="39" y="636"/>
                  </a:cubicBezTo>
                  <a:cubicBezTo>
                    <a:pt x="33" y="627"/>
                    <a:pt x="20" y="644"/>
                    <a:pt x="12" y="652"/>
                  </a:cubicBezTo>
                  <a:cubicBezTo>
                    <a:pt x="4" y="660"/>
                    <a:pt x="9" y="674"/>
                    <a:pt x="9" y="674"/>
                  </a:cubicBezTo>
                  <a:cubicBezTo>
                    <a:pt x="15" y="678"/>
                    <a:pt x="15" y="678"/>
                    <a:pt x="15" y="678"/>
                  </a:cubicBezTo>
                  <a:cubicBezTo>
                    <a:pt x="15" y="678"/>
                    <a:pt x="0" y="686"/>
                    <a:pt x="0" y="691"/>
                  </a:cubicBezTo>
                  <a:cubicBezTo>
                    <a:pt x="0" y="696"/>
                    <a:pt x="15" y="702"/>
                    <a:pt x="15" y="702"/>
                  </a:cubicBezTo>
                  <a:cubicBezTo>
                    <a:pt x="17" y="720"/>
                    <a:pt x="17" y="720"/>
                    <a:pt x="17" y="720"/>
                  </a:cubicBezTo>
                  <a:cubicBezTo>
                    <a:pt x="17" y="720"/>
                    <a:pt x="30" y="741"/>
                    <a:pt x="35" y="747"/>
                  </a:cubicBezTo>
                  <a:cubicBezTo>
                    <a:pt x="40" y="753"/>
                    <a:pt x="62" y="768"/>
                    <a:pt x="60" y="773"/>
                  </a:cubicBezTo>
                  <a:cubicBezTo>
                    <a:pt x="58" y="778"/>
                    <a:pt x="43" y="791"/>
                    <a:pt x="43" y="791"/>
                  </a:cubicBezTo>
                  <a:cubicBezTo>
                    <a:pt x="43" y="791"/>
                    <a:pt x="79" y="790"/>
                    <a:pt x="82" y="797"/>
                  </a:cubicBezTo>
                  <a:cubicBezTo>
                    <a:pt x="85" y="804"/>
                    <a:pt x="93" y="823"/>
                    <a:pt x="93" y="823"/>
                  </a:cubicBezTo>
                  <a:cubicBezTo>
                    <a:pt x="135" y="819"/>
                    <a:pt x="135" y="819"/>
                    <a:pt x="135" y="819"/>
                  </a:cubicBezTo>
                  <a:cubicBezTo>
                    <a:pt x="169" y="789"/>
                    <a:pt x="169" y="789"/>
                    <a:pt x="169" y="789"/>
                  </a:cubicBezTo>
                  <a:cubicBezTo>
                    <a:pt x="169" y="789"/>
                    <a:pt x="174" y="812"/>
                    <a:pt x="172" y="816"/>
                  </a:cubicBezTo>
                  <a:cubicBezTo>
                    <a:pt x="170" y="820"/>
                    <a:pt x="165" y="834"/>
                    <a:pt x="167" y="844"/>
                  </a:cubicBezTo>
                  <a:cubicBezTo>
                    <a:pt x="169" y="854"/>
                    <a:pt x="170" y="874"/>
                    <a:pt x="170" y="874"/>
                  </a:cubicBezTo>
                  <a:cubicBezTo>
                    <a:pt x="177" y="873"/>
                    <a:pt x="177" y="873"/>
                    <a:pt x="177" y="873"/>
                  </a:cubicBezTo>
                  <a:cubicBezTo>
                    <a:pt x="177" y="873"/>
                    <a:pt x="177" y="881"/>
                    <a:pt x="185" y="881"/>
                  </a:cubicBezTo>
                  <a:cubicBezTo>
                    <a:pt x="193" y="881"/>
                    <a:pt x="189" y="872"/>
                    <a:pt x="200" y="872"/>
                  </a:cubicBezTo>
                  <a:cubicBezTo>
                    <a:pt x="211" y="872"/>
                    <a:pt x="246" y="875"/>
                    <a:pt x="246" y="875"/>
                  </a:cubicBezTo>
                  <a:cubicBezTo>
                    <a:pt x="246" y="875"/>
                    <a:pt x="249" y="886"/>
                    <a:pt x="262" y="883"/>
                  </a:cubicBezTo>
                  <a:cubicBezTo>
                    <a:pt x="275" y="880"/>
                    <a:pt x="283" y="871"/>
                    <a:pt x="283" y="871"/>
                  </a:cubicBezTo>
                  <a:cubicBezTo>
                    <a:pt x="288" y="859"/>
                    <a:pt x="288" y="859"/>
                    <a:pt x="288" y="859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16" y="840"/>
                    <a:pt x="316" y="840"/>
                    <a:pt x="316" y="840"/>
                  </a:cubicBezTo>
                  <a:cubicBezTo>
                    <a:pt x="340" y="841"/>
                    <a:pt x="340" y="841"/>
                    <a:pt x="340" y="841"/>
                  </a:cubicBezTo>
                  <a:cubicBezTo>
                    <a:pt x="340" y="841"/>
                    <a:pt x="350" y="815"/>
                    <a:pt x="363" y="815"/>
                  </a:cubicBezTo>
                  <a:cubicBezTo>
                    <a:pt x="376" y="815"/>
                    <a:pt x="386" y="816"/>
                    <a:pt x="386" y="816"/>
                  </a:cubicBezTo>
                  <a:cubicBezTo>
                    <a:pt x="395" y="808"/>
                    <a:pt x="395" y="808"/>
                    <a:pt x="395" y="808"/>
                  </a:cubicBezTo>
                  <a:cubicBezTo>
                    <a:pt x="395" y="808"/>
                    <a:pt x="404" y="818"/>
                    <a:pt x="405" y="814"/>
                  </a:cubicBezTo>
                  <a:cubicBezTo>
                    <a:pt x="406" y="810"/>
                    <a:pt x="419" y="802"/>
                    <a:pt x="423" y="806"/>
                  </a:cubicBezTo>
                  <a:cubicBezTo>
                    <a:pt x="427" y="810"/>
                    <a:pt x="419" y="837"/>
                    <a:pt x="419" y="837"/>
                  </a:cubicBezTo>
                  <a:cubicBezTo>
                    <a:pt x="419" y="837"/>
                    <a:pt x="411" y="850"/>
                    <a:pt x="412" y="854"/>
                  </a:cubicBezTo>
                  <a:cubicBezTo>
                    <a:pt x="413" y="858"/>
                    <a:pt x="422" y="866"/>
                    <a:pt x="422" y="875"/>
                  </a:cubicBezTo>
                  <a:cubicBezTo>
                    <a:pt x="422" y="884"/>
                    <a:pt x="415" y="890"/>
                    <a:pt x="422" y="899"/>
                  </a:cubicBezTo>
                  <a:cubicBezTo>
                    <a:pt x="429" y="908"/>
                    <a:pt x="436" y="912"/>
                    <a:pt x="436" y="912"/>
                  </a:cubicBezTo>
                  <a:cubicBezTo>
                    <a:pt x="442" y="932"/>
                    <a:pt x="442" y="932"/>
                    <a:pt x="442" y="932"/>
                  </a:cubicBezTo>
                  <a:cubicBezTo>
                    <a:pt x="442" y="932"/>
                    <a:pt x="458" y="930"/>
                    <a:pt x="461" y="935"/>
                  </a:cubicBezTo>
                  <a:cubicBezTo>
                    <a:pt x="464" y="940"/>
                    <a:pt x="460" y="951"/>
                    <a:pt x="470" y="955"/>
                  </a:cubicBezTo>
                  <a:cubicBezTo>
                    <a:pt x="480" y="959"/>
                    <a:pt x="484" y="959"/>
                    <a:pt x="488" y="960"/>
                  </a:cubicBezTo>
                  <a:cubicBezTo>
                    <a:pt x="492" y="961"/>
                    <a:pt x="502" y="954"/>
                    <a:pt x="502" y="954"/>
                  </a:cubicBezTo>
                  <a:cubicBezTo>
                    <a:pt x="502" y="954"/>
                    <a:pt x="508" y="968"/>
                    <a:pt x="516" y="968"/>
                  </a:cubicBezTo>
                  <a:cubicBezTo>
                    <a:pt x="524" y="968"/>
                    <a:pt x="531" y="961"/>
                    <a:pt x="532" y="965"/>
                  </a:cubicBezTo>
                  <a:cubicBezTo>
                    <a:pt x="533" y="969"/>
                    <a:pt x="541" y="981"/>
                    <a:pt x="552" y="986"/>
                  </a:cubicBezTo>
                  <a:cubicBezTo>
                    <a:pt x="563" y="991"/>
                    <a:pt x="579" y="992"/>
                    <a:pt x="579" y="992"/>
                  </a:cubicBezTo>
                  <a:cubicBezTo>
                    <a:pt x="579" y="992"/>
                    <a:pt x="588" y="1012"/>
                    <a:pt x="598" y="1013"/>
                  </a:cubicBezTo>
                  <a:cubicBezTo>
                    <a:pt x="608" y="1014"/>
                    <a:pt x="619" y="1009"/>
                    <a:pt x="630" y="1011"/>
                  </a:cubicBezTo>
                  <a:cubicBezTo>
                    <a:pt x="641" y="1013"/>
                    <a:pt x="661" y="1022"/>
                    <a:pt x="662" y="1032"/>
                  </a:cubicBezTo>
                  <a:cubicBezTo>
                    <a:pt x="663" y="1042"/>
                    <a:pt x="658" y="1045"/>
                    <a:pt x="662" y="1052"/>
                  </a:cubicBezTo>
                  <a:cubicBezTo>
                    <a:pt x="666" y="1059"/>
                    <a:pt x="673" y="1071"/>
                    <a:pt x="673" y="1071"/>
                  </a:cubicBezTo>
                  <a:cubicBezTo>
                    <a:pt x="675" y="1092"/>
                    <a:pt x="675" y="1092"/>
                    <a:pt x="675" y="1092"/>
                  </a:cubicBezTo>
                  <a:cubicBezTo>
                    <a:pt x="675" y="1092"/>
                    <a:pt x="660" y="1090"/>
                    <a:pt x="662" y="1096"/>
                  </a:cubicBezTo>
                  <a:cubicBezTo>
                    <a:pt x="664" y="1102"/>
                    <a:pt x="680" y="1116"/>
                    <a:pt x="680" y="1116"/>
                  </a:cubicBezTo>
                  <a:cubicBezTo>
                    <a:pt x="680" y="1116"/>
                    <a:pt x="670" y="1147"/>
                    <a:pt x="683" y="1156"/>
                  </a:cubicBezTo>
                  <a:cubicBezTo>
                    <a:pt x="696" y="1165"/>
                    <a:pt x="773" y="1163"/>
                    <a:pt x="773" y="1163"/>
                  </a:cubicBezTo>
                  <a:cubicBezTo>
                    <a:pt x="773" y="1163"/>
                    <a:pt x="762" y="1197"/>
                    <a:pt x="769" y="1206"/>
                  </a:cubicBezTo>
                  <a:cubicBezTo>
                    <a:pt x="776" y="1215"/>
                    <a:pt x="785" y="1216"/>
                    <a:pt x="796" y="1223"/>
                  </a:cubicBezTo>
                  <a:cubicBezTo>
                    <a:pt x="807" y="1230"/>
                    <a:pt x="816" y="1248"/>
                    <a:pt x="816" y="1262"/>
                  </a:cubicBezTo>
                  <a:cubicBezTo>
                    <a:pt x="816" y="1276"/>
                    <a:pt x="811" y="1302"/>
                    <a:pt x="811" y="1302"/>
                  </a:cubicBezTo>
                  <a:cubicBezTo>
                    <a:pt x="815" y="1310"/>
                    <a:pt x="815" y="1310"/>
                    <a:pt x="815" y="1310"/>
                  </a:cubicBezTo>
                  <a:cubicBezTo>
                    <a:pt x="815" y="1310"/>
                    <a:pt x="798" y="1337"/>
                    <a:pt x="800" y="1342"/>
                  </a:cubicBezTo>
                  <a:cubicBezTo>
                    <a:pt x="802" y="1347"/>
                    <a:pt x="814" y="1357"/>
                    <a:pt x="814" y="1357"/>
                  </a:cubicBezTo>
                  <a:cubicBezTo>
                    <a:pt x="814" y="1357"/>
                    <a:pt x="799" y="1365"/>
                    <a:pt x="799" y="1371"/>
                  </a:cubicBezTo>
                  <a:cubicBezTo>
                    <a:pt x="799" y="1377"/>
                    <a:pt x="808" y="1379"/>
                    <a:pt x="810" y="1386"/>
                  </a:cubicBezTo>
                  <a:cubicBezTo>
                    <a:pt x="812" y="1393"/>
                    <a:pt x="806" y="1402"/>
                    <a:pt x="810" y="1406"/>
                  </a:cubicBezTo>
                  <a:cubicBezTo>
                    <a:pt x="814" y="1410"/>
                    <a:pt x="819" y="1405"/>
                    <a:pt x="819" y="1414"/>
                  </a:cubicBezTo>
                  <a:cubicBezTo>
                    <a:pt x="819" y="1423"/>
                    <a:pt x="804" y="1459"/>
                    <a:pt x="820" y="1468"/>
                  </a:cubicBezTo>
                  <a:cubicBezTo>
                    <a:pt x="836" y="1477"/>
                    <a:pt x="880" y="1484"/>
                    <a:pt x="895" y="1481"/>
                  </a:cubicBezTo>
                  <a:cubicBezTo>
                    <a:pt x="910" y="1478"/>
                    <a:pt x="928" y="1478"/>
                    <a:pt x="932" y="1486"/>
                  </a:cubicBezTo>
                  <a:cubicBezTo>
                    <a:pt x="936" y="1494"/>
                    <a:pt x="932" y="1511"/>
                    <a:pt x="937" y="1531"/>
                  </a:cubicBezTo>
                  <a:cubicBezTo>
                    <a:pt x="942" y="1551"/>
                    <a:pt x="946" y="1572"/>
                    <a:pt x="957" y="1574"/>
                  </a:cubicBezTo>
                  <a:cubicBezTo>
                    <a:pt x="968" y="1576"/>
                    <a:pt x="972" y="1560"/>
                    <a:pt x="987" y="1564"/>
                  </a:cubicBezTo>
                  <a:cubicBezTo>
                    <a:pt x="1002" y="1568"/>
                    <a:pt x="1006" y="1576"/>
                    <a:pt x="1004" y="1596"/>
                  </a:cubicBezTo>
                  <a:cubicBezTo>
                    <a:pt x="1002" y="1616"/>
                    <a:pt x="1000" y="1626"/>
                    <a:pt x="998" y="1631"/>
                  </a:cubicBezTo>
                  <a:cubicBezTo>
                    <a:pt x="996" y="1636"/>
                    <a:pt x="995" y="1651"/>
                    <a:pt x="995" y="1651"/>
                  </a:cubicBezTo>
                  <a:cubicBezTo>
                    <a:pt x="998" y="1664"/>
                    <a:pt x="998" y="1664"/>
                    <a:pt x="998" y="1664"/>
                  </a:cubicBezTo>
                  <a:cubicBezTo>
                    <a:pt x="998" y="1664"/>
                    <a:pt x="1014" y="1653"/>
                    <a:pt x="1021" y="1657"/>
                  </a:cubicBezTo>
                  <a:cubicBezTo>
                    <a:pt x="1028" y="1661"/>
                    <a:pt x="1032" y="1682"/>
                    <a:pt x="1032" y="1682"/>
                  </a:cubicBezTo>
                  <a:cubicBezTo>
                    <a:pt x="1032" y="1682"/>
                    <a:pt x="1043" y="1681"/>
                    <a:pt x="1043" y="1690"/>
                  </a:cubicBezTo>
                  <a:cubicBezTo>
                    <a:pt x="1043" y="1699"/>
                    <a:pt x="1051" y="1737"/>
                    <a:pt x="1045" y="1743"/>
                  </a:cubicBezTo>
                  <a:cubicBezTo>
                    <a:pt x="1039" y="1749"/>
                    <a:pt x="1022" y="1751"/>
                    <a:pt x="1011" y="1756"/>
                  </a:cubicBezTo>
                  <a:cubicBezTo>
                    <a:pt x="1000" y="1761"/>
                    <a:pt x="1000" y="1779"/>
                    <a:pt x="1000" y="1779"/>
                  </a:cubicBezTo>
                  <a:cubicBezTo>
                    <a:pt x="979" y="1781"/>
                    <a:pt x="979" y="1781"/>
                    <a:pt x="979" y="1781"/>
                  </a:cubicBezTo>
                  <a:cubicBezTo>
                    <a:pt x="978" y="1792"/>
                    <a:pt x="978" y="1792"/>
                    <a:pt x="978" y="1792"/>
                  </a:cubicBezTo>
                  <a:cubicBezTo>
                    <a:pt x="972" y="1794"/>
                    <a:pt x="972" y="1794"/>
                    <a:pt x="972" y="1794"/>
                  </a:cubicBezTo>
                  <a:cubicBezTo>
                    <a:pt x="969" y="1810"/>
                    <a:pt x="969" y="1810"/>
                    <a:pt x="969" y="1810"/>
                  </a:cubicBezTo>
                  <a:cubicBezTo>
                    <a:pt x="953" y="1814"/>
                    <a:pt x="953" y="1814"/>
                    <a:pt x="953" y="1814"/>
                  </a:cubicBezTo>
                  <a:cubicBezTo>
                    <a:pt x="953" y="1814"/>
                    <a:pt x="950" y="1837"/>
                    <a:pt x="945" y="1842"/>
                  </a:cubicBezTo>
                  <a:cubicBezTo>
                    <a:pt x="940" y="1847"/>
                    <a:pt x="931" y="1852"/>
                    <a:pt x="931" y="1855"/>
                  </a:cubicBezTo>
                  <a:cubicBezTo>
                    <a:pt x="931" y="1858"/>
                    <a:pt x="928" y="1873"/>
                    <a:pt x="923" y="1878"/>
                  </a:cubicBezTo>
                  <a:cubicBezTo>
                    <a:pt x="918" y="1883"/>
                    <a:pt x="903" y="1882"/>
                    <a:pt x="903" y="1888"/>
                  </a:cubicBezTo>
                  <a:cubicBezTo>
                    <a:pt x="903" y="1894"/>
                    <a:pt x="899" y="1911"/>
                    <a:pt x="899" y="1911"/>
                  </a:cubicBezTo>
                  <a:cubicBezTo>
                    <a:pt x="915" y="1912"/>
                    <a:pt x="915" y="1912"/>
                    <a:pt x="915" y="1912"/>
                  </a:cubicBezTo>
                  <a:cubicBezTo>
                    <a:pt x="915" y="1912"/>
                    <a:pt x="921" y="1902"/>
                    <a:pt x="933" y="1904"/>
                  </a:cubicBezTo>
                  <a:cubicBezTo>
                    <a:pt x="945" y="1906"/>
                    <a:pt x="970" y="1933"/>
                    <a:pt x="970" y="1933"/>
                  </a:cubicBezTo>
                  <a:cubicBezTo>
                    <a:pt x="970" y="1933"/>
                    <a:pt x="980" y="1956"/>
                    <a:pt x="986" y="1956"/>
                  </a:cubicBezTo>
                  <a:cubicBezTo>
                    <a:pt x="992" y="1956"/>
                    <a:pt x="991" y="1942"/>
                    <a:pt x="1001" y="1945"/>
                  </a:cubicBezTo>
                  <a:cubicBezTo>
                    <a:pt x="1011" y="1948"/>
                    <a:pt x="1020" y="1964"/>
                    <a:pt x="1025" y="1967"/>
                  </a:cubicBezTo>
                  <a:cubicBezTo>
                    <a:pt x="1030" y="1970"/>
                    <a:pt x="1037" y="1969"/>
                    <a:pt x="1037" y="1969"/>
                  </a:cubicBezTo>
                  <a:cubicBezTo>
                    <a:pt x="1037" y="1969"/>
                    <a:pt x="1045" y="1976"/>
                    <a:pt x="1049" y="1978"/>
                  </a:cubicBezTo>
                  <a:cubicBezTo>
                    <a:pt x="1053" y="1980"/>
                    <a:pt x="1055" y="1993"/>
                    <a:pt x="1067" y="1997"/>
                  </a:cubicBezTo>
                  <a:cubicBezTo>
                    <a:pt x="1079" y="2001"/>
                    <a:pt x="1086" y="2000"/>
                    <a:pt x="1086" y="2000"/>
                  </a:cubicBezTo>
                  <a:cubicBezTo>
                    <a:pt x="1086" y="2000"/>
                    <a:pt x="1096" y="2024"/>
                    <a:pt x="1104" y="2029"/>
                  </a:cubicBezTo>
                  <a:cubicBezTo>
                    <a:pt x="1112" y="2034"/>
                    <a:pt x="1131" y="2033"/>
                    <a:pt x="1126" y="2042"/>
                  </a:cubicBezTo>
                  <a:cubicBezTo>
                    <a:pt x="1121" y="2051"/>
                    <a:pt x="1111" y="2064"/>
                    <a:pt x="1112" y="2071"/>
                  </a:cubicBezTo>
                  <a:cubicBezTo>
                    <a:pt x="1113" y="2078"/>
                    <a:pt x="1119" y="2078"/>
                    <a:pt x="1119" y="2078"/>
                  </a:cubicBezTo>
                  <a:cubicBezTo>
                    <a:pt x="1118" y="2099"/>
                    <a:pt x="1118" y="2099"/>
                    <a:pt x="1118" y="2099"/>
                  </a:cubicBezTo>
                  <a:cubicBezTo>
                    <a:pt x="1128" y="2098"/>
                    <a:pt x="1128" y="2098"/>
                    <a:pt x="1128" y="2098"/>
                  </a:cubicBezTo>
                  <a:cubicBezTo>
                    <a:pt x="1128" y="2096"/>
                    <a:pt x="1128" y="2096"/>
                    <a:pt x="1128" y="2096"/>
                  </a:cubicBezTo>
                  <a:cubicBezTo>
                    <a:pt x="1128" y="2096"/>
                    <a:pt x="1151" y="2070"/>
                    <a:pt x="1156" y="2061"/>
                  </a:cubicBezTo>
                  <a:cubicBezTo>
                    <a:pt x="1161" y="2052"/>
                    <a:pt x="1153" y="2031"/>
                    <a:pt x="1153" y="2031"/>
                  </a:cubicBezTo>
                  <a:cubicBezTo>
                    <a:pt x="1165" y="2013"/>
                    <a:pt x="1165" y="2013"/>
                    <a:pt x="1165" y="2013"/>
                  </a:cubicBezTo>
                  <a:cubicBezTo>
                    <a:pt x="1165" y="2013"/>
                    <a:pt x="1155" y="2005"/>
                    <a:pt x="1155" y="1995"/>
                  </a:cubicBezTo>
                  <a:cubicBezTo>
                    <a:pt x="1155" y="1985"/>
                    <a:pt x="1165" y="1984"/>
                    <a:pt x="1165" y="1984"/>
                  </a:cubicBezTo>
                  <a:cubicBezTo>
                    <a:pt x="1167" y="1968"/>
                    <a:pt x="1167" y="1968"/>
                    <a:pt x="1167" y="1968"/>
                  </a:cubicBezTo>
                  <a:cubicBezTo>
                    <a:pt x="1167" y="1968"/>
                    <a:pt x="1179" y="1966"/>
                    <a:pt x="1183" y="1962"/>
                  </a:cubicBezTo>
                  <a:cubicBezTo>
                    <a:pt x="1187" y="1958"/>
                    <a:pt x="1186" y="1944"/>
                    <a:pt x="1186" y="1936"/>
                  </a:cubicBezTo>
                  <a:cubicBezTo>
                    <a:pt x="1186" y="1928"/>
                    <a:pt x="1204" y="1911"/>
                    <a:pt x="1213" y="1909"/>
                  </a:cubicBezTo>
                  <a:cubicBezTo>
                    <a:pt x="1222" y="1907"/>
                    <a:pt x="1219" y="1931"/>
                    <a:pt x="1219" y="1931"/>
                  </a:cubicBezTo>
                  <a:cubicBezTo>
                    <a:pt x="1219" y="1931"/>
                    <a:pt x="1213" y="1941"/>
                    <a:pt x="1210" y="1943"/>
                  </a:cubicBezTo>
                  <a:cubicBezTo>
                    <a:pt x="1207" y="1945"/>
                    <a:pt x="1208" y="1956"/>
                    <a:pt x="1208" y="1956"/>
                  </a:cubicBezTo>
                  <a:cubicBezTo>
                    <a:pt x="1201" y="1960"/>
                    <a:pt x="1201" y="1960"/>
                    <a:pt x="1201" y="1960"/>
                  </a:cubicBezTo>
                  <a:cubicBezTo>
                    <a:pt x="1201" y="1969"/>
                    <a:pt x="1201" y="1969"/>
                    <a:pt x="1201" y="1969"/>
                  </a:cubicBezTo>
                  <a:cubicBezTo>
                    <a:pt x="1184" y="1987"/>
                    <a:pt x="1184" y="1987"/>
                    <a:pt x="1184" y="1987"/>
                  </a:cubicBezTo>
                  <a:cubicBezTo>
                    <a:pt x="1163" y="2002"/>
                    <a:pt x="1163" y="2002"/>
                    <a:pt x="1163" y="2002"/>
                  </a:cubicBezTo>
                  <a:cubicBezTo>
                    <a:pt x="1163" y="2002"/>
                    <a:pt x="1170" y="2008"/>
                    <a:pt x="1177" y="2006"/>
                  </a:cubicBezTo>
                  <a:cubicBezTo>
                    <a:pt x="1182" y="2005"/>
                    <a:pt x="1182" y="1993"/>
                    <a:pt x="1187" y="1990"/>
                  </a:cubicBezTo>
                  <a:cubicBezTo>
                    <a:pt x="1191" y="1986"/>
                    <a:pt x="1198" y="1989"/>
                    <a:pt x="1200" y="1987"/>
                  </a:cubicBezTo>
                  <a:cubicBezTo>
                    <a:pt x="1206" y="1978"/>
                    <a:pt x="1228" y="1944"/>
                    <a:pt x="1233" y="1920"/>
                  </a:cubicBezTo>
                  <a:cubicBezTo>
                    <a:pt x="1238" y="1896"/>
                    <a:pt x="1248" y="1874"/>
                    <a:pt x="1252" y="1860"/>
                  </a:cubicBezTo>
                  <a:cubicBezTo>
                    <a:pt x="1256" y="1846"/>
                    <a:pt x="1284" y="1829"/>
                    <a:pt x="1286" y="1825"/>
                  </a:cubicBezTo>
                  <a:cubicBezTo>
                    <a:pt x="1288" y="1821"/>
                    <a:pt x="1281" y="1811"/>
                    <a:pt x="1281" y="1811"/>
                  </a:cubicBezTo>
                  <a:cubicBezTo>
                    <a:pt x="1294" y="1802"/>
                    <a:pt x="1294" y="1802"/>
                    <a:pt x="1294" y="1802"/>
                  </a:cubicBezTo>
                  <a:cubicBezTo>
                    <a:pt x="1290" y="1778"/>
                    <a:pt x="1290" y="1778"/>
                    <a:pt x="1290" y="1778"/>
                  </a:cubicBezTo>
                  <a:cubicBezTo>
                    <a:pt x="1294" y="1764"/>
                    <a:pt x="1294" y="1764"/>
                    <a:pt x="1294" y="1764"/>
                  </a:cubicBezTo>
                  <a:cubicBezTo>
                    <a:pt x="1285" y="1759"/>
                    <a:pt x="1285" y="1759"/>
                    <a:pt x="1285" y="1759"/>
                  </a:cubicBezTo>
                  <a:cubicBezTo>
                    <a:pt x="1285" y="1759"/>
                    <a:pt x="1292" y="1750"/>
                    <a:pt x="1292" y="1742"/>
                  </a:cubicBezTo>
                  <a:cubicBezTo>
                    <a:pt x="1292" y="1734"/>
                    <a:pt x="1277" y="1728"/>
                    <a:pt x="1277" y="1728"/>
                  </a:cubicBezTo>
                  <a:cubicBezTo>
                    <a:pt x="1276" y="1705"/>
                    <a:pt x="1276" y="1705"/>
                    <a:pt x="1276" y="1705"/>
                  </a:cubicBezTo>
                  <a:cubicBezTo>
                    <a:pt x="1266" y="1694"/>
                    <a:pt x="1266" y="1694"/>
                    <a:pt x="1266" y="1694"/>
                  </a:cubicBezTo>
                  <a:cubicBezTo>
                    <a:pt x="1280" y="1695"/>
                    <a:pt x="1280" y="1695"/>
                    <a:pt x="1280" y="1695"/>
                  </a:cubicBezTo>
                  <a:cubicBezTo>
                    <a:pt x="1279" y="1678"/>
                    <a:pt x="1279" y="1678"/>
                    <a:pt x="1279" y="1678"/>
                  </a:cubicBezTo>
                  <a:cubicBezTo>
                    <a:pt x="1270" y="1673"/>
                    <a:pt x="1270" y="1673"/>
                    <a:pt x="1270" y="1673"/>
                  </a:cubicBezTo>
                  <a:cubicBezTo>
                    <a:pt x="1270" y="1673"/>
                    <a:pt x="1282" y="1670"/>
                    <a:pt x="1282" y="1665"/>
                  </a:cubicBezTo>
                  <a:cubicBezTo>
                    <a:pt x="1282" y="1660"/>
                    <a:pt x="1266" y="1650"/>
                    <a:pt x="1266" y="1650"/>
                  </a:cubicBezTo>
                  <a:cubicBezTo>
                    <a:pt x="1282" y="1639"/>
                    <a:pt x="1282" y="1639"/>
                    <a:pt x="1282" y="1639"/>
                  </a:cubicBezTo>
                  <a:cubicBezTo>
                    <a:pt x="1282" y="1639"/>
                    <a:pt x="1295" y="1653"/>
                    <a:pt x="1301" y="1652"/>
                  </a:cubicBezTo>
                  <a:cubicBezTo>
                    <a:pt x="1307" y="1651"/>
                    <a:pt x="1303" y="1639"/>
                    <a:pt x="1303" y="1639"/>
                  </a:cubicBezTo>
                  <a:cubicBezTo>
                    <a:pt x="1303" y="1639"/>
                    <a:pt x="1303" y="1627"/>
                    <a:pt x="1311" y="1617"/>
                  </a:cubicBezTo>
                  <a:cubicBezTo>
                    <a:pt x="1319" y="1607"/>
                    <a:pt x="1331" y="1610"/>
                    <a:pt x="1337" y="1605"/>
                  </a:cubicBezTo>
                  <a:cubicBezTo>
                    <a:pt x="1343" y="1600"/>
                    <a:pt x="1340" y="1596"/>
                    <a:pt x="1343" y="1589"/>
                  </a:cubicBezTo>
                  <a:cubicBezTo>
                    <a:pt x="1346" y="1582"/>
                    <a:pt x="1364" y="1579"/>
                    <a:pt x="1364" y="1579"/>
                  </a:cubicBezTo>
                  <a:cubicBezTo>
                    <a:pt x="1366" y="1571"/>
                    <a:pt x="1366" y="1571"/>
                    <a:pt x="1366" y="1571"/>
                  </a:cubicBezTo>
                  <a:cubicBezTo>
                    <a:pt x="1366" y="1571"/>
                    <a:pt x="1372" y="1574"/>
                    <a:pt x="1377" y="1573"/>
                  </a:cubicBezTo>
                  <a:cubicBezTo>
                    <a:pt x="1382" y="1572"/>
                    <a:pt x="1381" y="1560"/>
                    <a:pt x="1387" y="1559"/>
                  </a:cubicBezTo>
                  <a:cubicBezTo>
                    <a:pt x="1393" y="1558"/>
                    <a:pt x="1412" y="1561"/>
                    <a:pt x="1412" y="1561"/>
                  </a:cubicBezTo>
                  <a:cubicBezTo>
                    <a:pt x="1416" y="1571"/>
                    <a:pt x="1416" y="1571"/>
                    <a:pt x="1416" y="1571"/>
                  </a:cubicBezTo>
                  <a:cubicBezTo>
                    <a:pt x="1427" y="1569"/>
                    <a:pt x="1427" y="1569"/>
                    <a:pt x="1427" y="1569"/>
                  </a:cubicBezTo>
                  <a:cubicBezTo>
                    <a:pt x="1414" y="1554"/>
                    <a:pt x="1414" y="1554"/>
                    <a:pt x="1414" y="1554"/>
                  </a:cubicBezTo>
                  <a:cubicBezTo>
                    <a:pt x="1414" y="1554"/>
                    <a:pt x="1423" y="1550"/>
                    <a:pt x="1427" y="1545"/>
                  </a:cubicBezTo>
                  <a:cubicBezTo>
                    <a:pt x="1431" y="1540"/>
                    <a:pt x="1453" y="1539"/>
                    <a:pt x="1453" y="1539"/>
                  </a:cubicBezTo>
                  <a:cubicBezTo>
                    <a:pt x="1442" y="1529"/>
                    <a:pt x="1442" y="1529"/>
                    <a:pt x="1442" y="1529"/>
                  </a:cubicBezTo>
                  <a:cubicBezTo>
                    <a:pt x="1442" y="1529"/>
                    <a:pt x="1454" y="1519"/>
                    <a:pt x="1459" y="1519"/>
                  </a:cubicBezTo>
                  <a:cubicBezTo>
                    <a:pt x="1464" y="1519"/>
                    <a:pt x="1460" y="1535"/>
                    <a:pt x="1463" y="1535"/>
                  </a:cubicBezTo>
                  <a:cubicBezTo>
                    <a:pt x="1466" y="1535"/>
                    <a:pt x="1472" y="1518"/>
                    <a:pt x="1472" y="1518"/>
                  </a:cubicBezTo>
                  <a:cubicBezTo>
                    <a:pt x="1497" y="1523"/>
                    <a:pt x="1497" y="1523"/>
                    <a:pt x="1497" y="1523"/>
                  </a:cubicBezTo>
                  <a:cubicBezTo>
                    <a:pt x="1497" y="1523"/>
                    <a:pt x="1502" y="1503"/>
                    <a:pt x="1513" y="1502"/>
                  </a:cubicBezTo>
                  <a:cubicBezTo>
                    <a:pt x="1524" y="1501"/>
                    <a:pt x="1521" y="1523"/>
                    <a:pt x="1521" y="1523"/>
                  </a:cubicBezTo>
                  <a:cubicBezTo>
                    <a:pt x="1566" y="1518"/>
                    <a:pt x="1566" y="1518"/>
                    <a:pt x="1566" y="1518"/>
                  </a:cubicBezTo>
                  <a:cubicBezTo>
                    <a:pt x="1571" y="1506"/>
                    <a:pt x="1571" y="1506"/>
                    <a:pt x="1571" y="1506"/>
                  </a:cubicBezTo>
                  <a:cubicBezTo>
                    <a:pt x="1565" y="1499"/>
                    <a:pt x="1565" y="1499"/>
                    <a:pt x="1565" y="1499"/>
                  </a:cubicBezTo>
                  <a:cubicBezTo>
                    <a:pt x="1565" y="1499"/>
                    <a:pt x="1571" y="1491"/>
                    <a:pt x="1577" y="1482"/>
                  </a:cubicBezTo>
                  <a:cubicBezTo>
                    <a:pt x="1583" y="1473"/>
                    <a:pt x="1613" y="1468"/>
                    <a:pt x="1613" y="1468"/>
                  </a:cubicBezTo>
                  <a:cubicBezTo>
                    <a:pt x="1613" y="1468"/>
                    <a:pt x="1610" y="1455"/>
                    <a:pt x="1610" y="1452"/>
                  </a:cubicBezTo>
                  <a:cubicBezTo>
                    <a:pt x="1610" y="1449"/>
                    <a:pt x="1611" y="1408"/>
                    <a:pt x="1611" y="1408"/>
                  </a:cubicBezTo>
                  <a:cubicBezTo>
                    <a:pt x="1629" y="1388"/>
                    <a:pt x="1629" y="1388"/>
                    <a:pt x="1629" y="1388"/>
                  </a:cubicBezTo>
                  <a:cubicBezTo>
                    <a:pt x="1629" y="1372"/>
                    <a:pt x="1629" y="1372"/>
                    <a:pt x="1629" y="1372"/>
                  </a:cubicBezTo>
                  <a:cubicBezTo>
                    <a:pt x="1642" y="1369"/>
                    <a:pt x="1642" y="1369"/>
                    <a:pt x="1642" y="1369"/>
                  </a:cubicBezTo>
                  <a:cubicBezTo>
                    <a:pt x="1642" y="1347"/>
                    <a:pt x="1642" y="1347"/>
                    <a:pt x="1642" y="1347"/>
                  </a:cubicBezTo>
                  <a:cubicBezTo>
                    <a:pt x="1642" y="1347"/>
                    <a:pt x="1651" y="1342"/>
                    <a:pt x="1655" y="1342"/>
                  </a:cubicBezTo>
                  <a:cubicBezTo>
                    <a:pt x="1659" y="1342"/>
                    <a:pt x="1659" y="1317"/>
                    <a:pt x="1659" y="1317"/>
                  </a:cubicBezTo>
                  <a:cubicBezTo>
                    <a:pt x="1659" y="1317"/>
                    <a:pt x="1653" y="1288"/>
                    <a:pt x="1651" y="1273"/>
                  </a:cubicBezTo>
                  <a:cubicBezTo>
                    <a:pt x="1649" y="1258"/>
                    <a:pt x="1667" y="1246"/>
                    <a:pt x="1674" y="1240"/>
                  </a:cubicBezTo>
                  <a:cubicBezTo>
                    <a:pt x="1681" y="1234"/>
                    <a:pt x="1671" y="1213"/>
                    <a:pt x="1671" y="1213"/>
                  </a:cubicBezTo>
                  <a:cubicBezTo>
                    <a:pt x="1675" y="1175"/>
                    <a:pt x="1675" y="1175"/>
                    <a:pt x="1675" y="1175"/>
                  </a:cubicBezTo>
                  <a:cubicBezTo>
                    <a:pt x="1675" y="1175"/>
                    <a:pt x="1683" y="1145"/>
                    <a:pt x="1682" y="1134"/>
                  </a:cubicBezTo>
                  <a:cubicBezTo>
                    <a:pt x="1681" y="1123"/>
                    <a:pt x="1669" y="1065"/>
                    <a:pt x="1669" y="1065"/>
                  </a:cubicBezTo>
                  <a:cubicBezTo>
                    <a:pt x="1674" y="1041"/>
                    <a:pt x="1674" y="1041"/>
                    <a:pt x="1674" y="1041"/>
                  </a:cubicBezTo>
                  <a:cubicBezTo>
                    <a:pt x="1674" y="1041"/>
                    <a:pt x="1665" y="1010"/>
                    <a:pt x="1668" y="1002"/>
                  </a:cubicBezTo>
                  <a:cubicBezTo>
                    <a:pt x="1671" y="994"/>
                    <a:pt x="1682" y="984"/>
                    <a:pt x="1682" y="984"/>
                  </a:cubicBezTo>
                  <a:cubicBezTo>
                    <a:pt x="1674" y="972"/>
                    <a:pt x="1674" y="972"/>
                    <a:pt x="1674" y="972"/>
                  </a:cubicBezTo>
                  <a:cubicBezTo>
                    <a:pt x="1674" y="972"/>
                    <a:pt x="1681" y="962"/>
                    <a:pt x="1685" y="962"/>
                  </a:cubicBezTo>
                  <a:cubicBezTo>
                    <a:pt x="1689" y="962"/>
                    <a:pt x="1698" y="981"/>
                    <a:pt x="1698" y="981"/>
                  </a:cubicBezTo>
                  <a:cubicBezTo>
                    <a:pt x="1698" y="981"/>
                    <a:pt x="1720" y="961"/>
                    <a:pt x="1727" y="951"/>
                  </a:cubicBezTo>
                  <a:cubicBezTo>
                    <a:pt x="1734" y="941"/>
                    <a:pt x="1739" y="897"/>
                    <a:pt x="1739" y="897"/>
                  </a:cubicBezTo>
                  <a:cubicBezTo>
                    <a:pt x="1739" y="897"/>
                    <a:pt x="1745" y="893"/>
                    <a:pt x="1751" y="889"/>
                  </a:cubicBezTo>
                  <a:cubicBezTo>
                    <a:pt x="1757" y="885"/>
                    <a:pt x="1762" y="863"/>
                    <a:pt x="1762" y="863"/>
                  </a:cubicBezTo>
                  <a:cubicBezTo>
                    <a:pt x="1762" y="863"/>
                    <a:pt x="1775" y="856"/>
                    <a:pt x="1782" y="855"/>
                  </a:cubicBezTo>
                  <a:cubicBezTo>
                    <a:pt x="1789" y="854"/>
                    <a:pt x="1789" y="834"/>
                    <a:pt x="1789" y="834"/>
                  </a:cubicBezTo>
                  <a:cubicBezTo>
                    <a:pt x="1789" y="834"/>
                    <a:pt x="1803" y="829"/>
                    <a:pt x="1816" y="811"/>
                  </a:cubicBezTo>
                  <a:cubicBezTo>
                    <a:pt x="1829" y="793"/>
                    <a:pt x="1844" y="746"/>
                    <a:pt x="1844" y="746"/>
                  </a:cubicBezTo>
                  <a:cubicBezTo>
                    <a:pt x="1844" y="746"/>
                    <a:pt x="1856" y="733"/>
                    <a:pt x="1857" y="727"/>
                  </a:cubicBezTo>
                  <a:cubicBezTo>
                    <a:pt x="1858" y="721"/>
                    <a:pt x="1852" y="705"/>
                    <a:pt x="1852" y="705"/>
                  </a:cubicBezTo>
                  <a:cubicBezTo>
                    <a:pt x="1852" y="705"/>
                    <a:pt x="1855" y="684"/>
                    <a:pt x="1855" y="66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670AFE5F-5487-77DF-75B7-BEE775A59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5382" y="4693199"/>
              <a:ext cx="230174" cy="257612"/>
            </a:xfrm>
            <a:custGeom>
              <a:avLst/>
              <a:gdLst>
                <a:gd name="T0" fmla="*/ 17 w 407"/>
                <a:gd name="T1" fmla="*/ 23 h 452"/>
                <a:gd name="T2" fmla="*/ 17 w 407"/>
                <a:gd name="T3" fmla="*/ 24 h 452"/>
                <a:gd name="T4" fmla="*/ 17 w 407"/>
                <a:gd name="T5" fmla="*/ 23 h 452"/>
                <a:gd name="T6" fmla="*/ 18 w 407"/>
                <a:gd name="T7" fmla="*/ 23 h 452"/>
                <a:gd name="T8" fmla="*/ 19 w 407"/>
                <a:gd name="T9" fmla="*/ 22 h 452"/>
                <a:gd name="T10" fmla="*/ 20 w 407"/>
                <a:gd name="T11" fmla="*/ 21 h 452"/>
                <a:gd name="T12" fmla="*/ 20 w 407"/>
                <a:gd name="T13" fmla="*/ 18 h 452"/>
                <a:gd name="T14" fmla="*/ 20 w 407"/>
                <a:gd name="T15" fmla="*/ 17 h 452"/>
                <a:gd name="T16" fmla="*/ 20 w 407"/>
                <a:gd name="T17" fmla="*/ 16 h 452"/>
                <a:gd name="T18" fmla="*/ 21 w 407"/>
                <a:gd name="T19" fmla="*/ 15 h 452"/>
                <a:gd name="T20" fmla="*/ 20 w 407"/>
                <a:gd name="T21" fmla="*/ 13 h 452"/>
                <a:gd name="T22" fmla="*/ 18 w 407"/>
                <a:gd name="T23" fmla="*/ 13 h 452"/>
                <a:gd name="T24" fmla="*/ 17 w 407"/>
                <a:gd name="T25" fmla="*/ 11 h 452"/>
                <a:gd name="T26" fmla="*/ 17 w 407"/>
                <a:gd name="T27" fmla="*/ 9 h 452"/>
                <a:gd name="T28" fmla="*/ 15 w 407"/>
                <a:gd name="T29" fmla="*/ 8 h 452"/>
                <a:gd name="T30" fmla="*/ 11 w 407"/>
                <a:gd name="T31" fmla="*/ 8 h 452"/>
                <a:gd name="T32" fmla="*/ 11 w 407"/>
                <a:gd name="T33" fmla="*/ 5 h 452"/>
                <a:gd name="T34" fmla="*/ 11 w 407"/>
                <a:gd name="T35" fmla="*/ 4 h 452"/>
                <a:gd name="T36" fmla="*/ 11 w 407"/>
                <a:gd name="T37" fmla="*/ 3 h 452"/>
                <a:gd name="T38" fmla="*/ 10 w 407"/>
                <a:gd name="T39" fmla="*/ 3 h 452"/>
                <a:gd name="T40" fmla="*/ 10 w 407"/>
                <a:gd name="T41" fmla="*/ 1 h 452"/>
                <a:gd name="T42" fmla="*/ 8 w 407"/>
                <a:gd name="T43" fmla="*/ 0 h 452"/>
                <a:gd name="T44" fmla="*/ 5 w 407"/>
                <a:gd name="T45" fmla="*/ 0 h 452"/>
                <a:gd name="T46" fmla="*/ 1 w 407"/>
                <a:gd name="T47" fmla="*/ 1 h 452"/>
                <a:gd name="T48" fmla="*/ 1 w 407"/>
                <a:gd name="T49" fmla="*/ 2 h 452"/>
                <a:gd name="T50" fmla="*/ 0 w 407"/>
                <a:gd name="T51" fmla="*/ 3 h 452"/>
                <a:gd name="T52" fmla="*/ 1 w 407"/>
                <a:gd name="T53" fmla="*/ 4 h 452"/>
                <a:gd name="T54" fmla="*/ 0 w 407"/>
                <a:gd name="T55" fmla="*/ 9 h 452"/>
                <a:gd name="T56" fmla="*/ 1 w 407"/>
                <a:gd name="T57" fmla="*/ 9 h 452"/>
                <a:gd name="T58" fmla="*/ 3 w 407"/>
                <a:gd name="T59" fmla="*/ 11 h 452"/>
                <a:gd name="T60" fmla="*/ 4 w 407"/>
                <a:gd name="T61" fmla="*/ 12 h 452"/>
                <a:gd name="T62" fmla="*/ 4 w 407"/>
                <a:gd name="T63" fmla="*/ 13 h 452"/>
                <a:gd name="T64" fmla="*/ 7 w 407"/>
                <a:gd name="T65" fmla="*/ 14 h 452"/>
                <a:gd name="T66" fmla="*/ 9 w 407"/>
                <a:gd name="T67" fmla="*/ 15 h 452"/>
                <a:gd name="T68" fmla="*/ 11 w 407"/>
                <a:gd name="T69" fmla="*/ 16 h 452"/>
                <a:gd name="T70" fmla="*/ 13 w 407"/>
                <a:gd name="T71" fmla="*/ 17 h 452"/>
                <a:gd name="T72" fmla="*/ 13 w 407"/>
                <a:gd name="T73" fmla="*/ 18 h 452"/>
                <a:gd name="T74" fmla="*/ 13 w 407"/>
                <a:gd name="T75" fmla="*/ 19 h 452"/>
                <a:gd name="T76" fmla="*/ 12 w 407"/>
                <a:gd name="T77" fmla="*/ 19 h 452"/>
                <a:gd name="T78" fmla="*/ 12 w 407"/>
                <a:gd name="T79" fmla="*/ 21 h 452"/>
                <a:gd name="T80" fmla="*/ 12 w 407"/>
                <a:gd name="T81" fmla="*/ 22 h 452"/>
                <a:gd name="T82" fmla="*/ 13 w 407"/>
                <a:gd name="T83" fmla="*/ 22 h 452"/>
                <a:gd name="T84" fmla="*/ 14 w 407"/>
                <a:gd name="T85" fmla="*/ 23 h 452"/>
                <a:gd name="T86" fmla="*/ 17 w 407"/>
                <a:gd name="T87" fmla="*/ 23 h 4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07"/>
                <a:gd name="T133" fmla="*/ 0 h 452"/>
                <a:gd name="T134" fmla="*/ 407 w 407"/>
                <a:gd name="T135" fmla="*/ 452 h 4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E711F8DF-C4D2-9579-2324-B2D495952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6960" y="5023978"/>
              <a:ext cx="140238" cy="147860"/>
            </a:xfrm>
            <a:custGeom>
              <a:avLst/>
              <a:gdLst>
                <a:gd name="T0" fmla="*/ 5 w 246"/>
                <a:gd name="T1" fmla="*/ 13 h 258"/>
                <a:gd name="T2" fmla="*/ 8 w 246"/>
                <a:gd name="T3" fmla="*/ 14 h 258"/>
                <a:gd name="T4" fmla="*/ 12 w 246"/>
                <a:gd name="T5" fmla="*/ 13 h 258"/>
                <a:gd name="T6" fmla="*/ 13 w 246"/>
                <a:gd name="T7" fmla="*/ 11 h 258"/>
                <a:gd name="T8" fmla="*/ 12 w 246"/>
                <a:gd name="T9" fmla="*/ 11 h 258"/>
                <a:gd name="T10" fmla="*/ 12 w 246"/>
                <a:gd name="T11" fmla="*/ 9 h 258"/>
                <a:gd name="T12" fmla="*/ 12 w 246"/>
                <a:gd name="T13" fmla="*/ 9 h 258"/>
                <a:gd name="T14" fmla="*/ 13 w 246"/>
                <a:gd name="T15" fmla="*/ 8 h 258"/>
                <a:gd name="T16" fmla="*/ 12 w 246"/>
                <a:gd name="T17" fmla="*/ 7 h 258"/>
                <a:gd name="T18" fmla="*/ 10 w 246"/>
                <a:gd name="T19" fmla="*/ 5 h 258"/>
                <a:gd name="T20" fmla="*/ 9 w 246"/>
                <a:gd name="T21" fmla="*/ 5 h 258"/>
                <a:gd name="T22" fmla="*/ 9 w 246"/>
                <a:gd name="T23" fmla="*/ 4 h 258"/>
                <a:gd name="T24" fmla="*/ 8 w 246"/>
                <a:gd name="T25" fmla="*/ 3 h 258"/>
                <a:gd name="T26" fmla="*/ 7 w 246"/>
                <a:gd name="T27" fmla="*/ 3 h 258"/>
                <a:gd name="T28" fmla="*/ 6 w 246"/>
                <a:gd name="T29" fmla="*/ 2 h 258"/>
                <a:gd name="T30" fmla="*/ 5 w 246"/>
                <a:gd name="T31" fmla="*/ 3 h 258"/>
                <a:gd name="T32" fmla="*/ 4 w 246"/>
                <a:gd name="T33" fmla="*/ 2 h 258"/>
                <a:gd name="T34" fmla="*/ 3 w 246"/>
                <a:gd name="T35" fmla="*/ 0 h 258"/>
                <a:gd name="T36" fmla="*/ 1 w 246"/>
                <a:gd name="T37" fmla="*/ 1 h 258"/>
                <a:gd name="T38" fmla="*/ 1 w 246"/>
                <a:gd name="T39" fmla="*/ 0 h 258"/>
                <a:gd name="T40" fmla="*/ 0 w 246"/>
                <a:gd name="T41" fmla="*/ 1 h 258"/>
                <a:gd name="T42" fmla="*/ 1 w 246"/>
                <a:gd name="T43" fmla="*/ 2 h 258"/>
                <a:gd name="T44" fmla="*/ 0 w 246"/>
                <a:gd name="T45" fmla="*/ 3 h 258"/>
                <a:gd name="T46" fmla="*/ 0 w 246"/>
                <a:gd name="T47" fmla="*/ 4 h 258"/>
                <a:gd name="T48" fmla="*/ 1 w 246"/>
                <a:gd name="T49" fmla="*/ 5 h 258"/>
                <a:gd name="T50" fmla="*/ 0 w 246"/>
                <a:gd name="T51" fmla="*/ 5 h 258"/>
                <a:gd name="T52" fmla="*/ 1 w 246"/>
                <a:gd name="T53" fmla="*/ 6 h 258"/>
                <a:gd name="T54" fmla="*/ 0 w 246"/>
                <a:gd name="T55" fmla="*/ 7 h 258"/>
                <a:gd name="T56" fmla="*/ 1 w 246"/>
                <a:gd name="T57" fmla="*/ 8 h 258"/>
                <a:gd name="T58" fmla="*/ 0 w 246"/>
                <a:gd name="T59" fmla="*/ 8 h 258"/>
                <a:gd name="T60" fmla="*/ 0 w 246"/>
                <a:gd name="T61" fmla="*/ 10 h 258"/>
                <a:gd name="T62" fmla="*/ 1 w 246"/>
                <a:gd name="T63" fmla="*/ 11 h 258"/>
                <a:gd name="T64" fmla="*/ 3 w 246"/>
                <a:gd name="T65" fmla="*/ 12 h 258"/>
                <a:gd name="T66" fmla="*/ 3 w 246"/>
                <a:gd name="T67" fmla="*/ 12 h 258"/>
                <a:gd name="T68" fmla="*/ 4 w 246"/>
                <a:gd name="T69" fmla="*/ 12 h 258"/>
                <a:gd name="T70" fmla="*/ 5 w 246"/>
                <a:gd name="T71" fmla="*/ 13 h 25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6"/>
                <a:gd name="T109" fmla="*/ 0 h 258"/>
                <a:gd name="T110" fmla="*/ 246 w 246"/>
                <a:gd name="T111" fmla="*/ 258 h 25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888565C4-4756-E3FF-999D-748D266099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5327" y="4772464"/>
              <a:ext cx="416142" cy="925268"/>
            </a:xfrm>
            <a:custGeom>
              <a:avLst/>
              <a:gdLst>
                <a:gd name="T0" fmla="*/ 34 w 732"/>
                <a:gd name="T1" fmla="*/ 17 h 1628"/>
                <a:gd name="T2" fmla="*/ 38 w 732"/>
                <a:gd name="T3" fmla="*/ 15 h 1628"/>
                <a:gd name="T4" fmla="*/ 35 w 732"/>
                <a:gd name="T5" fmla="*/ 10 h 1628"/>
                <a:gd name="T6" fmla="*/ 32 w 732"/>
                <a:gd name="T7" fmla="*/ 15 h 1628"/>
                <a:gd name="T8" fmla="*/ 28 w 732"/>
                <a:gd name="T9" fmla="*/ 15 h 1628"/>
                <a:gd name="T10" fmla="*/ 28 w 732"/>
                <a:gd name="T11" fmla="*/ 12 h 1628"/>
                <a:gd name="T12" fmla="*/ 23 w 732"/>
                <a:gd name="T13" fmla="*/ 7 h 1628"/>
                <a:gd name="T14" fmla="*/ 17 w 732"/>
                <a:gd name="T15" fmla="*/ 4 h 1628"/>
                <a:gd name="T16" fmla="*/ 11 w 732"/>
                <a:gd name="T17" fmla="*/ 1 h 1628"/>
                <a:gd name="T18" fmla="*/ 6 w 732"/>
                <a:gd name="T19" fmla="*/ 0 h 1628"/>
                <a:gd name="T20" fmla="*/ 4 w 732"/>
                <a:gd name="T21" fmla="*/ 1 h 1628"/>
                <a:gd name="T22" fmla="*/ 4 w 732"/>
                <a:gd name="T23" fmla="*/ 3 h 1628"/>
                <a:gd name="T24" fmla="*/ 1 w 732"/>
                <a:gd name="T25" fmla="*/ 10 h 1628"/>
                <a:gd name="T26" fmla="*/ 2 w 732"/>
                <a:gd name="T27" fmla="*/ 15 h 1628"/>
                <a:gd name="T28" fmla="*/ 0 w 732"/>
                <a:gd name="T29" fmla="*/ 21 h 1628"/>
                <a:gd name="T30" fmla="*/ 0 w 732"/>
                <a:gd name="T31" fmla="*/ 26 h 1628"/>
                <a:gd name="T32" fmla="*/ 1 w 732"/>
                <a:gd name="T33" fmla="*/ 29 h 1628"/>
                <a:gd name="T34" fmla="*/ 3 w 732"/>
                <a:gd name="T35" fmla="*/ 32 h 1628"/>
                <a:gd name="T36" fmla="*/ 3 w 732"/>
                <a:gd name="T37" fmla="*/ 38 h 1628"/>
                <a:gd name="T38" fmla="*/ 3 w 732"/>
                <a:gd name="T39" fmla="*/ 41 h 1628"/>
                <a:gd name="T40" fmla="*/ 4 w 732"/>
                <a:gd name="T41" fmla="*/ 45 h 1628"/>
                <a:gd name="T42" fmla="*/ 4 w 732"/>
                <a:gd name="T43" fmla="*/ 49 h 1628"/>
                <a:gd name="T44" fmla="*/ 5 w 732"/>
                <a:gd name="T45" fmla="*/ 51 h 1628"/>
                <a:gd name="T46" fmla="*/ 7 w 732"/>
                <a:gd name="T47" fmla="*/ 56 h 1628"/>
                <a:gd name="T48" fmla="*/ 7 w 732"/>
                <a:gd name="T49" fmla="*/ 59 h 1628"/>
                <a:gd name="T50" fmla="*/ 9 w 732"/>
                <a:gd name="T51" fmla="*/ 63 h 1628"/>
                <a:gd name="T52" fmla="*/ 10 w 732"/>
                <a:gd name="T53" fmla="*/ 65 h 1628"/>
                <a:gd name="T54" fmla="*/ 11 w 732"/>
                <a:gd name="T55" fmla="*/ 69 h 1628"/>
                <a:gd name="T56" fmla="*/ 11 w 732"/>
                <a:gd name="T57" fmla="*/ 72 h 1628"/>
                <a:gd name="T58" fmla="*/ 11 w 732"/>
                <a:gd name="T59" fmla="*/ 75 h 1628"/>
                <a:gd name="T60" fmla="*/ 11 w 732"/>
                <a:gd name="T61" fmla="*/ 78 h 1628"/>
                <a:gd name="T62" fmla="*/ 15 w 732"/>
                <a:gd name="T63" fmla="*/ 81 h 1628"/>
                <a:gd name="T64" fmla="*/ 18 w 732"/>
                <a:gd name="T65" fmla="*/ 84 h 1628"/>
                <a:gd name="T66" fmla="*/ 23 w 732"/>
                <a:gd name="T67" fmla="*/ 84 h 1628"/>
                <a:gd name="T68" fmla="*/ 23 w 732"/>
                <a:gd name="T69" fmla="*/ 82 h 1628"/>
                <a:gd name="T70" fmla="*/ 21 w 732"/>
                <a:gd name="T71" fmla="*/ 79 h 1628"/>
                <a:gd name="T72" fmla="*/ 21 w 732"/>
                <a:gd name="T73" fmla="*/ 78 h 1628"/>
                <a:gd name="T74" fmla="*/ 23 w 732"/>
                <a:gd name="T75" fmla="*/ 75 h 1628"/>
                <a:gd name="T76" fmla="*/ 25 w 732"/>
                <a:gd name="T77" fmla="*/ 70 h 1628"/>
                <a:gd name="T78" fmla="*/ 20 w 732"/>
                <a:gd name="T79" fmla="*/ 67 h 1628"/>
                <a:gd name="T80" fmla="*/ 21 w 732"/>
                <a:gd name="T81" fmla="*/ 64 h 1628"/>
                <a:gd name="T82" fmla="*/ 23 w 732"/>
                <a:gd name="T83" fmla="*/ 63 h 1628"/>
                <a:gd name="T84" fmla="*/ 23 w 732"/>
                <a:gd name="T85" fmla="*/ 59 h 1628"/>
                <a:gd name="T86" fmla="*/ 25 w 732"/>
                <a:gd name="T87" fmla="*/ 58 h 1628"/>
                <a:gd name="T88" fmla="*/ 21 w 732"/>
                <a:gd name="T89" fmla="*/ 56 h 1628"/>
                <a:gd name="T90" fmla="*/ 24 w 732"/>
                <a:gd name="T91" fmla="*/ 54 h 1628"/>
                <a:gd name="T92" fmla="*/ 26 w 732"/>
                <a:gd name="T93" fmla="*/ 49 h 1628"/>
                <a:gd name="T94" fmla="*/ 26 w 732"/>
                <a:gd name="T95" fmla="*/ 48 h 1628"/>
                <a:gd name="T96" fmla="*/ 29 w 732"/>
                <a:gd name="T97" fmla="*/ 48 h 1628"/>
                <a:gd name="T98" fmla="*/ 36 w 732"/>
                <a:gd name="T99" fmla="*/ 44 h 1628"/>
                <a:gd name="T100" fmla="*/ 35 w 732"/>
                <a:gd name="T101" fmla="*/ 40 h 1628"/>
                <a:gd name="T102" fmla="*/ 31 w 732"/>
                <a:gd name="T103" fmla="*/ 36 h 1628"/>
                <a:gd name="T104" fmla="*/ 29 w 732"/>
                <a:gd name="T105" fmla="*/ 31 h 1628"/>
                <a:gd name="T106" fmla="*/ 29 w 732"/>
                <a:gd name="T107" fmla="*/ 28 h 1628"/>
                <a:gd name="T108" fmla="*/ 31 w 732"/>
                <a:gd name="T109" fmla="*/ 25 h 1628"/>
                <a:gd name="T110" fmla="*/ 31 w 732"/>
                <a:gd name="T111" fmla="*/ 22 h 1628"/>
                <a:gd name="T112" fmla="*/ 32 w 732"/>
                <a:gd name="T113" fmla="*/ 35 h 1628"/>
                <a:gd name="T114" fmla="*/ 32 w 732"/>
                <a:gd name="T115" fmla="*/ 35 h 16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2"/>
                <a:gd name="T175" fmla="*/ 0 h 1628"/>
                <a:gd name="T176" fmla="*/ 732 w 732"/>
                <a:gd name="T177" fmla="*/ 1628 h 16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2" h="1628">
                  <a:moveTo>
                    <a:pt x="634" y="355"/>
                  </a:moveTo>
                  <a:cubicBezTo>
                    <a:pt x="650" y="351"/>
                    <a:pt x="650" y="351"/>
                    <a:pt x="650" y="351"/>
                  </a:cubicBezTo>
                  <a:cubicBezTo>
                    <a:pt x="653" y="335"/>
                    <a:pt x="653" y="335"/>
                    <a:pt x="653" y="335"/>
                  </a:cubicBezTo>
                  <a:cubicBezTo>
                    <a:pt x="659" y="333"/>
                    <a:pt x="659" y="333"/>
                    <a:pt x="659" y="333"/>
                  </a:cubicBezTo>
                  <a:cubicBezTo>
                    <a:pt x="660" y="322"/>
                    <a:pt x="660" y="322"/>
                    <a:pt x="660" y="322"/>
                  </a:cubicBezTo>
                  <a:cubicBezTo>
                    <a:pt x="681" y="320"/>
                    <a:pt x="681" y="320"/>
                    <a:pt x="681" y="320"/>
                  </a:cubicBezTo>
                  <a:cubicBezTo>
                    <a:pt x="681" y="320"/>
                    <a:pt x="681" y="302"/>
                    <a:pt x="692" y="297"/>
                  </a:cubicBezTo>
                  <a:cubicBezTo>
                    <a:pt x="703" y="292"/>
                    <a:pt x="720" y="290"/>
                    <a:pt x="726" y="284"/>
                  </a:cubicBezTo>
                  <a:cubicBezTo>
                    <a:pt x="732" y="278"/>
                    <a:pt x="724" y="240"/>
                    <a:pt x="724" y="231"/>
                  </a:cubicBezTo>
                  <a:cubicBezTo>
                    <a:pt x="724" y="222"/>
                    <a:pt x="713" y="223"/>
                    <a:pt x="713" y="223"/>
                  </a:cubicBezTo>
                  <a:cubicBezTo>
                    <a:pt x="713" y="223"/>
                    <a:pt x="709" y="202"/>
                    <a:pt x="702" y="198"/>
                  </a:cubicBezTo>
                  <a:cubicBezTo>
                    <a:pt x="695" y="194"/>
                    <a:pt x="679" y="205"/>
                    <a:pt x="679" y="205"/>
                  </a:cubicBezTo>
                  <a:cubicBezTo>
                    <a:pt x="679" y="205"/>
                    <a:pt x="681" y="240"/>
                    <a:pt x="679" y="251"/>
                  </a:cubicBezTo>
                  <a:cubicBezTo>
                    <a:pt x="677" y="262"/>
                    <a:pt x="656" y="276"/>
                    <a:pt x="649" y="276"/>
                  </a:cubicBezTo>
                  <a:cubicBezTo>
                    <a:pt x="642" y="276"/>
                    <a:pt x="640" y="293"/>
                    <a:pt x="636" y="300"/>
                  </a:cubicBezTo>
                  <a:cubicBezTo>
                    <a:pt x="632" y="307"/>
                    <a:pt x="631" y="298"/>
                    <a:pt x="622" y="296"/>
                  </a:cubicBezTo>
                  <a:cubicBezTo>
                    <a:pt x="613" y="294"/>
                    <a:pt x="613" y="313"/>
                    <a:pt x="613" y="313"/>
                  </a:cubicBezTo>
                  <a:cubicBezTo>
                    <a:pt x="606" y="302"/>
                    <a:pt x="606" y="302"/>
                    <a:pt x="606" y="302"/>
                  </a:cubicBezTo>
                  <a:cubicBezTo>
                    <a:pt x="606" y="302"/>
                    <a:pt x="584" y="304"/>
                    <a:pt x="567" y="300"/>
                  </a:cubicBezTo>
                  <a:cubicBezTo>
                    <a:pt x="550" y="296"/>
                    <a:pt x="543" y="289"/>
                    <a:pt x="534" y="286"/>
                  </a:cubicBezTo>
                  <a:cubicBezTo>
                    <a:pt x="525" y="283"/>
                    <a:pt x="509" y="293"/>
                    <a:pt x="504" y="286"/>
                  </a:cubicBezTo>
                  <a:cubicBezTo>
                    <a:pt x="499" y="279"/>
                    <a:pt x="519" y="252"/>
                    <a:pt x="519" y="252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519" y="230"/>
                    <a:pt x="531" y="230"/>
                    <a:pt x="535" y="223"/>
                  </a:cubicBezTo>
                  <a:cubicBezTo>
                    <a:pt x="539" y="216"/>
                    <a:pt x="526" y="208"/>
                    <a:pt x="526" y="208"/>
                  </a:cubicBezTo>
                  <a:cubicBezTo>
                    <a:pt x="526" y="208"/>
                    <a:pt x="536" y="191"/>
                    <a:pt x="538" y="183"/>
                  </a:cubicBezTo>
                  <a:cubicBezTo>
                    <a:pt x="540" y="175"/>
                    <a:pt x="506" y="168"/>
                    <a:pt x="500" y="167"/>
                  </a:cubicBezTo>
                  <a:cubicBezTo>
                    <a:pt x="494" y="166"/>
                    <a:pt x="444" y="138"/>
                    <a:pt x="444" y="138"/>
                  </a:cubicBezTo>
                  <a:cubicBezTo>
                    <a:pt x="444" y="138"/>
                    <a:pt x="423" y="118"/>
                    <a:pt x="413" y="122"/>
                  </a:cubicBezTo>
                  <a:cubicBezTo>
                    <a:pt x="403" y="126"/>
                    <a:pt x="368" y="106"/>
                    <a:pt x="368" y="106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64" y="92"/>
                    <a:pt x="337" y="75"/>
                    <a:pt x="328" y="70"/>
                  </a:cubicBezTo>
                  <a:cubicBezTo>
                    <a:pt x="319" y="65"/>
                    <a:pt x="303" y="36"/>
                    <a:pt x="303" y="36"/>
                  </a:cubicBezTo>
                  <a:cubicBezTo>
                    <a:pt x="290" y="24"/>
                    <a:pt x="290" y="24"/>
                    <a:pt x="290" y="24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47" y="17"/>
                    <a:pt x="134" y="13"/>
                  </a:cubicBezTo>
                  <a:cubicBezTo>
                    <a:pt x="120" y="9"/>
                    <a:pt x="115" y="0"/>
                    <a:pt x="115" y="0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78" y="52"/>
                    <a:pt x="74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76" y="119"/>
                    <a:pt x="21" y="143"/>
                    <a:pt x="22" y="157"/>
                  </a:cubicBezTo>
                  <a:cubicBezTo>
                    <a:pt x="23" y="171"/>
                    <a:pt x="50" y="165"/>
                    <a:pt x="41" y="174"/>
                  </a:cubicBezTo>
                  <a:cubicBezTo>
                    <a:pt x="32" y="183"/>
                    <a:pt x="22" y="192"/>
                    <a:pt x="27" y="199"/>
                  </a:cubicBezTo>
                  <a:cubicBezTo>
                    <a:pt x="32" y="206"/>
                    <a:pt x="51" y="214"/>
                    <a:pt x="50" y="224"/>
                  </a:cubicBezTo>
                  <a:cubicBezTo>
                    <a:pt x="49" y="234"/>
                    <a:pt x="32" y="246"/>
                    <a:pt x="32" y="246"/>
                  </a:cubicBezTo>
                  <a:cubicBezTo>
                    <a:pt x="32" y="246"/>
                    <a:pt x="63" y="257"/>
                    <a:pt x="60" y="268"/>
                  </a:cubicBezTo>
                  <a:cubicBezTo>
                    <a:pt x="57" y="279"/>
                    <a:pt x="35" y="280"/>
                    <a:pt x="35" y="280"/>
                  </a:cubicBezTo>
                  <a:cubicBezTo>
                    <a:pt x="35" y="280"/>
                    <a:pt x="29" y="318"/>
                    <a:pt x="28" y="323"/>
                  </a:cubicBezTo>
                  <a:cubicBezTo>
                    <a:pt x="27" y="328"/>
                    <a:pt x="9" y="336"/>
                    <a:pt x="9" y="346"/>
                  </a:cubicBezTo>
                  <a:cubicBezTo>
                    <a:pt x="9" y="356"/>
                    <a:pt x="14" y="381"/>
                    <a:pt x="12" y="385"/>
                  </a:cubicBezTo>
                  <a:cubicBezTo>
                    <a:pt x="10" y="389"/>
                    <a:pt x="1" y="397"/>
                    <a:pt x="2" y="401"/>
                  </a:cubicBezTo>
                  <a:cubicBezTo>
                    <a:pt x="3" y="405"/>
                    <a:pt x="26" y="450"/>
                    <a:pt x="21" y="455"/>
                  </a:cubicBezTo>
                  <a:cubicBezTo>
                    <a:pt x="16" y="460"/>
                    <a:pt x="7" y="455"/>
                    <a:pt x="7" y="455"/>
                  </a:cubicBezTo>
                  <a:cubicBezTo>
                    <a:pt x="10" y="494"/>
                    <a:pt x="10" y="494"/>
                    <a:pt x="10" y="494"/>
                  </a:cubicBezTo>
                  <a:cubicBezTo>
                    <a:pt x="10" y="494"/>
                    <a:pt x="0" y="495"/>
                    <a:pt x="0" y="500"/>
                  </a:cubicBezTo>
                  <a:cubicBezTo>
                    <a:pt x="0" y="505"/>
                    <a:pt x="2" y="522"/>
                    <a:pt x="2" y="522"/>
                  </a:cubicBezTo>
                  <a:cubicBezTo>
                    <a:pt x="2" y="522"/>
                    <a:pt x="25" y="537"/>
                    <a:pt x="23" y="541"/>
                  </a:cubicBezTo>
                  <a:cubicBezTo>
                    <a:pt x="21" y="545"/>
                    <a:pt x="19" y="554"/>
                    <a:pt x="19" y="554"/>
                  </a:cubicBezTo>
                  <a:cubicBezTo>
                    <a:pt x="32" y="564"/>
                    <a:pt x="32" y="564"/>
                    <a:pt x="32" y="56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3" y="591"/>
                    <a:pt x="43" y="591"/>
                    <a:pt x="43" y="591"/>
                  </a:cubicBezTo>
                  <a:cubicBezTo>
                    <a:pt x="43" y="591"/>
                    <a:pt x="35" y="610"/>
                    <a:pt x="47" y="613"/>
                  </a:cubicBezTo>
                  <a:cubicBezTo>
                    <a:pt x="59" y="616"/>
                    <a:pt x="63" y="614"/>
                    <a:pt x="63" y="614"/>
                  </a:cubicBezTo>
                  <a:cubicBezTo>
                    <a:pt x="65" y="639"/>
                    <a:pt x="65" y="639"/>
                    <a:pt x="65" y="639"/>
                  </a:cubicBezTo>
                  <a:cubicBezTo>
                    <a:pt x="65" y="639"/>
                    <a:pt x="80" y="658"/>
                    <a:pt x="77" y="664"/>
                  </a:cubicBezTo>
                  <a:cubicBezTo>
                    <a:pt x="74" y="670"/>
                    <a:pt x="65" y="677"/>
                    <a:pt x="65" y="681"/>
                  </a:cubicBezTo>
                  <a:cubicBezTo>
                    <a:pt x="65" y="685"/>
                    <a:pt x="64" y="724"/>
                    <a:pt x="64" y="724"/>
                  </a:cubicBezTo>
                  <a:cubicBezTo>
                    <a:pt x="55" y="725"/>
                    <a:pt x="55" y="725"/>
                    <a:pt x="55" y="725"/>
                  </a:cubicBezTo>
                  <a:cubicBezTo>
                    <a:pt x="55" y="725"/>
                    <a:pt x="72" y="743"/>
                    <a:pt x="73" y="753"/>
                  </a:cubicBezTo>
                  <a:cubicBezTo>
                    <a:pt x="74" y="763"/>
                    <a:pt x="70" y="774"/>
                    <a:pt x="70" y="774"/>
                  </a:cubicBezTo>
                  <a:cubicBezTo>
                    <a:pt x="68" y="786"/>
                    <a:pt x="68" y="786"/>
                    <a:pt x="68" y="786"/>
                  </a:cubicBezTo>
                  <a:cubicBezTo>
                    <a:pt x="51" y="787"/>
                    <a:pt x="51" y="787"/>
                    <a:pt x="51" y="787"/>
                  </a:cubicBezTo>
                  <a:cubicBezTo>
                    <a:pt x="51" y="787"/>
                    <a:pt x="63" y="820"/>
                    <a:pt x="63" y="827"/>
                  </a:cubicBezTo>
                  <a:cubicBezTo>
                    <a:pt x="63" y="834"/>
                    <a:pt x="63" y="855"/>
                    <a:pt x="63" y="855"/>
                  </a:cubicBezTo>
                  <a:cubicBezTo>
                    <a:pt x="83" y="872"/>
                    <a:pt x="83" y="872"/>
                    <a:pt x="83" y="872"/>
                  </a:cubicBezTo>
                  <a:cubicBezTo>
                    <a:pt x="84" y="884"/>
                    <a:pt x="84" y="884"/>
                    <a:pt x="84" y="884"/>
                  </a:cubicBezTo>
                  <a:cubicBezTo>
                    <a:pt x="84" y="884"/>
                    <a:pt x="103" y="893"/>
                    <a:pt x="98" y="902"/>
                  </a:cubicBezTo>
                  <a:cubicBezTo>
                    <a:pt x="93" y="911"/>
                    <a:pt x="79" y="916"/>
                    <a:pt x="79" y="916"/>
                  </a:cubicBezTo>
                  <a:cubicBezTo>
                    <a:pt x="87" y="944"/>
                    <a:pt x="87" y="944"/>
                    <a:pt x="87" y="944"/>
                  </a:cubicBezTo>
                  <a:cubicBezTo>
                    <a:pt x="74" y="953"/>
                    <a:pt x="74" y="953"/>
                    <a:pt x="74" y="953"/>
                  </a:cubicBezTo>
                  <a:cubicBezTo>
                    <a:pt x="74" y="953"/>
                    <a:pt x="84" y="958"/>
                    <a:pt x="85" y="966"/>
                  </a:cubicBezTo>
                  <a:cubicBezTo>
                    <a:pt x="86" y="974"/>
                    <a:pt x="81" y="982"/>
                    <a:pt x="81" y="982"/>
                  </a:cubicBezTo>
                  <a:cubicBezTo>
                    <a:pt x="95" y="990"/>
                    <a:pt x="95" y="990"/>
                    <a:pt x="95" y="990"/>
                  </a:cubicBezTo>
                  <a:cubicBezTo>
                    <a:pt x="95" y="990"/>
                    <a:pt x="90" y="1008"/>
                    <a:pt x="91" y="1014"/>
                  </a:cubicBezTo>
                  <a:cubicBezTo>
                    <a:pt x="92" y="1020"/>
                    <a:pt x="99" y="1031"/>
                    <a:pt x="99" y="1031"/>
                  </a:cubicBezTo>
                  <a:cubicBezTo>
                    <a:pt x="99" y="1031"/>
                    <a:pt x="99" y="1050"/>
                    <a:pt x="102" y="1056"/>
                  </a:cubicBezTo>
                  <a:cubicBezTo>
                    <a:pt x="105" y="1062"/>
                    <a:pt x="134" y="1083"/>
                    <a:pt x="129" y="1082"/>
                  </a:cubicBezTo>
                  <a:cubicBezTo>
                    <a:pt x="124" y="1081"/>
                    <a:pt x="113" y="1090"/>
                    <a:pt x="113" y="1090"/>
                  </a:cubicBezTo>
                  <a:cubicBezTo>
                    <a:pt x="113" y="1090"/>
                    <a:pt x="118" y="1120"/>
                    <a:pt x="121" y="1128"/>
                  </a:cubicBezTo>
                  <a:cubicBezTo>
                    <a:pt x="124" y="1136"/>
                    <a:pt x="133" y="1140"/>
                    <a:pt x="133" y="1140"/>
                  </a:cubicBezTo>
                  <a:cubicBezTo>
                    <a:pt x="143" y="1145"/>
                    <a:pt x="143" y="1145"/>
                    <a:pt x="143" y="1145"/>
                  </a:cubicBezTo>
                  <a:cubicBezTo>
                    <a:pt x="139" y="1163"/>
                    <a:pt x="139" y="1163"/>
                    <a:pt x="139" y="1163"/>
                  </a:cubicBezTo>
                  <a:cubicBezTo>
                    <a:pt x="139" y="1163"/>
                    <a:pt x="155" y="1164"/>
                    <a:pt x="156" y="1175"/>
                  </a:cubicBezTo>
                  <a:cubicBezTo>
                    <a:pt x="157" y="1186"/>
                    <a:pt x="158" y="1203"/>
                    <a:pt x="158" y="1203"/>
                  </a:cubicBezTo>
                  <a:cubicBezTo>
                    <a:pt x="158" y="1203"/>
                    <a:pt x="163" y="1213"/>
                    <a:pt x="170" y="1213"/>
                  </a:cubicBezTo>
                  <a:cubicBezTo>
                    <a:pt x="177" y="1213"/>
                    <a:pt x="196" y="1208"/>
                    <a:pt x="194" y="1219"/>
                  </a:cubicBezTo>
                  <a:cubicBezTo>
                    <a:pt x="192" y="1230"/>
                    <a:pt x="160" y="1227"/>
                    <a:pt x="161" y="1230"/>
                  </a:cubicBezTo>
                  <a:cubicBezTo>
                    <a:pt x="162" y="1233"/>
                    <a:pt x="185" y="1240"/>
                    <a:pt x="185" y="1240"/>
                  </a:cubicBezTo>
                  <a:cubicBezTo>
                    <a:pt x="185" y="1240"/>
                    <a:pt x="208" y="1249"/>
                    <a:pt x="205" y="1257"/>
                  </a:cubicBezTo>
                  <a:cubicBezTo>
                    <a:pt x="202" y="1265"/>
                    <a:pt x="189" y="1276"/>
                    <a:pt x="189" y="1276"/>
                  </a:cubicBezTo>
                  <a:cubicBezTo>
                    <a:pt x="205" y="1288"/>
                    <a:pt x="205" y="1288"/>
                    <a:pt x="205" y="1288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217" y="1321"/>
                    <a:pt x="217" y="1321"/>
                    <a:pt x="217" y="1321"/>
                  </a:cubicBezTo>
                  <a:cubicBezTo>
                    <a:pt x="214" y="1343"/>
                    <a:pt x="214" y="1343"/>
                    <a:pt x="214" y="1343"/>
                  </a:cubicBezTo>
                  <a:cubicBezTo>
                    <a:pt x="224" y="1360"/>
                    <a:pt x="224" y="1360"/>
                    <a:pt x="224" y="1360"/>
                  </a:cubicBezTo>
                  <a:cubicBezTo>
                    <a:pt x="213" y="1364"/>
                    <a:pt x="213" y="1364"/>
                    <a:pt x="213" y="1364"/>
                  </a:cubicBezTo>
                  <a:cubicBezTo>
                    <a:pt x="210" y="1394"/>
                    <a:pt x="210" y="1394"/>
                    <a:pt x="210" y="1394"/>
                  </a:cubicBezTo>
                  <a:cubicBezTo>
                    <a:pt x="210" y="1394"/>
                    <a:pt x="229" y="1405"/>
                    <a:pt x="230" y="1408"/>
                  </a:cubicBezTo>
                  <a:cubicBezTo>
                    <a:pt x="231" y="1411"/>
                    <a:pt x="215" y="1420"/>
                    <a:pt x="215" y="1420"/>
                  </a:cubicBezTo>
                  <a:cubicBezTo>
                    <a:pt x="215" y="1420"/>
                    <a:pt x="235" y="1435"/>
                    <a:pt x="232" y="1440"/>
                  </a:cubicBezTo>
                  <a:cubicBezTo>
                    <a:pt x="229" y="1445"/>
                    <a:pt x="214" y="1450"/>
                    <a:pt x="214" y="1450"/>
                  </a:cubicBezTo>
                  <a:cubicBezTo>
                    <a:pt x="213" y="1463"/>
                    <a:pt x="213" y="1463"/>
                    <a:pt x="213" y="1463"/>
                  </a:cubicBezTo>
                  <a:cubicBezTo>
                    <a:pt x="206" y="1467"/>
                    <a:pt x="206" y="1467"/>
                    <a:pt x="206" y="1467"/>
                  </a:cubicBezTo>
                  <a:cubicBezTo>
                    <a:pt x="206" y="1467"/>
                    <a:pt x="208" y="1483"/>
                    <a:pt x="213" y="1488"/>
                  </a:cubicBezTo>
                  <a:cubicBezTo>
                    <a:pt x="218" y="1493"/>
                    <a:pt x="216" y="1513"/>
                    <a:pt x="216" y="1513"/>
                  </a:cubicBezTo>
                  <a:cubicBezTo>
                    <a:pt x="236" y="1517"/>
                    <a:pt x="236" y="1517"/>
                    <a:pt x="236" y="1517"/>
                  </a:cubicBezTo>
                  <a:cubicBezTo>
                    <a:pt x="236" y="1517"/>
                    <a:pt x="240" y="1542"/>
                    <a:pt x="250" y="1542"/>
                  </a:cubicBezTo>
                  <a:cubicBezTo>
                    <a:pt x="260" y="1542"/>
                    <a:pt x="266" y="1524"/>
                    <a:pt x="281" y="1537"/>
                  </a:cubicBezTo>
                  <a:cubicBezTo>
                    <a:pt x="296" y="1550"/>
                    <a:pt x="290" y="1562"/>
                    <a:pt x="290" y="1562"/>
                  </a:cubicBezTo>
                  <a:cubicBezTo>
                    <a:pt x="304" y="1578"/>
                    <a:pt x="304" y="1578"/>
                    <a:pt x="304" y="1578"/>
                  </a:cubicBezTo>
                  <a:cubicBezTo>
                    <a:pt x="311" y="1589"/>
                    <a:pt x="311" y="1589"/>
                    <a:pt x="311" y="1589"/>
                  </a:cubicBezTo>
                  <a:cubicBezTo>
                    <a:pt x="335" y="1600"/>
                    <a:pt x="335" y="1600"/>
                    <a:pt x="335" y="1600"/>
                  </a:cubicBezTo>
                  <a:cubicBezTo>
                    <a:pt x="347" y="1612"/>
                    <a:pt x="347" y="1612"/>
                    <a:pt x="347" y="1612"/>
                  </a:cubicBezTo>
                  <a:cubicBezTo>
                    <a:pt x="347" y="1612"/>
                    <a:pt x="373" y="1605"/>
                    <a:pt x="389" y="1607"/>
                  </a:cubicBezTo>
                  <a:cubicBezTo>
                    <a:pt x="405" y="1609"/>
                    <a:pt x="425" y="1608"/>
                    <a:pt x="425" y="1608"/>
                  </a:cubicBezTo>
                  <a:cubicBezTo>
                    <a:pt x="440" y="1620"/>
                    <a:pt x="440" y="1620"/>
                    <a:pt x="440" y="1620"/>
                  </a:cubicBezTo>
                  <a:cubicBezTo>
                    <a:pt x="437" y="1628"/>
                    <a:pt x="437" y="1628"/>
                    <a:pt x="437" y="1628"/>
                  </a:cubicBezTo>
                  <a:cubicBezTo>
                    <a:pt x="442" y="1616"/>
                    <a:pt x="442" y="1616"/>
                    <a:pt x="442" y="1616"/>
                  </a:cubicBezTo>
                  <a:cubicBezTo>
                    <a:pt x="449" y="1606"/>
                    <a:pt x="478" y="1625"/>
                    <a:pt x="478" y="1625"/>
                  </a:cubicBezTo>
                  <a:cubicBezTo>
                    <a:pt x="451" y="1588"/>
                    <a:pt x="451" y="1588"/>
                    <a:pt x="451" y="1588"/>
                  </a:cubicBezTo>
                  <a:cubicBezTo>
                    <a:pt x="438" y="1589"/>
                    <a:pt x="438" y="1589"/>
                    <a:pt x="438" y="1589"/>
                  </a:cubicBezTo>
                  <a:cubicBezTo>
                    <a:pt x="441" y="1579"/>
                    <a:pt x="441" y="1579"/>
                    <a:pt x="441" y="1579"/>
                  </a:cubicBezTo>
                  <a:cubicBezTo>
                    <a:pt x="417" y="1562"/>
                    <a:pt x="417" y="1562"/>
                    <a:pt x="417" y="1562"/>
                  </a:cubicBezTo>
                  <a:cubicBezTo>
                    <a:pt x="418" y="1538"/>
                    <a:pt x="418" y="1538"/>
                    <a:pt x="418" y="1538"/>
                  </a:cubicBezTo>
                  <a:cubicBezTo>
                    <a:pt x="409" y="1534"/>
                    <a:pt x="409" y="1534"/>
                    <a:pt x="409" y="1534"/>
                  </a:cubicBezTo>
                  <a:cubicBezTo>
                    <a:pt x="414" y="1522"/>
                    <a:pt x="414" y="1522"/>
                    <a:pt x="414" y="1522"/>
                  </a:cubicBezTo>
                  <a:cubicBezTo>
                    <a:pt x="414" y="1522"/>
                    <a:pt x="423" y="1522"/>
                    <a:pt x="426" y="1514"/>
                  </a:cubicBezTo>
                  <a:cubicBezTo>
                    <a:pt x="430" y="1506"/>
                    <a:pt x="400" y="1506"/>
                    <a:pt x="400" y="1506"/>
                  </a:cubicBezTo>
                  <a:cubicBezTo>
                    <a:pt x="412" y="1501"/>
                    <a:pt x="412" y="1501"/>
                    <a:pt x="412" y="1501"/>
                  </a:cubicBezTo>
                  <a:cubicBezTo>
                    <a:pt x="408" y="1488"/>
                    <a:pt x="408" y="1488"/>
                    <a:pt x="408" y="1488"/>
                  </a:cubicBezTo>
                  <a:cubicBezTo>
                    <a:pt x="424" y="1505"/>
                    <a:pt x="424" y="1505"/>
                    <a:pt x="424" y="1505"/>
                  </a:cubicBezTo>
                  <a:cubicBezTo>
                    <a:pt x="424" y="1505"/>
                    <a:pt x="438" y="1515"/>
                    <a:pt x="448" y="1503"/>
                  </a:cubicBezTo>
                  <a:cubicBezTo>
                    <a:pt x="458" y="1491"/>
                    <a:pt x="440" y="1465"/>
                    <a:pt x="441" y="1451"/>
                  </a:cubicBezTo>
                  <a:cubicBezTo>
                    <a:pt x="442" y="1438"/>
                    <a:pt x="485" y="1409"/>
                    <a:pt x="488" y="1400"/>
                  </a:cubicBezTo>
                  <a:cubicBezTo>
                    <a:pt x="492" y="1391"/>
                    <a:pt x="467" y="1391"/>
                    <a:pt x="467" y="1391"/>
                  </a:cubicBezTo>
                  <a:cubicBezTo>
                    <a:pt x="483" y="1389"/>
                    <a:pt x="483" y="1389"/>
                    <a:pt x="483" y="1389"/>
                  </a:cubicBezTo>
                  <a:cubicBezTo>
                    <a:pt x="483" y="1389"/>
                    <a:pt x="484" y="1369"/>
                    <a:pt x="476" y="1359"/>
                  </a:cubicBezTo>
                  <a:cubicBezTo>
                    <a:pt x="468" y="1349"/>
                    <a:pt x="456" y="1354"/>
                    <a:pt x="456" y="1354"/>
                  </a:cubicBezTo>
                  <a:cubicBezTo>
                    <a:pt x="444" y="1345"/>
                    <a:pt x="444" y="1345"/>
                    <a:pt x="444" y="1345"/>
                  </a:cubicBezTo>
                  <a:cubicBezTo>
                    <a:pt x="431" y="1345"/>
                    <a:pt x="431" y="1345"/>
                    <a:pt x="431" y="1345"/>
                  </a:cubicBezTo>
                  <a:cubicBezTo>
                    <a:pt x="431" y="1345"/>
                    <a:pt x="391" y="1328"/>
                    <a:pt x="379" y="1301"/>
                  </a:cubicBezTo>
                  <a:cubicBezTo>
                    <a:pt x="366" y="1274"/>
                    <a:pt x="386" y="1269"/>
                    <a:pt x="386" y="1269"/>
                  </a:cubicBezTo>
                  <a:cubicBezTo>
                    <a:pt x="392" y="1252"/>
                    <a:pt x="392" y="1252"/>
                    <a:pt x="392" y="1252"/>
                  </a:cubicBezTo>
                  <a:cubicBezTo>
                    <a:pt x="401" y="1252"/>
                    <a:pt x="401" y="1252"/>
                    <a:pt x="401" y="1252"/>
                  </a:cubicBezTo>
                  <a:cubicBezTo>
                    <a:pt x="407" y="1240"/>
                    <a:pt x="407" y="1240"/>
                    <a:pt x="407" y="1240"/>
                  </a:cubicBezTo>
                  <a:cubicBezTo>
                    <a:pt x="443" y="1239"/>
                    <a:pt x="443" y="1239"/>
                    <a:pt x="443" y="1239"/>
                  </a:cubicBezTo>
                  <a:cubicBezTo>
                    <a:pt x="435" y="1232"/>
                    <a:pt x="435" y="1232"/>
                    <a:pt x="435" y="1232"/>
                  </a:cubicBezTo>
                  <a:cubicBezTo>
                    <a:pt x="434" y="1218"/>
                    <a:pt x="434" y="1218"/>
                    <a:pt x="434" y="1218"/>
                  </a:cubicBezTo>
                  <a:cubicBezTo>
                    <a:pt x="443" y="1217"/>
                    <a:pt x="443" y="1217"/>
                    <a:pt x="443" y="1217"/>
                  </a:cubicBezTo>
                  <a:cubicBezTo>
                    <a:pt x="443" y="1217"/>
                    <a:pt x="448" y="1198"/>
                    <a:pt x="440" y="1191"/>
                  </a:cubicBezTo>
                  <a:cubicBezTo>
                    <a:pt x="432" y="1184"/>
                    <a:pt x="423" y="1168"/>
                    <a:pt x="430" y="1152"/>
                  </a:cubicBezTo>
                  <a:cubicBezTo>
                    <a:pt x="436" y="1137"/>
                    <a:pt x="456" y="1137"/>
                    <a:pt x="456" y="1137"/>
                  </a:cubicBezTo>
                  <a:cubicBezTo>
                    <a:pt x="456" y="1130"/>
                    <a:pt x="456" y="1130"/>
                    <a:pt x="456" y="1130"/>
                  </a:cubicBezTo>
                  <a:cubicBezTo>
                    <a:pt x="456" y="1130"/>
                    <a:pt x="439" y="1130"/>
                    <a:pt x="431" y="1125"/>
                  </a:cubicBezTo>
                  <a:cubicBezTo>
                    <a:pt x="423" y="1121"/>
                    <a:pt x="432" y="1112"/>
                    <a:pt x="440" y="1111"/>
                  </a:cubicBezTo>
                  <a:cubicBezTo>
                    <a:pt x="448" y="1110"/>
                    <a:pt x="462" y="1127"/>
                    <a:pt x="469" y="1127"/>
                  </a:cubicBezTo>
                  <a:cubicBezTo>
                    <a:pt x="476" y="1127"/>
                    <a:pt x="485" y="1123"/>
                    <a:pt x="486" y="1113"/>
                  </a:cubicBezTo>
                  <a:cubicBezTo>
                    <a:pt x="487" y="1103"/>
                    <a:pt x="474" y="1080"/>
                    <a:pt x="461" y="1085"/>
                  </a:cubicBezTo>
                  <a:cubicBezTo>
                    <a:pt x="449" y="1089"/>
                    <a:pt x="468" y="1099"/>
                    <a:pt x="456" y="1105"/>
                  </a:cubicBezTo>
                  <a:cubicBezTo>
                    <a:pt x="443" y="1111"/>
                    <a:pt x="431" y="1094"/>
                    <a:pt x="431" y="1094"/>
                  </a:cubicBezTo>
                  <a:cubicBezTo>
                    <a:pt x="431" y="1094"/>
                    <a:pt x="407" y="1096"/>
                    <a:pt x="404" y="1089"/>
                  </a:cubicBezTo>
                  <a:cubicBezTo>
                    <a:pt x="400" y="1083"/>
                    <a:pt x="404" y="1055"/>
                    <a:pt x="404" y="1052"/>
                  </a:cubicBezTo>
                  <a:cubicBezTo>
                    <a:pt x="404" y="1049"/>
                    <a:pt x="387" y="1032"/>
                    <a:pt x="391" y="1017"/>
                  </a:cubicBezTo>
                  <a:cubicBezTo>
                    <a:pt x="396" y="1003"/>
                    <a:pt x="409" y="1019"/>
                    <a:pt x="424" y="1023"/>
                  </a:cubicBezTo>
                  <a:cubicBezTo>
                    <a:pt x="439" y="1026"/>
                    <a:pt x="456" y="1039"/>
                    <a:pt x="465" y="1039"/>
                  </a:cubicBezTo>
                  <a:cubicBezTo>
                    <a:pt x="474" y="1039"/>
                    <a:pt x="507" y="1021"/>
                    <a:pt x="515" y="1015"/>
                  </a:cubicBezTo>
                  <a:cubicBezTo>
                    <a:pt x="523" y="1009"/>
                    <a:pt x="490" y="991"/>
                    <a:pt x="490" y="991"/>
                  </a:cubicBezTo>
                  <a:cubicBezTo>
                    <a:pt x="489" y="975"/>
                    <a:pt x="489" y="975"/>
                    <a:pt x="489" y="975"/>
                  </a:cubicBezTo>
                  <a:cubicBezTo>
                    <a:pt x="489" y="975"/>
                    <a:pt x="498" y="959"/>
                    <a:pt x="501" y="948"/>
                  </a:cubicBezTo>
                  <a:cubicBezTo>
                    <a:pt x="503" y="938"/>
                    <a:pt x="480" y="938"/>
                    <a:pt x="480" y="938"/>
                  </a:cubicBezTo>
                  <a:cubicBezTo>
                    <a:pt x="478" y="924"/>
                    <a:pt x="478" y="924"/>
                    <a:pt x="478" y="924"/>
                  </a:cubicBezTo>
                  <a:cubicBezTo>
                    <a:pt x="478" y="924"/>
                    <a:pt x="470" y="915"/>
                    <a:pt x="477" y="907"/>
                  </a:cubicBezTo>
                  <a:cubicBezTo>
                    <a:pt x="484" y="899"/>
                    <a:pt x="494" y="934"/>
                    <a:pt x="494" y="934"/>
                  </a:cubicBezTo>
                  <a:cubicBezTo>
                    <a:pt x="502" y="933"/>
                    <a:pt x="502" y="933"/>
                    <a:pt x="502" y="933"/>
                  </a:cubicBezTo>
                  <a:cubicBezTo>
                    <a:pt x="497" y="919"/>
                    <a:pt x="497" y="919"/>
                    <a:pt x="497" y="919"/>
                  </a:cubicBezTo>
                  <a:cubicBezTo>
                    <a:pt x="551" y="926"/>
                    <a:pt x="551" y="926"/>
                    <a:pt x="551" y="926"/>
                  </a:cubicBezTo>
                  <a:cubicBezTo>
                    <a:pt x="554" y="920"/>
                    <a:pt x="554" y="920"/>
                    <a:pt x="554" y="920"/>
                  </a:cubicBezTo>
                  <a:cubicBezTo>
                    <a:pt x="554" y="920"/>
                    <a:pt x="567" y="912"/>
                    <a:pt x="595" y="909"/>
                  </a:cubicBezTo>
                  <a:cubicBezTo>
                    <a:pt x="624" y="906"/>
                    <a:pt x="676" y="881"/>
                    <a:pt x="676" y="881"/>
                  </a:cubicBezTo>
                  <a:cubicBezTo>
                    <a:pt x="673" y="855"/>
                    <a:pt x="673" y="855"/>
                    <a:pt x="673" y="855"/>
                  </a:cubicBezTo>
                  <a:cubicBezTo>
                    <a:pt x="688" y="847"/>
                    <a:pt x="688" y="847"/>
                    <a:pt x="688" y="847"/>
                  </a:cubicBezTo>
                  <a:cubicBezTo>
                    <a:pt x="696" y="814"/>
                    <a:pt x="696" y="814"/>
                    <a:pt x="696" y="814"/>
                  </a:cubicBezTo>
                  <a:cubicBezTo>
                    <a:pt x="689" y="797"/>
                    <a:pt x="689" y="797"/>
                    <a:pt x="689" y="797"/>
                  </a:cubicBezTo>
                  <a:cubicBezTo>
                    <a:pt x="689" y="779"/>
                    <a:pt x="689" y="779"/>
                    <a:pt x="689" y="779"/>
                  </a:cubicBezTo>
                  <a:cubicBezTo>
                    <a:pt x="689" y="779"/>
                    <a:pt x="678" y="770"/>
                    <a:pt x="667" y="766"/>
                  </a:cubicBezTo>
                  <a:cubicBezTo>
                    <a:pt x="661" y="764"/>
                    <a:pt x="654" y="769"/>
                    <a:pt x="649" y="765"/>
                  </a:cubicBezTo>
                  <a:cubicBezTo>
                    <a:pt x="641" y="759"/>
                    <a:pt x="655" y="753"/>
                    <a:pt x="658" y="748"/>
                  </a:cubicBezTo>
                  <a:cubicBezTo>
                    <a:pt x="662" y="741"/>
                    <a:pt x="657" y="735"/>
                    <a:pt x="657" y="727"/>
                  </a:cubicBezTo>
                  <a:cubicBezTo>
                    <a:pt x="657" y="712"/>
                    <a:pt x="624" y="707"/>
                    <a:pt x="601" y="696"/>
                  </a:cubicBezTo>
                  <a:cubicBezTo>
                    <a:pt x="578" y="685"/>
                    <a:pt x="578" y="674"/>
                    <a:pt x="588" y="660"/>
                  </a:cubicBezTo>
                  <a:cubicBezTo>
                    <a:pt x="589" y="659"/>
                    <a:pt x="589" y="658"/>
                    <a:pt x="590" y="658"/>
                  </a:cubicBezTo>
                  <a:cubicBezTo>
                    <a:pt x="570" y="633"/>
                    <a:pt x="570" y="633"/>
                    <a:pt x="570" y="633"/>
                  </a:cubicBezTo>
                  <a:cubicBezTo>
                    <a:pt x="570" y="601"/>
                    <a:pt x="570" y="601"/>
                    <a:pt x="570" y="601"/>
                  </a:cubicBezTo>
                  <a:cubicBezTo>
                    <a:pt x="570" y="601"/>
                    <a:pt x="593" y="600"/>
                    <a:pt x="594" y="595"/>
                  </a:cubicBezTo>
                  <a:cubicBezTo>
                    <a:pt x="595" y="590"/>
                    <a:pt x="575" y="567"/>
                    <a:pt x="575" y="567"/>
                  </a:cubicBezTo>
                  <a:cubicBezTo>
                    <a:pt x="582" y="557"/>
                    <a:pt x="582" y="557"/>
                    <a:pt x="582" y="557"/>
                  </a:cubicBezTo>
                  <a:cubicBezTo>
                    <a:pt x="582" y="557"/>
                    <a:pt x="569" y="545"/>
                    <a:pt x="568" y="536"/>
                  </a:cubicBezTo>
                  <a:cubicBezTo>
                    <a:pt x="567" y="527"/>
                    <a:pt x="586" y="528"/>
                    <a:pt x="586" y="528"/>
                  </a:cubicBezTo>
                  <a:cubicBezTo>
                    <a:pt x="569" y="518"/>
                    <a:pt x="569" y="518"/>
                    <a:pt x="569" y="518"/>
                  </a:cubicBezTo>
                  <a:cubicBezTo>
                    <a:pt x="569" y="491"/>
                    <a:pt x="569" y="491"/>
                    <a:pt x="569" y="491"/>
                  </a:cubicBezTo>
                  <a:cubicBezTo>
                    <a:pt x="587" y="484"/>
                    <a:pt x="587" y="484"/>
                    <a:pt x="587" y="484"/>
                  </a:cubicBezTo>
                  <a:cubicBezTo>
                    <a:pt x="587" y="484"/>
                    <a:pt x="566" y="471"/>
                    <a:pt x="566" y="467"/>
                  </a:cubicBezTo>
                  <a:cubicBezTo>
                    <a:pt x="566" y="463"/>
                    <a:pt x="580" y="452"/>
                    <a:pt x="580" y="452"/>
                  </a:cubicBezTo>
                  <a:cubicBezTo>
                    <a:pt x="580" y="452"/>
                    <a:pt x="584" y="435"/>
                    <a:pt x="584" y="429"/>
                  </a:cubicBezTo>
                  <a:cubicBezTo>
                    <a:pt x="584" y="423"/>
                    <a:pt x="599" y="424"/>
                    <a:pt x="604" y="419"/>
                  </a:cubicBezTo>
                  <a:cubicBezTo>
                    <a:pt x="609" y="414"/>
                    <a:pt x="612" y="399"/>
                    <a:pt x="612" y="396"/>
                  </a:cubicBezTo>
                  <a:cubicBezTo>
                    <a:pt x="612" y="393"/>
                    <a:pt x="621" y="388"/>
                    <a:pt x="626" y="383"/>
                  </a:cubicBezTo>
                  <a:cubicBezTo>
                    <a:pt x="631" y="378"/>
                    <a:pt x="634" y="355"/>
                    <a:pt x="634" y="355"/>
                  </a:cubicBezTo>
                  <a:close/>
                  <a:moveTo>
                    <a:pt x="619" y="681"/>
                  </a:moveTo>
                  <a:cubicBezTo>
                    <a:pt x="624" y="681"/>
                    <a:pt x="624" y="681"/>
                    <a:pt x="624" y="681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8" y="679"/>
                    <a:pt x="619" y="681"/>
                    <a:pt x="619" y="68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C7A7AED1-236C-5BD0-EFF2-DBFD136012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4245" y="4054505"/>
              <a:ext cx="161579" cy="201211"/>
            </a:xfrm>
            <a:custGeom>
              <a:avLst/>
              <a:gdLst>
                <a:gd name="T0" fmla="*/ 2 w 280"/>
                <a:gd name="T1" fmla="*/ 13 h 353"/>
                <a:gd name="T2" fmla="*/ 3 w 280"/>
                <a:gd name="T3" fmla="*/ 12 h 353"/>
                <a:gd name="T4" fmla="*/ 2 w 280"/>
                <a:gd name="T5" fmla="*/ 13 h 353"/>
                <a:gd name="T6" fmla="*/ 15 w 280"/>
                <a:gd name="T7" fmla="*/ 6 h 353"/>
                <a:gd name="T8" fmla="*/ 14 w 280"/>
                <a:gd name="T9" fmla="*/ 5 h 353"/>
                <a:gd name="T10" fmla="*/ 15 w 280"/>
                <a:gd name="T11" fmla="*/ 4 h 353"/>
                <a:gd name="T12" fmla="*/ 14 w 280"/>
                <a:gd name="T13" fmla="*/ 4 h 353"/>
                <a:gd name="T14" fmla="*/ 12 w 280"/>
                <a:gd name="T15" fmla="*/ 3 h 353"/>
                <a:gd name="T16" fmla="*/ 12 w 280"/>
                <a:gd name="T17" fmla="*/ 4 h 353"/>
                <a:gd name="T18" fmla="*/ 11 w 280"/>
                <a:gd name="T19" fmla="*/ 3 h 353"/>
                <a:gd name="T20" fmla="*/ 9 w 280"/>
                <a:gd name="T21" fmla="*/ 3 h 353"/>
                <a:gd name="T22" fmla="*/ 9 w 280"/>
                <a:gd name="T23" fmla="*/ 2 h 353"/>
                <a:gd name="T24" fmla="*/ 8 w 280"/>
                <a:gd name="T25" fmla="*/ 2 h 353"/>
                <a:gd name="T26" fmla="*/ 6 w 280"/>
                <a:gd name="T27" fmla="*/ 1 h 353"/>
                <a:gd name="T28" fmla="*/ 5 w 280"/>
                <a:gd name="T29" fmla="*/ 0 h 353"/>
                <a:gd name="T30" fmla="*/ 5 w 280"/>
                <a:gd name="T31" fmla="*/ 1 h 353"/>
                <a:gd name="T32" fmla="*/ 4 w 280"/>
                <a:gd name="T33" fmla="*/ 2 h 353"/>
                <a:gd name="T34" fmla="*/ 3 w 280"/>
                <a:gd name="T35" fmla="*/ 1 h 353"/>
                <a:gd name="T36" fmla="*/ 2 w 280"/>
                <a:gd name="T37" fmla="*/ 2 h 353"/>
                <a:gd name="T38" fmla="*/ 3 w 280"/>
                <a:gd name="T39" fmla="*/ 4 h 353"/>
                <a:gd name="T40" fmla="*/ 2 w 280"/>
                <a:gd name="T41" fmla="*/ 5 h 353"/>
                <a:gd name="T42" fmla="*/ 2 w 280"/>
                <a:gd name="T43" fmla="*/ 6 h 353"/>
                <a:gd name="T44" fmla="*/ 2 w 280"/>
                <a:gd name="T45" fmla="*/ 6 h 353"/>
                <a:gd name="T46" fmla="*/ 2 w 280"/>
                <a:gd name="T47" fmla="*/ 7 h 353"/>
                <a:gd name="T48" fmla="*/ 0 w 280"/>
                <a:gd name="T49" fmla="*/ 7 h 353"/>
                <a:gd name="T50" fmla="*/ 1 w 280"/>
                <a:gd name="T51" fmla="*/ 8 h 353"/>
                <a:gd name="T52" fmla="*/ 0 w 280"/>
                <a:gd name="T53" fmla="*/ 9 h 353"/>
                <a:gd name="T54" fmla="*/ 1 w 280"/>
                <a:gd name="T55" fmla="*/ 10 h 353"/>
                <a:gd name="T56" fmla="*/ 0 w 280"/>
                <a:gd name="T57" fmla="*/ 10 h 353"/>
                <a:gd name="T58" fmla="*/ 1 w 280"/>
                <a:gd name="T59" fmla="*/ 11 h 353"/>
                <a:gd name="T60" fmla="*/ 1 w 280"/>
                <a:gd name="T61" fmla="*/ 12 h 353"/>
                <a:gd name="T62" fmla="*/ 3 w 280"/>
                <a:gd name="T63" fmla="*/ 11 h 353"/>
                <a:gd name="T64" fmla="*/ 3 w 280"/>
                <a:gd name="T65" fmla="*/ 12 h 353"/>
                <a:gd name="T66" fmla="*/ 3 w 280"/>
                <a:gd name="T67" fmla="*/ 13 h 353"/>
                <a:gd name="T68" fmla="*/ 2 w 280"/>
                <a:gd name="T69" fmla="*/ 14 h 353"/>
                <a:gd name="T70" fmla="*/ 3 w 280"/>
                <a:gd name="T71" fmla="*/ 15 h 353"/>
                <a:gd name="T72" fmla="*/ 2 w 280"/>
                <a:gd name="T73" fmla="*/ 16 h 353"/>
                <a:gd name="T74" fmla="*/ 2 w 280"/>
                <a:gd name="T75" fmla="*/ 16 h 353"/>
                <a:gd name="T76" fmla="*/ 2 w 280"/>
                <a:gd name="T77" fmla="*/ 17 h 353"/>
                <a:gd name="T78" fmla="*/ 3 w 280"/>
                <a:gd name="T79" fmla="*/ 16 h 353"/>
                <a:gd name="T80" fmla="*/ 3 w 280"/>
                <a:gd name="T81" fmla="*/ 17 h 353"/>
                <a:gd name="T82" fmla="*/ 5 w 280"/>
                <a:gd name="T83" fmla="*/ 17 h 353"/>
                <a:gd name="T84" fmla="*/ 5 w 280"/>
                <a:gd name="T85" fmla="*/ 18 h 353"/>
                <a:gd name="T86" fmla="*/ 6 w 280"/>
                <a:gd name="T87" fmla="*/ 18 h 353"/>
                <a:gd name="T88" fmla="*/ 6 w 280"/>
                <a:gd name="T89" fmla="*/ 18 h 353"/>
                <a:gd name="T90" fmla="*/ 7 w 280"/>
                <a:gd name="T91" fmla="*/ 16 h 353"/>
                <a:gd name="T92" fmla="*/ 7 w 280"/>
                <a:gd name="T93" fmla="*/ 15 h 353"/>
                <a:gd name="T94" fmla="*/ 7 w 280"/>
                <a:gd name="T95" fmla="*/ 14 h 353"/>
                <a:gd name="T96" fmla="*/ 8 w 280"/>
                <a:gd name="T97" fmla="*/ 14 h 353"/>
                <a:gd name="T98" fmla="*/ 8 w 280"/>
                <a:gd name="T99" fmla="*/ 13 h 353"/>
                <a:gd name="T100" fmla="*/ 11 w 280"/>
                <a:gd name="T101" fmla="*/ 12 h 353"/>
                <a:gd name="T102" fmla="*/ 14 w 280"/>
                <a:gd name="T103" fmla="*/ 9 h 353"/>
                <a:gd name="T104" fmla="*/ 15 w 280"/>
                <a:gd name="T105" fmla="*/ 7 h 353"/>
                <a:gd name="T106" fmla="*/ 15 w 280"/>
                <a:gd name="T107" fmla="*/ 7 h 353"/>
                <a:gd name="T108" fmla="*/ 15 w 280"/>
                <a:gd name="T109" fmla="*/ 6 h 3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80"/>
                <a:gd name="T166" fmla="*/ 0 h 353"/>
                <a:gd name="T167" fmla="*/ 280 w 280"/>
                <a:gd name="T168" fmla="*/ 353 h 3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80" h="353">
                  <a:moveTo>
                    <a:pt x="42" y="249"/>
                  </a:moveTo>
                  <a:cubicBezTo>
                    <a:pt x="57" y="245"/>
                    <a:pt x="59" y="225"/>
                    <a:pt x="49" y="229"/>
                  </a:cubicBezTo>
                  <a:cubicBezTo>
                    <a:pt x="40" y="233"/>
                    <a:pt x="34" y="250"/>
                    <a:pt x="42" y="249"/>
                  </a:cubicBezTo>
                  <a:close/>
                  <a:moveTo>
                    <a:pt x="277" y="114"/>
                  </a:moveTo>
                  <a:cubicBezTo>
                    <a:pt x="261" y="102"/>
                    <a:pt x="261" y="102"/>
                    <a:pt x="261" y="102"/>
                  </a:cubicBezTo>
                  <a:cubicBezTo>
                    <a:pt x="261" y="102"/>
                    <a:pt x="272" y="102"/>
                    <a:pt x="271" y="84"/>
                  </a:cubicBezTo>
                  <a:cubicBezTo>
                    <a:pt x="265" y="83"/>
                    <a:pt x="258" y="83"/>
                    <a:pt x="252" y="83"/>
                  </a:cubicBezTo>
                  <a:cubicBezTo>
                    <a:pt x="239" y="82"/>
                    <a:pt x="247" y="64"/>
                    <a:pt x="230" y="61"/>
                  </a:cubicBezTo>
                  <a:cubicBezTo>
                    <a:pt x="213" y="58"/>
                    <a:pt x="225" y="71"/>
                    <a:pt x="218" y="73"/>
                  </a:cubicBezTo>
                  <a:cubicBezTo>
                    <a:pt x="211" y="75"/>
                    <a:pt x="195" y="65"/>
                    <a:pt x="195" y="65"/>
                  </a:cubicBezTo>
                  <a:cubicBezTo>
                    <a:pt x="195" y="65"/>
                    <a:pt x="184" y="70"/>
                    <a:pt x="175" y="64"/>
                  </a:cubicBezTo>
                  <a:cubicBezTo>
                    <a:pt x="166" y="58"/>
                    <a:pt x="173" y="51"/>
                    <a:pt x="163" y="43"/>
                  </a:cubicBezTo>
                  <a:cubicBezTo>
                    <a:pt x="153" y="35"/>
                    <a:pt x="140" y="40"/>
                    <a:pt x="140" y="40"/>
                  </a:cubicBezTo>
                  <a:cubicBezTo>
                    <a:pt x="140" y="40"/>
                    <a:pt x="132" y="28"/>
                    <a:pt x="121" y="22"/>
                  </a:cubicBezTo>
                  <a:cubicBezTo>
                    <a:pt x="113" y="19"/>
                    <a:pt x="103" y="6"/>
                    <a:pt x="98" y="0"/>
                  </a:cubicBezTo>
                  <a:cubicBezTo>
                    <a:pt x="99" y="10"/>
                    <a:pt x="105" y="14"/>
                    <a:pt x="101" y="23"/>
                  </a:cubicBezTo>
                  <a:cubicBezTo>
                    <a:pt x="98" y="32"/>
                    <a:pt x="68" y="37"/>
                    <a:pt x="68" y="3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46" y="38"/>
                    <a:pt x="44" y="46"/>
                  </a:cubicBezTo>
                  <a:cubicBezTo>
                    <a:pt x="41" y="54"/>
                    <a:pt x="51" y="64"/>
                    <a:pt x="49" y="77"/>
                  </a:cubicBezTo>
                  <a:cubicBezTo>
                    <a:pt x="48" y="90"/>
                    <a:pt x="35" y="89"/>
                    <a:pt x="31" y="97"/>
                  </a:cubicBezTo>
                  <a:cubicBezTo>
                    <a:pt x="26" y="105"/>
                    <a:pt x="39" y="119"/>
                    <a:pt x="39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19" y="176"/>
                    <a:pt x="18" y="187"/>
                  </a:cubicBezTo>
                  <a:cubicBezTo>
                    <a:pt x="16" y="198"/>
                    <a:pt x="3" y="201"/>
                    <a:pt x="3" y="201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2" y="207"/>
                    <a:pt x="0" y="221"/>
                    <a:pt x="22" y="228"/>
                  </a:cubicBezTo>
                  <a:cubicBezTo>
                    <a:pt x="45" y="235"/>
                    <a:pt x="48" y="214"/>
                    <a:pt x="48" y="214"/>
                  </a:cubicBezTo>
                  <a:cubicBezTo>
                    <a:pt x="65" y="219"/>
                    <a:pt x="65" y="219"/>
                    <a:pt x="65" y="219"/>
                  </a:cubicBezTo>
                  <a:cubicBezTo>
                    <a:pt x="73" y="227"/>
                    <a:pt x="64" y="246"/>
                    <a:pt x="61" y="258"/>
                  </a:cubicBezTo>
                  <a:cubicBezTo>
                    <a:pt x="59" y="270"/>
                    <a:pt x="36" y="271"/>
                    <a:pt x="36" y="271"/>
                  </a:cubicBezTo>
                  <a:cubicBezTo>
                    <a:pt x="36" y="271"/>
                    <a:pt x="60" y="277"/>
                    <a:pt x="51" y="286"/>
                  </a:cubicBezTo>
                  <a:cubicBezTo>
                    <a:pt x="43" y="295"/>
                    <a:pt x="30" y="307"/>
                    <a:pt x="30" y="307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40" y="315"/>
                    <a:pt x="24" y="324"/>
                    <a:pt x="33" y="329"/>
                  </a:cubicBezTo>
                  <a:cubicBezTo>
                    <a:pt x="43" y="333"/>
                    <a:pt x="53" y="315"/>
                    <a:pt x="53" y="3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62" y="326"/>
                    <a:pt x="75" y="320"/>
                    <a:pt x="81" y="324"/>
                  </a:cubicBezTo>
                  <a:cubicBezTo>
                    <a:pt x="86" y="329"/>
                    <a:pt x="82" y="353"/>
                    <a:pt x="96" y="353"/>
                  </a:cubicBezTo>
                  <a:cubicBezTo>
                    <a:pt x="109" y="353"/>
                    <a:pt x="104" y="342"/>
                    <a:pt x="108" y="339"/>
                  </a:cubicBezTo>
                  <a:cubicBezTo>
                    <a:pt x="112" y="337"/>
                    <a:pt x="121" y="335"/>
                    <a:pt x="121" y="335"/>
                  </a:cubicBezTo>
                  <a:cubicBezTo>
                    <a:pt x="121" y="335"/>
                    <a:pt x="124" y="308"/>
                    <a:pt x="125" y="299"/>
                  </a:cubicBezTo>
                  <a:cubicBezTo>
                    <a:pt x="127" y="289"/>
                    <a:pt x="135" y="284"/>
                    <a:pt x="135" y="284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40" y="269"/>
                    <a:pt x="140" y="269"/>
                    <a:pt x="140" y="269"/>
                  </a:cubicBezTo>
                  <a:cubicBezTo>
                    <a:pt x="140" y="269"/>
                    <a:pt x="140" y="262"/>
                    <a:pt x="154" y="251"/>
                  </a:cubicBezTo>
                  <a:cubicBezTo>
                    <a:pt x="167" y="240"/>
                    <a:pt x="188" y="240"/>
                    <a:pt x="211" y="226"/>
                  </a:cubicBezTo>
                  <a:cubicBezTo>
                    <a:pt x="234" y="211"/>
                    <a:pt x="262" y="170"/>
                    <a:pt x="262" y="170"/>
                  </a:cubicBezTo>
                  <a:cubicBezTo>
                    <a:pt x="270" y="141"/>
                    <a:pt x="270" y="141"/>
                    <a:pt x="270" y="141"/>
                  </a:cubicBezTo>
                  <a:cubicBezTo>
                    <a:pt x="280" y="136"/>
                    <a:pt x="280" y="136"/>
                    <a:pt x="280" y="136"/>
                  </a:cubicBezTo>
                  <a:lnTo>
                    <a:pt x="277" y="11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2A89487F-B057-98D6-61F1-BF3A9939C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7402" y="4641372"/>
              <a:ext cx="439007" cy="1150868"/>
            </a:xfrm>
            <a:custGeom>
              <a:avLst/>
              <a:gdLst>
                <a:gd name="T0" fmla="*/ 29 w 771"/>
                <a:gd name="T1" fmla="*/ 97 h 2022"/>
                <a:gd name="T2" fmla="*/ 30 w 771"/>
                <a:gd name="T3" fmla="*/ 99 h 2022"/>
                <a:gd name="T4" fmla="*/ 30 w 771"/>
                <a:gd name="T5" fmla="*/ 102 h 2022"/>
                <a:gd name="T6" fmla="*/ 36 w 771"/>
                <a:gd name="T7" fmla="*/ 103 h 2022"/>
                <a:gd name="T8" fmla="*/ 34 w 771"/>
                <a:gd name="T9" fmla="*/ 104 h 2022"/>
                <a:gd name="T10" fmla="*/ 32 w 771"/>
                <a:gd name="T11" fmla="*/ 103 h 2022"/>
                <a:gd name="T12" fmla="*/ 35 w 771"/>
                <a:gd name="T13" fmla="*/ 105 h 2022"/>
                <a:gd name="T14" fmla="*/ 26 w 771"/>
                <a:gd name="T15" fmla="*/ 103 h 2022"/>
                <a:gd name="T16" fmla="*/ 27 w 771"/>
                <a:gd name="T17" fmla="*/ 101 h 2022"/>
                <a:gd name="T18" fmla="*/ 25 w 771"/>
                <a:gd name="T19" fmla="*/ 101 h 2022"/>
                <a:gd name="T20" fmla="*/ 21 w 771"/>
                <a:gd name="T21" fmla="*/ 97 h 2022"/>
                <a:gd name="T22" fmla="*/ 18 w 771"/>
                <a:gd name="T23" fmla="*/ 97 h 2022"/>
                <a:gd name="T24" fmla="*/ 19 w 771"/>
                <a:gd name="T25" fmla="*/ 95 h 2022"/>
                <a:gd name="T26" fmla="*/ 17 w 771"/>
                <a:gd name="T27" fmla="*/ 96 h 2022"/>
                <a:gd name="T28" fmla="*/ 18 w 771"/>
                <a:gd name="T29" fmla="*/ 95 h 2022"/>
                <a:gd name="T30" fmla="*/ 15 w 771"/>
                <a:gd name="T31" fmla="*/ 93 h 2022"/>
                <a:gd name="T32" fmla="*/ 14 w 771"/>
                <a:gd name="T33" fmla="*/ 90 h 2022"/>
                <a:gd name="T34" fmla="*/ 13 w 771"/>
                <a:gd name="T35" fmla="*/ 88 h 2022"/>
                <a:gd name="T36" fmla="*/ 11 w 771"/>
                <a:gd name="T37" fmla="*/ 88 h 2022"/>
                <a:gd name="T38" fmla="*/ 7 w 771"/>
                <a:gd name="T39" fmla="*/ 70 h 2022"/>
                <a:gd name="T40" fmla="*/ 9 w 771"/>
                <a:gd name="T41" fmla="*/ 72 h 2022"/>
                <a:gd name="T42" fmla="*/ 10 w 771"/>
                <a:gd name="T43" fmla="*/ 77 h 2022"/>
                <a:gd name="T44" fmla="*/ 11 w 771"/>
                <a:gd name="T45" fmla="*/ 76 h 2022"/>
                <a:gd name="T46" fmla="*/ 7 w 771"/>
                <a:gd name="T47" fmla="*/ 75 h 2022"/>
                <a:gd name="T48" fmla="*/ 26 w 771"/>
                <a:gd name="T49" fmla="*/ 97 h 2022"/>
                <a:gd name="T50" fmla="*/ 24 w 771"/>
                <a:gd name="T51" fmla="*/ 96 h 2022"/>
                <a:gd name="T52" fmla="*/ 18 w 771"/>
                <a:gd name="T53" fmla="*/ 91 h 2022"/>
                <a:gd name="T54" fmla="*/ 16 w 771"/>
                <a:gd name="T55" fmla="*/ 86 h 2022"/>
                <a:gd name="T56" fmla="*/ 16 w 771"/>
                <a:gd name="T57" fmla="*/ 80 h 2022"/>
                <a:gd name="T58" fmla="*/ 14 w 771"/>
                <a:gd name="T59" fmla="*/ 75 h 2022"/>
                <a:gd name="T60" fmla="*/ 11 w 771"/>
                <a:gd name="T61" fmla="*/ 69 h 2022"/>
                <a:gd name="T62" fmla="*/ 10 w 771"/>
                <a:gd name="T63" fmla="*/ 62 h 2022"/>
                <a:gd name="T64" fmla="*/ 9 w 771"/>
                <a:gd name="T65" fmla="*/ 56 h 2022"/>
                <a:gd name="T66" fmla="*/ 9 w 771"/>
                <a:gd name="T67" fmla="*/ 50 h 2022"/>
                <a:gd name="T68" fmla="*/ 7 w 771"/>
                <a:gd name="T69" fmla="*/ 43 h 2022"/>
                <a:gd name="T70" fmla="*/ 6 w 771"/>
                <a:gd name="T71" fmla="*/ 36 h 2022"/>
                <a:gd name="T72" fmla="*/ 9 w 771"/>
                <a:gd name="T73" fmla="*/ 26 h 2022"/>
                <a:gd name="T74" fmla="*/ 10 w 771"/>
                <a:gd name="T75" fmla="*/ 15 h 2022"/>
                <a:gd name="T76" fmla="*/ 5 w 771"/>
                <a:gd name="T77" fmla="*/ 8 h 2022"/>
                <a:gd name="T78" fmla="*/ 2 w 771"/>
                <a:gd name="T79" fmla="*/ 1 h 2022"/>
                <a:gd name="T80" fmla="*/ 1 w 771"/>
                <a:gd name="T81" fmla="*/ 9 h 2022"/>
                <a:gd name="T82" fmla="*/ 3 w 771"/>
                <a:gd name="T83" fmla="*/ 22 h 2022"/>
                <a:gd name="T84" fmla="*/ 2 w 771"/>
                <a:gd name="T85" fmla="*/ 29 h 2022"/>
                <a:gd name="T86" fmla="*/ 3 w 771"/>
                <a:gd name="T87" fmla="*/ 37 h 2022"/>
                <a:gd name="T88" fmla="*/ 4 w 771"/>
                <a:gd name="T89" fmla="*/ 49 h 2022"/>
                <a:gd name="T90" fmla="*/ 4 w 771"/>
                <a:gd name="T91" fmla="*/ 57 h 2022"/>
                <a:gd name="T92" fmla="*/ 7 w 771"/>
                <a:gd name="T93" fmla="*/ 68 h 2022"/>
                <a:gd name="T94" fmla="*/ 10 w 771"/>
                <a:gd name="T95" fmla="*/ 68 h 2022"/>
                <a:gd name="T96" fmla="*/ 11 w 771"/>
                <a:gd name="T97" fmla="*/ 73 h 2022"/>
                <a:gd name="T98" fmla="*/ 13 w 771"/>
                <a:gd name="T99" fmla="*/ 78 h 2022"/>
                <a:gd name="T100" fmla="*/ 11 w 771"/>
                <a:gd name="T101" fmla="*/ 80 h 2022"/>
                <a:gd name="T102" fmla="*/ 9 w 771"/>
                <a:gd name="T103" fmla="*/ 80 h 2022"/>
                <a:gd name="T104" fmla="*/ 11 w 771"/>
                <a:gd name="T105" fmla="*/ 81 h 2022"/>
                <a:gd name="T106" fmla="*/ 13 w 771"/>
                <a:gd name="T107" fmla="*/ 84 h 2022"/>
                <a:gd name="T108" fmla="*/ 14 w 771"/>
                <a:gd name="T109" fmla="*/ 88 h 2022"/>
                <a:gd name="T110" fmla="*/ 15 w 771"/>
                <a:gd name="T111" fmla="*/ 90 h 2022"/>
                <a:gd name="T112" fmla="*/ 17 w 771"/>
                <a:gd name="T113" fmla="*/ 92 h 2022"/>
                <a:gd name="T114" fmla="*/ 21 w 771"/>
                <a:gd name="T115" fmla="*/ 95 h 2022"/>
                <a:gd name="T116" fmla="*/ 23 w 771"/>
                <a:gd name="T117" fmla="*/ 97 h 2022"/>
                <a:gd name="T118" fmla="*/ 24 w 771"/>
                <a:gd name="T119" fmla="*/ 99 h 2022"/>
                <a:gd name="T120" fmla="*/ 22 w 771"/>
                <a:gd name="T121" fmla="*/ 100 h 20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71"/>
                <a:gd name="T184" fmla="*/ 0 h 2022"/>
                <a:gd name="T185" fmla="*/ 771 w 771"/>
                <a:gd name="T186" fmla="*/ 2022 h 20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71" h="2022">
                  <a:moveTo>
                    <a:pt x="677" y="1942"/>
                  </a:moveTo>
                  <a:cubicBezTo>
                    <a:pt x="625" y="1916"/>
                    <a:pt x="625" y="1903"/>
                    <a:pt x="625" y="1903"/>
                  </a:cubicBezTo>
                  <a:cubicBezTo>
                    <a:pt x="602" y="1903"/>
                    <a:pt x="602" y="1903"/>
                    <a:pt x="602" y="1903"/>
                  </a:cubicBezTo>
                  <a:cubicBezTo>
                    <a:pt x="606" y="1892"/>
                    <a:pt x="606" y="1892"/>
                    <a:pt x="606" y="1892"/>
                  </a:cubicBezTo>
                  <a:cubicBezTo>
                    <a:pt x="580" y="1866"/>
                    <a:pt x="580" y="1866"/>
                    <a:pt x="580" y="1866"/>
                  </a:cubicBezTo>
                  <a:cubicBezTo>
                    <a:pt x="559" y="1872"/>
                    <a:pt x="559" y="1872"/>
                    <a:pt x="559" y="1872"/>
                  </a:cubicBezTo>
                  <a:cubicBezTo>
                    <a:pt x="550" y="1864"/>
                    <a:pt x="550" y="1864"/>
                    <a:pt x="550" y="1864"/>
                  </a:cubicBezTo>
                  <a:cubicBezTo>
                    <a:pt x="543" y="1876"/>
                    <a:pt x="543" y="1876"/>
                    <a:pt x="543" y="1876"/>
                  </a:cubicBezTo>
                  <a:cubicBezTo>
                    <a:pt x="530" y="1879"/>
                    <a:pt x="530" y="1879"/>
                    <a:pt x="530" y="1879"/>
                  </a:cubicBezTo>
                  <a:cubicBezTo>
                    <a:pt x="531" y="1890"/>
                    <a:pt x="531" y="1890"/>
                    <a:pt x="531" y="1890"/>
                  </a:cubicBezTo>
                  <a:cubicBezTo>
                    <a:pt x="520" y="1892"/>
                    <a:pt x="520" y="1892"/>
                    <a:pt x="520" y="1892"/>
                  </a:cubicBezTo>
                  <a:cubicBezTo>
                    <a:pt x="521" y="1910"/>
                    <a:pt x="521" y="1910"/>
                    <a:pt x="521" y="1910"/>
                  </a:cubicBezTo>
                  <a:cubicBezTo>
                    <a:pt x="534" y="1923"/>
                    <a:pt x="557" y="1900"/>
                    <a:pt x="557" y="1900"/>
                  </a:cubicBezTo>
                  <a:cubicBezTo>
                    <a:pt x="572" y="1906"/>
                    <a:pt x="572" y="1906"/>
                    <a:pt x="572" y="1906"/>
                  </a:cubicBezTo>
                  <a:cubicBezTo>
                    <a:pt x="572" y="1919"/>
                    <a:pt x="572" y="1919"/>
                    <a:pt x="572" y="1919"/>
                  </a:cubicBezTo>
                  <a:cubicBezTo>
                    <a:pt x="572" y="1919"/>
                    <a:pt x="541" y="1934"/>
                    <a:pt x="552" y="1938"/>
                  </a:cubicBezTo>
                  <a:cubicBezTo>
                    <a:pt x="562" y="1942"/>
                    <a:pt x="615" y="1960"/>
                    <a:pt x="615" y="1960"/>
                  </a:cubicBezTo>
                  <a:cubicBezTo>
                    <a:pt x="605" y="1974"/>
                    <a:pt x="605" y="1974"/>
                    <a:pt x="605" y="1974"/>
                  </a:cubicBezTo>
                  <a:cubicBezTo>
                    <a:pt x="605" y="1974"/>
                    <a:pt x="602" y="1961"/>
                    <a:pt x="592" y="1961"/>
                  </a:cubicBezTo>
                  <a:cubicBezTo>
                    <a:pt x="582" y="1961"/>
                    <a:pt x="579" y="1968"/>
                    <a:pt x="579" y="1968"/>
                  </a:cubicBezTo>
                  <a:cubicBezTo>
                    <a:pt x="567" y="1954"/>
                    <a:pt x="567" y="1954"/>
                    <a:pt x="567" y="1954"/>
                  </a:cubicBezTo>
                  <a:cubicBezTo>
                    <a:pt x="556" y="1958"/>
                    <a:pt x="556" y="1958"/>
                    <a:pt x="556" y="1958"/>
                  </a:cubicBezTo>
                  <a:cubicBezTo>
                    <a:pt x="565" y="1965"/>
                    <a:pt x="565" y="1965"/>
                    <a:pt x="565" y="1965"/>
                  </a:cubicBezTo>
                  <a:cubicBezTo>
                    <a:pt x="544" y="1962"/>
                    <a:pt x="544" y="1962"/>
                    <a:pt x="544" y="1962"/>
                  </a:cubicBezTo>
                  <a:cubicBezTo>
                    <a:pt x="544" y="1962"/>
                    <a:pt x="550" y="1978"/>
                    <a:pt x="566" y="1978"/>
                  </a:cubicBezTo>
                  <a:cubicBezTo>
                    <a:pt x="582" y="1978"/>
                    <a:pt x="595" y="1978"/>
                    <a:pt x="595" y="1978"/>
                  </a:cubicBezTo>
                  <a:cubicBezTo>
                    <a:pt x="595" y="1978"/>
                    <a:pt x="611" y="1984"/>
                    <a:pt x="621" y="1983"/>
                  </a:cubicBezTo>
                  <a:cubicBezTo>
                    <a:pt x="631" y="1981"/>
                    <a:pt x="676" y="1981"/>
                    <a:pt x="690" y="1981"/>
                  </a:cubicBezTo>
                  <a:cubicBezTo>
                    <a:pt x="705" y="1981"/>
                    <a:pt x="725" y="1994"/>
                    <a:pt x="725" y="1994"/>
                  </a:cubicBezTo>
                  <a:cubicBezTo>
                    <a:pt x="746" y="1983"/>
                    <a:pt x="746" y="1983"/>
                    <a:pt x="746" y="1983"/>
                  </a:cubicBezTo>
                  <a:cubicBezTo>
                    <a:pt x="758" y="1987"/>
                    <a:pt x="758" y="1987"/>
                    <a:pt x="758" y="1987"/>
                  </a:cubicBezTo>
                  <a:cubicBezTo>
                    <a:pt x="770" y="1986"/>
                    <a:pt x="770" y="1986"/>
                    <a:pt x="770" y="1986"/>
                  </a:cubicBezTo>
                  <a:cubicBezTo>
                    <a:pt x="771" y="1970"/>
                    <a:pt x="771" y="1970"/>
                    <a:pt x="771" y="1970"/>
                  </a:cubicBezTo>
                  <a:cubicBezTo>
                    <a:pt x="771" y="1970"/>
                    <a:pt x="729" y="1968"/>
                    <a:pt x="677" y="1942"/>
                  </a:cubicBezTo>
                  <a:close/>
                  <a:moveTo>
                    <a:pt x="658" y="1993"/>
                  </a:moveTo>
                  <a:cubicBezTo>
                    <a:pt x="676" y="2003"/>
                    <a:pt x="676" y="2003"/>
                    <a:pt x="676" y="2003"/>
                  </a:cubicBezTo>
                  <a:cubicBezTo>
                    <a:pt x="712" y="2006"/>
                    <a:pt x="712" y="2006"/>
                    <a:pt x="712" y="2006"/>
                  </a:cubicBezTo>
                  <a:cubicBezTo>
                    <a:pt x="693" y="1988"/>
                    <a:pt x="693" y="1988"/>
                    <a:pt x="693" y="1988"/>
                  </a:cubicBezTo>
                  <a:lnTo>
                    <a:pt x="658" y="1993"/>
                  </a:lnTo>
                  <a:close/>
                  <a:moveTo>
                    <a:pt x="638" y="1997"/>
                  </a:moveTo>
                  <a:cubicBezTo>
                    <a:pt x="644" y="1991"/>
                    <a:pt x="644" y="1991"/>
                    <a:pt x="644" y="1991"/>
                  </a:cubicBezTo>
                  <a:cubicBezTo>
                    <a:pt x="617" y="1988"/>
                    <a:pt x="617" y="1988"/>
                    <a:pt x="617" y="1988"/>
                  </a:cubicBezTo>
                  <a:cubicBezTo>
                    <a:pt x="593" y="1988"/>
                    <a:pt x="593" y="1988"/>
                    <a:pt x="593" y="1988"/>
                  </a:cubicBezTo>
                  <a:cubicBezTo>
                    <a:pt x="602" y="2012"/>
                    <a:pt x="602" y="2012"/>
                    <a:pt x="602" y="2012"/>
                  </a:cubicBezTo>
                  <a:cubicBezTo>
                    <a:pt x="625" y="2014"/>
                    <a:pt x="625" y="2014"/>
                    <a:pt x="625" y="2014"/>
                  </a:cubicBezTo>
                  <a:cubicBezTo>
                    <a:pt x="619" y="2004"/>
                    <a:pt x="619" y="2004"/>
                    <a:pt x="619" y="2004"/>
                  </a:cubicBezTo>
                  <a:cubicBezTo>
                    <a:pt x="625" y="2000"/>
                    <a:pt x="625" y="2000"/>
                    <a:pt x="625" y="2000"/>
                  </a:cubicBezTo>
                  <a:cubicBezTo>
                    <a:pt x="632" y="2010"/>
                    <a:pt x="632" y="2010"/>
                    <a:pt x="632" y="2010"/>
                  </a:cubicBezTo>
                  <a:cubicBezTo>
                    <a:pt x="663" y="2010"/>
                    <a:pt x="663" y="2010"/>
                    <a:pt x="663" y="2010"/>
                  </a:cubicBezTo>
                  <a:cubicBezTo>
                    <a:pt x="673" y="2022"/>
                    <a:pt x="673" y="2022"/>
                    <a:pt x="673" y="2022"/>
                  </a:cubicBezTo>
                  <a:cubicBezTo>
                    <a:pt x="686" y="2022"/>
                    <a:pt x="686" y="2022"/>
                    <a:pt x="686" y="2022"/>
                  </a:cubicBezTo>
                  <a:cubicBezTo>
                    <a:pt x="666" y="2001"/>
                    <a:pt x="666" y="2001"/>
                    <a:pt x="666" y="2001"/>
                  </a:cubicBezTo>
                  <a:lnTo>
                    <a:pt x="638" y="1997"/>
                  </a:lnTo>
                  <a:close/>
                  <a:moveTo>
                    <a:pt x="537" y="1967"/>
                  </a:moveTo>
                  <a:cubicBezTo>
                    <a:pt x="495" y="1962"/>
                    <a:pt x="495" y="1962"/>
                    <a:pt x="495" y="1962"/>
                  </a:cubicBezTo>
                  <a:cubicBezTo>
                    <a:pt x="500" y="1974"/>
                    <a:pt x="500" y="1974"/>
                    <a:pt x="500" y="1974"/>
                  </a:cubicBezTo>
                  <a:cubicBezTo>
                    <a:pt x="527" y="1973"/>
                    <a:pt x="527" y="1973"/>
                    <a:pt x="527" y="1973"/>
                  </a:cubicBezTo>
                  <a:cubicBezTo>
                    <a:pt x="537" y="1987"/>
                    <a:pt x="537" y="1987"/>
                    <a:pt x="537" y="1987"/>
                  </a:cubicBezTo>
                  <a:cubicBezTo>
                    <a:pt x="575" y="2003"/>
                    <a:pt x="575" y="2003"/>
                    <a:pt x="575" y="2003"/>
                  </a:cubicBezTo>
                  <a:cubicBezTo>
                    <a:pt x="552" y="1983"/>
                    <a:pt x="552" y="1983"/>
                    <a:pt x="552" y="1983"/>
                  </a:cubicBezTo>
                  <a:lnTo>
                    <a:pt x="537" y="1967"/>
                  </a:lnTo>
                  <a:close/>
                  <a:moveTo>
                    <a:pt x="534" y="1924"/>
                  </a:moveTo>
                  <a:cubicBezTo>
                    <a:pt x="526" y="1935"/>
                    <a:pt x="526" y="1935"/>
                    <a:pt x="526" y="1935"/>
                  </a:cubicBezTo>
                  <a:cubicBezTo>
                    <a:pt x="530" y="1955"/>
                    <a:pt x="530" y="1955"/>
                    <a:pt x="530" y="1955"/>
                  </a:cubicBezTo>
                  <a:cubicBezTo>
                    <a:pt x="546" y="1949"/>
                    <a:pt x="546" y="1949"/>
                    <a:pt x="546" y="1949"/>
                  </a:cubicBezTo>
                  <a:lnTo>
                    <a:pt x="534" y="1924"/>
                  </a:lnTo>
                  <a:close/>
                  <a:moveTo>
                    <a:pt x="515" y="1954"/>
                  </a:moveTo>
                  <a:cubicBezTo>
                    <a:pt x="513" y="1942"/>
                    <a:pt x="513" y="1942"/>
                    <a:pt x="513" y="1942"/>
                  </a:cubicBezTo>
                  <a:cubicBezTo>
                    <a:pt x="479" y="1934"/>
                    <a:pt x="479" y="1934"/>
                    <a:pt x="479" y="1934"/>
                  </a:cubicBezTo>
                  <a:cubicBezTo>
                    <a:pt x="471" y="1945"/>
                    <a:pt x="471" y="1945"/>
                    <a:pt x="471" y="1945"/>
                  </a:cubicBezTo>
                  <a:cubicBezTo>
                    <a:pt x="472" y="1958"/>
                    <a:pt x="472" y="1958"/>
                    <a:pt x="472" y="1958"/>
                  </a:cubicBezTo>
                  <a:cubicBezTo>
                    <a:pt x="495" y="1949"/>
                    <a:pt x="495" y="1949"/>
                    <a:pt x="495" y="1949"/>
                  </a:cubicBezTo>
                  <a:lnTo>
                    <a:pt x="515" y="1954"/>
                  </a:lnTo>
                  <a:close/>
                  <a:moveTo>
                    <a:pt x="407" y="1848"/>
                  </a:moveTo>
                  <a:cubicBezTo>
                    <a:pt x="407" y="1848"/>
                    <a:pt x="381" y="1835"/>
                    <a:pt x="378" y="1847"/>
                  </a:cubicBezTo>
                  <a:cubicBezTo>
                    <a:pt x="375" y="1859"/>
                    <a:pt x="371" y="1874"/>
                    <a:pt x="375" y="1874"/>
                  </a:cubicBezTo>
                  <a:cubicBezTo>
                    <a:pt x="380" y="1874"/>
                    <a:pt x="397" y="1867"/>
                    <a:pt x="397" y="1867"/>
                  </a:cubicBezTo>
                  <a:cubicBezTo>
                    <a:pt x="399" y="1883"/>
                    <a:pt x="399" y="1883"/>
                    <a:pt x="399" y="1883"/>
                  </a:cubicBezTo>
                  <a:cubicBezTo>
                    <a:pt x="420" y="1873"/>
                    <a:pt x="420" y="1873"/>
                    <a:pt x="420" y="1873"/>
                  </a:cubicBezTo>
                  <a:cubicBezTo>
                    <a:pt x="409" y="1863"/>
                    <a:pt x="409" y="1863"/>
                    <a:pt x="409" y="1863"/>
                  </a:cubicBezTo>
                  <a:cubicBezTo>
                    <a:pt x="413" y="1851"/>
                    <a:pt x="413" y="1851"/>
                    <a:pt x="413" y="1851"/>
                  </a:cubicBezTo>
                  <a:lnTo>
                    <a:pt x="407" y="1848"/>
                  </a:lnTo>
                  <a:close/>
                  <a:moveTo>
                    <a:pt x="368" y="1886"/>
                  </a:moveTo>
                  <a:cubicBezTo>
                    <a:pt x="345" y="1873"/>
                    <a:pt x="345" y="1873"/>
                    <a:pt x="345" y="1873"/>
                  </a:cubicBezTo>
                  <a:cubicBezTo>
                    <a:pt x="362" y="1892"/>
                    <a:pt x="362" y="1892"/>
                    <a:pt x="362" y="1892"/>
                  </a:cubicBezTo>
                  <a:cubicBezTo>
                    <a:pt x="393" y="1896"/>
                    <a:pt x="393" y="1896"/>
                    <a:pt x="393" y="1896"/>
                  </a:cubicBezTo>
                  <a:cubicBezTo>
                    <a:pt x="404" y="1903"/>
                    <a:pt x="404" y="1903"/>
                    <a:pt x="404" y="1903"/>
                  </a:cubicBezTo>
                  <a:cubicBezTo>
                    <a:pt x="393" y="1889"/>
                    <a:pt x="393" y="1889"/>
                    <a:pt x="393" y="1889"/>
                  </a:cubicBezTo>
                  <a:lnTo>
                    <a:pt x="368" y="1886"/>
                  </a:lnTo>
                  <a:close/>
                  <a:moveTo>
                    <a:pt x="368" y="1835"/>
                  </a:moveTo>
                  <a:cubicBezTo>
                    <a:pt x="355" y="1822"/>
                    <a:pt x="355" y="1822"/>
                    <a:pt x="355" y="1822"/>
                  </a:cubicBezTo>
                  <a:cubicBezTo>
                    <a:pt x="351" y="1844"/>
                    <a:pt x="351" y="1844"/>
                    <a:pt x="351" y="1844"/>
                  </a:cubicBezTo>
                  <a:cubicBezTo>
                    <a:pt x="336" y="1848"/>
                    <a:pt x="336" y="1848"/>
                    <a:pt x="336" y="1848"/>
                  </a:cubicBezTo>
                  <a:cubicBezTo>
                    <a:pt x="365" y="1860"/>
                    <a:pt x="365" y="1860"/>
                    <a:pt x="365" y="1860"/>
                  </a:cubicBezTo>
                  <a:lnTo>
                    <a:pt x="368" y="1835"/>
                  </a:lnTo>
                  <a:close/>
                  <a:moveTo>
                    <a:pt x="296" y="1827"/>
                  </a:moveTo>
                  <a:cubicBezTo>
                    <a:pt x="319" y="1848"/>
                    <a:pt x="319" y="1848"/>
                    <a:pt x="319" y="1848"/>
                  </a:cubicBezTo>
                  <a:cubicBezTo>
                    <a:pt x="326" y="1841"/>
                    <a:pt x="326" y="1841"/>
                    <a:pt x="326" y="1841"/>
                  </a:cubicBezTo>
                  <a:cubicBezTo>
                    <a:pt x="306" y="1818"/>
                    <a:pt x="306" y="1818"/>
                    <a:pt x="306" y="1818"/>
                  </a:cubicBezTo>
                  <a:lnTo>
                    <a:pt x="296" y="1827"/>
                  </a:lnTo>
                  <a:close/>
                  <a:moveTo>
                    <a:pt x="342" y="1820"/>
                  </a:moveTo>
                  <a:cubicBezTo>
                    <a:pt x="335" y="1814"/>
                    <a:pt x="335" y="1814"/>
                    <a:pt x="335" y="1814"/>
                  </a:cubicBezTo>
                  <a:cubicBezTo>
                    <a:pt x="329" y="1824"/>
                    <a:pt x="329" y="1824"/>
                    <a:pt x="329" y="1824"/>
                  </a:cubicBezTo>
                  <a:cubicBezTo>
                    <a:pt x="336" y="1833"/>
                    <a:pt x="336" y="1833"/>
                    <a:pt x="336" y="1833"/>
                  </a:cubicBezTo>
                  <a:lnTo>
                    <a:pt x="342" y="1820"/>
                  </a:lnTo>
                  <a:close/>
                  <a:moveTo>
                    <a:pt x="303" y="1805"/>
                  </a:moveTo>
                  <a:cubicBezTo>
                    <a:pt x="306" y="1788"/>
                    <a:pt x="306" y="1788"/>
                    <a:pt x="306" y="1788"/>
                  </a:cubicBezTo>
                  <a:cubicBezTo>
                    <a:pt x="303" y="1763"/>
                    <a:pt x="303" y="1763"/>
                    <a:pt x="303" y="1763"/>
                  </a:cubicBezTo>
                  <a:cubicBezTo>
                    <a:pt x="292" y="1759"/>
                    <a:pt x="292" y="1759"/>
                    <a:pt x="292" y="1759"/>
                  </a:cubicBezTo>
                  <a:cubicBezTo>
                    <a:pt x="292" y="1770"/>
                    <a:pt x="292" y="1770"/>
                    <a:pt x="292" y="1770"/>
                  </a:cubicBezTo>
                  <a:cubicBezTo>
                    <a:pt x="270" y="1766"/>
                    <a:pt x="270" y="1766"/>
                    <a:pt x="270" y="1766"/>
                  </a:cubicBezTo>
                  <a:cubicBezTo>
                    <a:pt x="287" y="1789"/>
                    <a:pt x="287" y="1789"/>
                    <a:pt x="287" y="1789"/>
                  </a:cubicBezTo>
                  <a:cubicBezTo>
                    <a:pt x="283" y="1818"/>
                    <a:pt x="283" y="1818"/>
                    <a:pt x="283" y="1818"/>
                  </a:cubicBezTo>
                  <a:lnTo>
                    <a:pt x="303" y="1805"/>
                  </a:lnTo>
                  <a:close/>
                  <a:moveTo>
                    <a:pt x="243" y="1752"/>
                  </a:moveTo>
                  <a:cubicBezTo>
                    <a:pt x="254" y="1753"/>
                    <a:pt x="254" y="1753"/>
                    <a:pt x="254" y="1753"/>
                  </a:cubicBezTo>
                  <a:cubicBezTo>
                    <a:pt x="261" y="1775"/>
                    <a:pt x="261" y="1775"/>
                    <a:pt x="261" y="1775"/>
                  </a:cubicBezTo>
                  <a:cubicBezTo>
                    <a:pt x="266" y="1755"/>
                    <a:pt x="266" y="1755"/>
                    <a:pt x="266" y="1755"/>
                  </a:cubicBezTo>
                  <a:cubicBezTo>
                    <a:pt x="267" y="1739"/>
                    <a:pt x="267" y="1739"/>
                    <a:pt x="267" y="1739"/>
                  </a:cubicBezTo>
                  <a:cubicBezTo>
                    <a:pt x="250" y="1734"/>
                    <a:pt x="250" y="1734"/>
                    <a:pt x="250" y="1734"/>
                  </a:cubicBezTo>
                  <a:lnTo>
                    <a:pt x="243" y="1752"/>
                  </a:lnTo>
                  <a:close/>
                  <a:moveTo>
                    <a:pt x="248" y="1727"/>
                  </a:moveTo>
                  <a:cubicBezTo>
                    <a:pt x="253" y="1726"/>
                    <a:pt x="256" y="1717"/>
                    <a:pt x="256" y="1717"/>
                  </a:cubicBezTo>
                  <a:cubicBezTo>
                    <a:pt x="276" y="1734"/>
                    <a:pt x="276" y="1734"/>
                    <a:pt x="276" y="1734"/>
                  </a:cubicBezTo>
                  <a:cubicBezTo>
                    <a:pt x="277" y="1718"/>
                    <a:pt x="277" y="1718"/>
                    <a:pt x="277" y="1718"/>
                  </a:cubicBezTo>
                  <a:cubicBezTo>
                    <a:pt x="257" y="1697"/>
                    <a:pt x="257" y="1697"/>
                    <a:pt x="257" y="1697"/>
                  </a:cubicBezTo>
                  <a:cubicBezTo>
                    <a:pt x="257" y="1697"/>
                    <a:pt x="241" y="1674"/>
                    <a:pt x="241" y="1662"/>
                  </a:cubicBezTo>
                  <a:cubicBezTo>
                    <a:pt x="241" y="1651"/>
                    <a:pt x="230" y="1639"/>
                    <a:pt x="219" y="1633"/>
                  </a:cubicBezTo>
                  <a:cubicBezTo>
                    <a:pt x="209" y="1628"/>
                    <a:pt x="209" y="1639"/>
                    <a:pt x="209" y="1639"/>
                  </a:cubicBezTo>
                  <a:cubicBezTo>
                    <a:pt x="195" y="1635"/>
                    <a:pt x="195" y="1635"/>
                    <a:pt x="195" y="1635"/>
                  </a:cubicBezTo>
                  <a:cubicBezTo>
                    <a:pt x="195" y="1635"/>
                    <a:pt x="180" y="1662"/>
                    <a:pt x="191" y="1662"/>
                  </a:cubicBezTo>
                  <a:cubicBezTo>
                    <a:pt x="201" y="1662"/>
                    <a:pt x="221" y="1662"/>
                    <a:pt x="221" y="1662"/>
                  </a:cubicBezTo>
                  <a:cubicBezTo>
                    <a:pt x="208" y="1688"/>
                    <a:pt x="208" y="1688"/>
                    <a:pt x="208" y="1688"/>
                  </a:cubicBezTo>
                  <a:cubicBezTo>
                    <a:pt x="217" y="1688"/>
                    <a:pt x="217" y="1688"/>
                    <a:pt x="217" y="1688"/>
                  </a:cubicBezTo>
                  <a:cubicBezTo>
                    <a:pt x="231" y="1675"/>
                    <a:pt x="231" y="1675"/>
                    <a:pt x="231" y="1675"/>
                  </a:cubicBezTo>
                  <a:cubicBezTo>
                    <a:pt x="230" y="1691"/>
                    <a:pt x="230" y="1691"/>
                    <a:pt x="230" y="1691"/>
                  </a:cubicBezTo>
                  <a:cubicBezTo>
                    <a:pt x="230" y="1691"/>
                    <a:pt x="244" y="1729"/>
                    <a:pt x="248" y="1727"/>
                  </a:cubicBezTo>
                  <a:close/>
                  <a:moveTo>
                    <a:pt x="163" y="1391"/>
                  </a:moveTo>
                  <a:cubicBezTo>
                    <a:pt x="165" y="1359"/>
                    <a:pt x="165" y="1359"/>
                    <a:pt x="165" y="1359"/>
                  </a:cubicBezTo>
                  <a:cubicBezTo>
                    <a:pt x="144" y="1339"/>
                    <a:pt x="144" y="1339"/>
                    <a:pt x="144" y="1339"/>
                  </a:cubicBezTo>
                  <a:cubicBezTo>
                    <a:pt x="154" y="1329"/>
                    <a:pt x="154" y="1329"/>
                    <a:pt x="154" y="1329"/>
                  </a:cubicBezTo>
                  <a:cubicBezTo>
                    <a:pt x="140" y="1313"/>
                    <a:pt x="140" y="1313"/>
                    <a:pt x="140" y="1313"/>
                  </a:cubicBezTo>
                  <a:cubicBezTo>
                    <a:pt x="117" y="1304"/>
                    <a:pt x="117" y="1304"/>
                    <a:pt x="117" y="1304"/>
                  </a:cubicBezTo>
                  <a:cubicBezTo>
                    <a:pt x="117" y="1304"/>
                    <a:pt x="114" y="1340"/>
                    <a:pt x="123" y="1343"/>
                  </a:cubicBezTo>
                  <a:cubicBezTo>
                    <a:pt x="131" y="1346"/>
                    <a:pt x="137" y="1366"/>
                    <a:pt x="137" y="1366"/>
                  </a:cubicBezTo>
                  <a:cubicBezTo>
                    <a:pt x="133" y="1379"/>
                    <a:pt x="133" y="1379"/>
                    <a:pt x="133" y="1379"/>
                  </a:cubicBezTo>
                  <a:lnTo>
                    <a:pt x="163" y="1391"/>
                  </a:lnTo>
                  <a:close/>
                  <a:moveTo>
                    <a:pt x="163" y="1453"/>
                  </a:moveTo>
                  <a:cubicBezTo>
                    <a:pt x="170" y="1461"/>
                    <a:pt x="170" y="1461"/>
                    <a:pt x="170" y="1461"/>
                  </a:cubicBezTo>
                  <a:cubicBezTo>
                    <a:pt x="188" y="1461"/>
                    <a:pt x="188" y="1461"/>
                    <a:pt x="188" y="1461"/>
                  </a:cubicBezTo>
                  <a:cubicBezTo>
                    <a:pt x="195" y="1448"/>
                    <a:pt x="195" y="1448"/>
                    <a:pt x="195" y="1448"/>
                  </a:cubicBezTo>
                  <a:cubicBezTo>
                    <a:pt x="176" y="1453"/>
                    <a:pt x="176" y="1453"/>
                    <a:pt x="176" y="1453"/>
                  </a:cubicBezTo>
                  <a:lnTo>
                    <a:pt x="163" y="1453"/>
                  </a:lnTo>
                  <a:close/>
                  <a:moveTo>
                    <a:pt x="186" y="1483"/>
                  </a:moveTo>
                  <a:cubicBezTo>
                    <a:pt x="188" y="1495"/>
                    <a:pt x="188" y="1495"/>
                    <a:pt x="188" y="1495"/>
                  </a:cubicBezTo>
                  <a:cubicBezTo>
                    <a:pt x="204" y="1505"/>
                    <a:pt x="204" y="1505"/>
                    <a:pt x="204" y="1505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195" y="1473"/>
                    <a:pt x="195" y="1473"/>
                    <a:pt x="195" y="1473"/>
                  </a:cubicBezTo>
                  <a:cubicBezTo>
                    <a:pt x="173" y="1474"/>
                    <a:pt x="173" y="1474"/>
                    <a:pt x="173" y="1474"/>
                  </a:cubicBezTo>
                  <a:lnTo>
                    <a:pt x="186" y="1483"/>
                  </a:lnTo>
                  <a:close/>
                  <a:moveTo>
                    <a:pt x="212" y="1463"/>
                  </a:moveTo>
                  <a:cubicBezTo>
                    <a:pt x="212" y="1463"/>
                    <a:pt x="244" y="1444"/>
                    <a:pt x="222" y="1440"/>
                  </a:cubicBezTo>
                  <a:cubicBezTo>
                    <a:pt x="201" y="1435"/>
                    <a:pt x="199" y="1463"/>
                    <a:pt x="212" y="1463"/>
                  </a:cubicBezTo>
                  <a:close/>
                  <a:moveTo>
                    <a:pt x="166" y="1409"/>
                  </a:moveTo>
                  <a:cubicBezTo>
                    <a:pt x="152" y="1420"/>
                    <a:pt x="159" y="1430"/>
                    <a:pt x="169" y="1427"/>
                  </a:cubicBezTo>
                  <a:cubicBezTo>
                    <a:pt x="181" y="1423"/>
                    <a:pt x="180" y="1399"/>
                    <a:pt x="166" y="1409"/>
                  </a:cubicBezTo>
                  <a:close/>
                  <a:moveTo>
                    <a:pt x="156" y="1437"/>
                  </a:moveTo>
                  <a:cubicBezTo>
                    <a:pt x="143" y="1440"/>
                    <a:pt x="143" y="1440"/>
                    <a:pt x="143" y="1440"/>
                  </a:cubicBezTo>
                  <a:cubicBezTo>
                    <a:pt x="150" y="1453"/>
                    <a:pt x="150" y="1453"/>
                    <a:pt x="150" y="1453"/>
                  </a:cubicBezTo>
                  <a:lnTo>
                    <a:pt x="156" y="1437"/>
                  </a:lnTo>
                  <a:close/>
                  <a:moveTo>
                    <a:pt x="476" y="1919"/>
                  </a:moveTo>
                  <a:cubicBezTo>
                    <a:pt x="485" y="1915"/>
                    <a:pt x="484" y="1925"/>
                    <a:pt x="484" y="1925"/>
                  </a:cubicBezTo>
                  <a:cubicBezTo>
                    <a:pt x="484" y="1925"/>
                    <a:pt x="499" y="1928"/>
                    <a:pt x="514" y="1925"/>
                  </a:cubicBezTo>
                  <a:cubicBezTo>
                    <a:pt x="528" y="1921"/>
                    <a:pt x="498" y="1899"/>
                    <a:pt x="498" y="1899"/>
                  </a:cubicBezTo>
                  <a:cubicBezTo>
                    <a:pt x="498" y="1874"/>
                    <a:pt x="498" y="1874"/>
                    <a:pt x="498" y="1874"/>
                  </a:cubicBezTo>
                  <a:cubicBezTo>
                    <a:pt x="523" y="1872"/>
                    <a:pt x="523" y="1872"/>
                    <a:pt x="523" y="1872"/>
                  </a:cubicBezTo>
                  <a:cubicBezTo>
                    <a:pt x="521" y="1860"/>
                    <a:pt x="521" y="1860"/>
                    <a:pt x="521" y="1860"/>
                  </a:cubicBezTo>
                  <a:cubicBezTo>
                    <a:pt x="537" y="1862"/>
                    <a:pt x="537" y="1862"/>
                    <a:pt x="537" y="1862"/>
                  </a:cubicBezTo>
                  <a:cubicBezTo>
                    <a:pt x="542" y="1850"/>
                    <a:pt x="542" y="1850"/>
                    <a:pt x="542" y="1850"/>
                  </a:cubicBezTo>
                  <a:cubicBezTo>
                    <a:pt x="527" y="1838"/>
                    <a:pt x="527" y="1838"/>
                    <a:pt x="527" y="1838"/>
                  </a:cubicBezTo>
                  <a:cubicBezTo>
                    <a:pt x="527" y="1838"/>
                    <a:pt x="507" y="1839"/>
                    <a:pt x="491" y="1837"/>
                  </a:cubicBezTo>
                  <a:cubicBezTo>
                    <a:pt x="475" y="1835"/>
                    <a:pt x="449" y="1842"/>
                    <a:pt x="449" y="1842"/>
                  </a:cubicBezTo>
                  <a:cubicBezTo>
                    <a:pt x="437" y="1830"/>
                    <a:pt x="437" y="1830"/>
                    <a:pt x="437" y="1830"/>
                  </a:cubicBezTo>
                  <a:cubicBezTo>
                    <a:pt x="413" y="1819"/>
                    <a:pt x="413" y="1819"/>
                    <a:pt x="413" y="1819"/>
                  </a:cubicBezTo>
                  <a:cubicBezTo>
                    <a:pt x="406" y="1808"/>
                    <a:pt x="406" y="1808"/>
                    <a:pt x="406" y="1808"/>
                  </a:cubicBezTo>
                  <a:cubicBezTo>
                    <a:pt x="392" y="1792"/>
                    <a:pt x="392" y="1792"/>
                    <a:pt x="392" y="1792"/>
                  </a:cubicBezTo>
                  <a:cubicBezTo>
                    <a:pt x="392" y="1792"/>
                    <a:pt x="398" y="1780"/>
                    <a:pt x="383" y="1767"/>
                  </a:cubicBezTo>
                  <a:cubicBezTo>
                    <a:pt x="368" y="1754"/>
                    <a:pt x="362" y="1772"/>
                    <a:pt x="352" y="1772"/>
                  </a:cubicBezTo>
                  <a:cubicBezTo>
                    <a:pt x="342" y="1772"/>
                    <a:pt x="338" y="1747"/>
                    <a:pt x="338" y="1747"/>
                  </a:cubicBezTo>
                  <a:cubicBezTo>
                    <a:pt x="318" y="1743"/>
                    <a:pt x="318" y="1743"/>
                    <a:pt x="318" y="1743"/>
                  </a:cubicBezTo>
                  <a:cubicBezTo>
                    <a:pt x="318" y="1743"/>
                    <a:pt x="320" y="1723"/>
                    <a:pt x="315" y="1718"/>
                  </a:cubicBezTo>
                  <a:cubicBezTo>
                    <a:pt x="310" y="1713"/>
                    <a:pt x="308" y="1697"/>
                    <a:pt x="308" y="1697"/>
                  </a:cubicBezTo>
                  <a:cubicBezTo>
                    <a:pt x="315" y="1693"/>
                    <a:pt x="315" y="1693"/>
                    <a:pt x="315" y="1693"/>
                  </a:cubicBezTo>
                  <a:cubicBezTo>
                    <a:pt x="316" y="1680"/>
                    <a:pt x="316" y="1680"/>
                    <a:pt x="316" y="1680"/>
                  </a:cubicBezTo>
                  <a:cubicBezTo>
                    <a:pt x="316" y="1680"/>
                    <a:pt x="331" y="1675"/>
                    <a:pt x="334" y="1670"/>
                  </a:cubicBezTo>
                  <a:cubicBezTo>
                    <a:pt x="337" y="1665"/>
                    <a:pt x="317" y="1650"/>
                    <a:pt x="317" y="1650"/>
                  </a:cubicBezTo>
                  <a:cubicBezTo>
                    <a:pt x="317" y="1650"/>
                    <a:pt x="333" y="1641"/>
                    <a:pt x="332" y="1638"/>
                  </a:cubicBezTo>
                  <a:cubicBezTo>
                    <a:pt x="331" y="1635"/>
                    <a:pt x="312" y="1624"/>
                    <a:pt x="312" y="1624"/>
                  </a:cubicBezTo>
                  <a:cubicBezTo>
                    <a:pt x="315" y="1594"/>
                    <a:pt x="315" y="1594"/>
                    <a:pt x="315" y="1594"/>
                  </a:cubicBezTo>
                  <a:cubicBezTo>
                    <a:pt x="326" y="1590"/>
                    <a:pt x="326" y="1590"/>
                    <a:pt x="326" y="1590"/>
                  </a:cubicBezTo>
                  <a:cubicBezTo>
                    <a:pt x="316" y="1573"/>
                    <a:pt x="316" y="1573"/>
                    <a:pt x="316" y="1573"/>
                  </a:cubicBezTo>
                  <a:cubicBezTo>
                    <a:pt x="319" y="1551"/>
                    <a:pt x="319" y="1551"/>
                    <a:pt x="319" y="1551"/>
                  </a:cubicBezTo>
                  <a:cubicBezTo>
                    <a:pt x="304" y="1533"/>
                    <a:pt x="304" y="1533"/>
                    <a:pt x="304" y="1533"/>
                  </a:cubicBezTo>
                  <a:cubicBezTo>
                    <a:pt x="307" y="1518"/>
                    <a:pt x="307" y="1518"/>
                    <a:pt x="307" y="1518"/>
                  </a:cubicBezTo>
                  <a:cubicBezTo>
                    <a:pt x="291" y="1506"/>
                    <a:pt x="291" y="1506"/>
                    <a:pt x="291" y="1506"/>
                  </a:cubicBezTo>
                  <a:cubicBezTo>
                    <a:pt x="291" y="1506"/>
                    <a:pt x="304" y="1495"/>
                    <a:pt x="307" y="1487"/>
                  </a:cubicBezTo>
                  <a:cubicBezTo>
                    <a:pt x="310" y="1479"/>
                    <a:pt x="287" y="1470"/>
                    <a:pt x="287" y="1470"/>
                  </a:cubicBezTo>
                  <a:cubicBezTo>
                    <a:pt x="287" y="1470"/>
                    <a:pt x="264" y="1463"/>
                    <a:pt x="263" y="1460"/>
                  </a:cubicBezTo>
                  <a:cubicBezTo>
                    <a:pt x="262" y="1457"/>
                    <a:pt x="294" y="1460"/>
                    <a:pt x="296" y="1449"/>
                  </a:cubicBezTo>
                  <a:cubicBezTo>
                    <a:pt x="298" y="1438"/>
                    <a:pt x="279" y="1443"/>
                    <a:pt x="272" y="1443"/>
                  </a:cubicBezTo>
                  <a:cubicBezTo>
                    <a:pt x="265" y="1443"/>
                    <a:pt x="260" y="1433"/>
                    <a:pt x="260" y="1433"/>
                  </a:cubicBezTo>
                  <a:cubicBezTo>
                    <a:pt x="260" y="1433"/>
                    <a:pt x="259" y="1416"/>
                    <a:pt x="258" y="1405"/>
                  </a:cubicBezTo>
                  <a:cubicBezTo>
                    <a:pt x="257" y="1394"/>
                    <a:pt x="241" y="1393"/>
                    <a:pt x="241" y="1393"/>
                  </a:cubicBezTo>
                  <a:cubicBezTo>
                    <a:pt x="245" y="1375"/>
                    <a:pt x="245" y="1375"/>
                    <a:pt x="245" y="1375"/>
                  </a:cubicBezTo>
                  <a:cubicBezTo>
                    <a:pt x="235" y="1370"/>
                    <a:pt x="235" y="1370"/>
                    <a:pt x="235" y="1370"/>
                  </a:cubicBezTo>
                  <a:cubicBezTo>
                    <a:pt x="235" y="1370"/>
                    <a:pt x="226" y="1366"/>
                    <a:pt x="223" y="1358"/>
                  </a:cubicBezTo>
                  <a:cubicBezTo>
                    <a:pt x="220" y="1350"/>
                    <a:pt x="215" y="1320"/>
                    <a:pt x="215" y="1320"/>
                  </a:cubicBezTo>
                  <a:cubicBezTo>
                    <a:pt x="215" y="1320"/>
                    <a:pt x="226" y="1311"/>
                    <a:pt x="231" y="1312"/>
                  </a:cubicBezTo>
                  <a:cubicBezTo>
                    <a:pt x="236" y="1313"/>
                    <a:pt x="207" y="1292"/>
                    <a:pt x="204" y="1286"/>
                  </a:cubicBezTo>
                  <a:cubicBezTo>
                    <a:pt x="201" y="1280"/>
                    <a:pt x="201" y="1261"/>
                    <a:pt x="201" y="1261"/>
                  </a:cubicBezTo>
                  <a:cubicBezTo>
                    <a:pt x="201" y="1261"/>
                    <a:pt x="194" y="1250"/>
                    <a:pt x="193" y="1244"/>
                  </a:cubicBezTo>
                  <a:cubicBezTo>
                    <a:pt x="192" y="1238"/>
                    <a:pt x="197" y="1220"/>
                    <a:pt x="197" y="1220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83" y="1212"/>
                    <a:pt x="188" y="1204"/>
                    <a:pt x="187" y="1196"/>
                  </a:cubicBezTo>
                  <a:cubicBezTo>
                    <a:pt x="186" y="1188"/>
                    <a:pt x="176" y="1183"/>
                    <a:pt x="176" y="1183"/>
                  </a:cubicBezTo>
                  <a:cubicBezTo>
                    <a:pt x="189" y="1174"/>
                    <a:pt x="189" y="1174"/>
                    <a:pt x="189" y="1174"/>
                  </a:cubicBezTo>
                  <a:cubicBezTo>
                    <a:pt x="181" y="1146"/>
                    <a:pt x="181" y="1146"/>
                    <a:pt x="181" y="1146"/>
                  </a:cubicBezTo>
                  <a:cubicBezTo>
                    <a:pt x="181" y="1146"/>
                    <a:pt x="195" y="1141"/>
                    <a:pt x="200" y="1132"/>
                  </a:cubicBezTo>
                  <a:cubicBezTo>
                    <a:pt x="205" y="1123"/>
                    <a:pt x="186" y="1114"/>
                    <a:pt x="186" y="1114"/>
                  </a:cubicBezTo>
                  <a:cubicBezTo>
                    <a:pt x="185" y="1102"/>
                    <a:pt x="185" y="1102"/>
                    <a:pt x="185" y="1102"/>
                  </a:cubicBezTo>
                  <a:cubicBezTo>
                    <a:pt x="165" y="1085"/>
                    <a:pt x="165" y="1085"/>
                    <a:pt x="165" y="1085"/>
                  </a:cubicBezTo>
                  <a:cubicBezTo>
                    <a:pt x="165" y="1085"/>
                    <a:pt x="165" y="1064"/>
                    <a:pt x="165" y="1057"/>
                  </a:cubicBezTo>
                  <a:cubicBezTo>
                    <a:pt x="165" y="1050"/>
                    <a:pt x="153" y="1017"/>
                    <a:pt x="153" y="1017"/>
                  </a:cubicBezTo>
                  <a:cubicBezTo>
                    <a:pt x="170" y="1016"/>
                    <a:pt x="170" y="1016"/>
                    <a:pt x="170" y="1016"/>
                  </a:cubicBezTo>
                  <a:cubicBezTo>
                    <a:pt x="172" y="1004"/>
                    <a:pt x="172" y="1004"/>
                    <a:pt x="172" y="1004"/>
                  </a:cubicBezTo>
                  <a:cubicBezTo>
                    <a:pt x="172" y="1004"/>
                    <a:pt x="176" y="993"/>
                    <a:pt x="175" y="983"/>
                  </a:cubicBezTo>
                  <a:cubicBezTo>
                    <a:pt x="174" y="973"/>
                    <a:pt x="157" y="955"/>
                    <a:pt x="157" y="955"/>
                  </a:cubicBezTo>
                  <a:cubicBezTo>
                    <a:pt x="166" y="954"/>
                    <a:pt x="166" y="954"/>
                    <a:pt x="166" y="954"/>
                  </a:cubicBezTo>
                  <a:cubicBezTo>
                    <a:pt x="166" y="954"/>
                    <a:pt x="167" y="915"/>
                    <a:pt x="167" y="911"/>
                  </a:cubicBezTo>
                  <a:cubicBezTo>
                    <a:pt x="167" y="907"/>
                    <a:pt x="176" y="900"/>
                    <a:pt x="179" y="894"/>
                  </a:cubicBezTo>
                  <a:cubicBezTo>
                    <a:pt x="182" y="888"/>
                    <a:pt x="167" y="869"/>
                    <a:pt x="167" y="869"/>
                  </a:cubicBezTo>
                  <a:cubicBezTo>
                    <a:pt x="165" y="844"/>
                    <a:pt x="165" y="844"/>
                    <a:pt x="165" y="844"/>
                  </a:cubicBezTo>
                  <a:cubicBezTo>
                    <a:pt x="165" y="844"/>
                    <a:pt x="161" y="846"/>
                    <a:pt x="149" y="843"/>
                  </a:cubicBezTo>
                  <a:cubicBezTo>
                    <a:pt x="137" y="840"/>
                    <a:pt x="145" y="821"/>
                    <a:pt x="145" y="821"/>
                  </a:cubicBezTo>
                  <a:cubicBezTo>
                    <a:pt x="142" y="815"/>
                    <a:pt x="142" y="815"/>
                    <a:pt x="142" y="815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21" y="784"/>
                    <a:pt x="121" y="784"/>
                    <a:pt x="121" y="784"/>
                  </a:cubicBezTo>
                  <a:cubicBezTo>
                    <a:pt x="121" y="784"/>
                    <a:pt x="123" y="775"/>
                    <a:pt x="125" y="771"/>
                  </a:cubicBezTo>
                  <a:cubicBezTo>
                    <a:pt x="127" y="767"/>
                    <a:pt x="104" y="752"/>
                    <a:pt x="104" y="752"/>
                  </a:cubicBezTo>
                  <a:cubicBezTo>
                    <a:pt x="104" y="752"/>
                    <a:pt x="102" y="735"/>
                    <a:pt x="102" y="730"/>
                  </a:cubicBezTo>
                  <a:cubicBezTo>
                    <a:pt x="102" y="725"/>
                    <a:pt x="112" y="724"/>
                    <a:pt x="112" y="724"/>
                  </a:cubicBezTo>
                  <a:cubicBezTo>
                    <a:pt x="109" y="685"/>
                    <a:pt x="109" y="685"/>
                    <a:pt x="109" y="685"/>
                  </a:cubicBezTo>
                  <a:cubicBezTo>
                    <a:pt x="109" y="685"/>
                    <a:pt x="118" y="690"/>
                    <a:pt x="123" y="685"/>
                  </a:cubicBezTo>
                  <a:cubicBezTo>
                    <a:pt x="128" y="680"/>
                    <a:pt x="105" y="635"/>
                    <a:pt x="104" y="631"/>
                  </a:cubicBezTo>
                  <a:cubicBezTo>
                    <a:pt x="103" y="627"/>
                    <a:pt x="112" y="619"/>
                    <a:pt x="114" y="615"/>
                  </a:cubicBezTo>
                  <a:cubicBezTo>
                    <a:pt x="116" y="611"/>
                    <a:pt x="111" y="586"/>
                    <a:pt x="111" y="576"/>
                  </a:cubicBezTo>
                  <a:cubicBezTo>
                    <a:pt x="111" y="566"/>
                    <a:pt x="129" y="558"/>
                    <a:pt x="130" y="553"/>
                  </a:cubicBezTo>
                  <a:cubicBezTo>
                    <a:pt x="131" y="548"/>
                    <a:pt x="137" y="510"/>
                    <a:pt x="137" y="510"/>
                  </a:cubicBezTo>
                  <a:cubicBezTo>
                    <a:pt x="137" y="510"/>
                    <a:pt x="159" y="509"/>
                    <a:pt x="162" y="498"/>
                  </a:cubicBezTo>
                  <a:cubicBezTo>
                    <a:pt x="165" y="487"/>
                    <a:pt x="134" y="476"/>
                    <a:pt x="134" y="476"/>
                  </a:cubicBezTo>
                  <a:cubicBezTo>
                    <a:pt x="134" y="476"/>
                    <a:pt x="151" y="464"/>
                    <a:pt x="152" y="454"/>
                  </a:cubicBezTo>
                  <a:cubicBezTo>
                    <a:pt x="153" y="444"/>
                    <a:pt x="134" y="436"/>
                    <a:pt x="129" y="429"/>
                  </a:cubicBezTo>
                  <a:cubicBezTo>
                    <a:pt x="124" y="422"/>
                    <a:pt x="134" y="413"/>
                    <a:pt x="143" y="404"/>
                  </a:cubicBezTo>
                  <a:cubicBezTo>
                    <a:pt x="152" y="395"/>
                    <a:pt x="125" y="401"/>
                    <a:pt x="124" y="387"/>
                  </a:cubicBezTo>
                  <a:cubicBezTo>
                    <a:pt x="123" y="373"/>
                    <a:pt x="178" y="349"/>
                    <a:pt x="178" y="349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0" y="284"/>
                    <a:pt x="161" y="285"/>
                    <a:pt x="153" y="284"/>
                  </a:cubicBezTo>
                  <a:cubicBezTo>
                    <a:pt x="141" y="283"/>
                    <a:pt x="142" y="257"/>
                    <a:pt x="142" y="257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29" y="241"/>
                    <a:pt x="131" y="211"/>
                    <a:pt x="129" y="200"/>
                  </a:cubicBezTo>
                  <a:cubicBezTo>
                    <a:pt x="126" y="189"/>
                    <a:pt x="97" y="178"/>
                    <a:pt x="97" y="178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97" y="161"/>
                    <a:pt x="92" y="158"/>
                    <a:pt x="88" y="148"/>
                  </a:cubicBezTo>
                  <a:cubicBezTo>
                    <a:pt x="84" y="139"/>
                    <a:pt x="99" y="127"/>
                    <a:pt x="99" y="127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96" y="110"/>
                    <a:pt x="100" y="98"/>
                  </a:cubicBezTo>
                  <a:cubicBezTo>
                    <a:pt x="104" y="86"/>
                    <a:pt x="68" y="74"/>
                    <a:pt x="68" y="7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35" y="21"/>
                    <a:pt x="23" y="30"/>
                  </a:cubicBezTo>
                  <a:cubicBezTo>
                    <a:pt x="16" y="36"/>
                    <a:pt x="7" y="42"/>
                    <a:pt x="1" y="4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3" y="99"/>
                    <a:pt x="19" y="119"/>
                  </a:cubicBezTo>
                  <a:cubicBezTo>
                    <a:pt x="25" y="139"/>
                    <a:pt x="24" y="169"/>
                    <a:pt x="24" y="182"/>
                  </a:cubicBezTo>
                  <a:cubicBezTo>
                    <a:pt x="24" y="195"/>
                    <a:pt x="32" y="206"/>
                    <a:pt x="33" y="229"/>
                  </a:cubicBezTo>
                  <a:cubicBezTo>
                    <a:pt x="34" y="253"/>
                    <a:pt x="34" y="290"/>
                    <a:pt x="34" y="290"/>
                  </a:cubicBezTo>
                  <a:cubicBezTo>
                    <a:pt x="20" y="298"/>
                    <a:pt x="20" y="298"/>
                    <a:pt x="20" y="29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32" y="389"/>
                    <a:pt x="32" y="389"/>
                    <a:pt x="32" y="389"/>
                  </a:cubicBezTo>
                  <a:cubicBezTo>
                    <a:pt x="47" y="417"/>
                    <a:pt x="47" y="417"/>
                    <a:pt x="47" y="417"/>
                  </a:cubicBezTo>
                  <a:cubicBezTo>
                    <a:pt x="36" y="430"/>
                    <a:pt x="36" y="430"/>
                    <a:pt x="36" y="430"/>
                  </a:cubicBezTo>
                  <a:cubicBezTo>
                    <a:pt x="42" y="472"/>
                    <a:pt x="42" y="472"/>
                    <a:pt x="42" y="472"/>
                  </a:cubicBezTo>
                  <a:cubicBezTo>
                    <a:pt x="42" y="472"/>
                    <a:pt x="49" y="475"/>
                    <a:pt x="51" y="492"/>
                  </a:cubicBezTo>
                  <a:cubicBezTo>
                    <a:pt x="53" y="508"/>
                    <a:pt x="42" y="509"/>
                    <a:pt x="42" y="509"/>
                  </a:cubicBezTo>
                  <a:cubicBezTo>
                    <a:pt x="40" y="531"/>
                    <a:pt x="40" y="531"/>
                    <a:pt x="40" y="531"/>
                  </a:cubicBezTo>
                  <a:cubicBezTo>
                    <a:pt x="47" y="540"/>
                    <a:pt x="47" y="540"/>
                    <a:pt x="47" y="540"/>
                  </a:cubicBezTo>
                  <a:cubicBezTo>
                    <a:pt x="47" y="540"/>
                    <a:pt x="40" y="545"/>
                    <a:pt x="34" y="559"/>
                  </a:cubicBezTo>
                  <a:cubicBezTo>
                    <a:pt x="28" y="573"/>
                    <a:pt x="40" y="571"/>
                    <a:pt x="40" y="571"/>
                  </a:cubicBezTo>
                  <a:cubicBezTo>
                    <a:pt x="40" y="571"/>
                    <a:pt x="44" y="580"/>
                    <a:pt x="44" y="591"/>
                  </a:cubicBezTo>
                  <a:cubicBezTo>
                    <a:pt x="44" y="602"/>
                    <a:pt x="33" y="599"/>
                    <a:pt x="33" y="619"/>
                  </a:cubicBezTo>
                  <a:cubicBezTo>
                    <a:pt x="33" y="640"/>
                    <a:pt x="49" y="638"/>
                    <a:pt x="52" y="648"/>
                  </a:cubicBezTo>
                  <a:cubicBezTo>
                    <a:pt x="56" y="657"/>
                    <a:pt x="52" y="681"/>
                    <a:pt x="52" y="681"/>
                  </a:cubicBezTo>
                  <a:cubicBezTo>
                    <a:pt x="52" y="681"/>
                    <a:pt x="45" y="679"/>
                    <a:pt x="40" y="681"/>
                  </a:cubicBezTo>
                  <a:cubicBezTo>
                    <a:pt x="36" y="683"/>
                    <a:pt x="40" y="700"/>
                    <a:pt x="47" y="720"/>
                  </a:cubicBezTo>
                  <a:cubicBezTo>
                    <a:pt x="55" y="740"/>
                    <a:pt x="66" y="770"/>
                    <a:pt x="66" y="770"/>
                  </a:cubicBezTo>
                  <a:cubicBezTo>
                    <a:pt x="66" y="770"/>
                    <a:pt x="69" y="784"/>
                    <a:pt x="76" y="790"/>
                  </a:cubicBezTo>
                  <a:cubicBezTo>
                    <a:pt x="83" y="796"/>
                    <a:pt x="79" y="826"/>
                    <a:pt x="79" y="826"/>
                  </a:cubicBezTo>
                  <a:cubicBezTo>
                    <a:pt x="76" y="845"/>
                    <a:pt x="76" y="845"/>
                    <a:pt x="76" y="845"/>
                  </a:cubicBezTo>
                  <a:cubicBezTo>
                    <a:pt x="92" y="862"/>
                    <a:pt x="92" y="862"/>
                    <a:pt x="92" y="862"/>
                  </a:cubicBezTo>
                  <a:cubicBezTo>
                    <a:pt x="92" y="862"/>
                    <a:pt x="82" y="889"/>
                    <a:pt x="82" y="903"/>
                  </a:cubicBezTo>
                  <a:cubicBezTo>
                    <a:pt x="82" y="917"/>
                    <a:pt x="82" y="947"/>
                    <a:pt x="82" y="947"/>
                  </a:cubicBezTo>
                  <a:cubicBezTo>
                    <a:pt x="66" y="972"/>
                    <a:pt x="66" y="972"/>
                    <a:pt x="66" y="972"/>
                  </a:cubicBezTo>
                  <a:cubicBezTo>
                    <a:pt x="76" y="979"/>
                    <a:pt x="76" y="979"/>
                    <a:pt x="76" y="979"/>
                  </a:cubicBezTo>
                  <a:cubicBezTo>
                    <a:pt x="76" y="979"/>
                    <a:pt x="72" y="995"/>
                    <a:pt x="72" y="1004"/>
                  </a:cubicBezTo>
                  <a:cubicBezTo>
                    <a:pt x="72" y="1012"/>
                    <a:pt x="66" y="1056"/>
                    <a:pt x="66" y="1056"/>
                  </a:cubicBezTo>
                  <a:cubicBezTo>
                    <a:pt x="56" y="1058"/>
                    <a:pt x="56" y="1058"/>
                    <a:pt x="56" y="1058"/>
                  </a:cubicBezTo>
                  <a:cubicBezTo>
                    <a:pt x="56" y="1072"/>
                    <a:pt x="56" y="1072"/>
                    <a:pt x="56" y="1072"/>
                  </a:cubicBezTo>
                  <a:cubicBezTo>
                    <a:pt x="72" y="1102"/>
                    <a:pt x="72" y="1102"/>
                    <a:pt x="72" y="1102"/>
                  </a:cubicBezTo>
                  <a:cubicBezTo>
                    <a:pt x="72" y="1102"/>
                    <a:pt x="72" y="1121"/>
                    <a:pt x="72" y="1131"/>
                  </a:cubicBezTo>
                  <a:cubicBezTo>
                    <a:pt x="72" y="1142"/>
                    <a:pt x="95" y="1149"/>
                    <a:pt x="101" y="1165"/>
                  </a:cubicBezTo>
                  <a:cubicBezTo>
                    <a:pt x="107" y="1180"/>
                    <a:pt x="98" y="1218"/>
                    <a:pt x="98" y="1218"/>
                  </a:cubicBezTo>
                  <a:cubicBezTo>
                    <a:pt x="107" y="1225"/>
                    <a:pt x="107" y="1225"/>
                    <a:pt x="107" y="1225"/>
                  </a:cubicBezTo>
                  <a:cubicBezTo>
                    <a:pt x="107" y="1225"/>
                    <a:pt x="107" y="1254"/>
                    <a:pt x="107" y="1266"/>
                  </a:cubicBezTo>
                  <a:cubicBezTo>
                    <a:pt x="107" y="1278"/>
                    <a:pt x="134" y="1286"/>
                    <a:pt x="134" y="1286"/>
                  </a:cubicBezTo>
                  <a:cubicBezTo>
                    <a:pt x="129" y="1299"/>
                    <a:pt x="129" y="1299"/>
                    <a:pt x="129" y="1299"/>
                  </a:cubicBezTo>
                  <a:cubicBezTo>
                    <a:pt x="156" y="1299"/>
                    <a:pt x="156" y="1299"/>
                    <a:pt x="156" y="1299"/>
                  </a:cubicBezTo>
                  <a:cubicBezTo>
                    <a:pt x="156" y="1279"/>
                    <a:pt x="156" y="1279"/>
                    <a:pt x="156" y="1279"/>
                  </a:cubicBezTo>
                  <a:cubicBezTo>
                    <a:pt x="156" y="1279"/>
                    <a:pt x="169" y="1289"/>
                    <a:pt x="177" y="1290"/>
                  </a:cubicBezTo>
                  <a:cubicBezTo>
                    <a:pt x="186" y="1291"/>
                    <a:pt x="186" y="1277"/>
                    <a:pt x="186" y="1277"/>
                  </a:cubicBezTo>
                  <a:cubicBezTo>
                    <a:pt x="192" y="1290"/>
                    <a:pt x="192" y="1290"/>
                    <a:pt x="192" y="1290"/>
                  </a:cubicBezTo>
                  <a:cubicBezTo>
                    <a:pt x="192" y="1290"/>
                    <a:pt x="175" y="1300"/>
                    <a:pt x="173" y="1311"/>
                  </a:cubicBezTo>
                  <a:cubicBezTo>
                    <a:pt x="170" y="1322"/>
                    <a:pt x="186" y="1310"/>
                    <a:pt x="193" y="1313"/>
                  </a:cubicBezTo>
                  <a:cubicBezTo>
                    <a:pt x="200" y="1317"/>
                    <a:pt x="198" y="1330"/>
                    <a:pt x="198" y="1330"/>
                  </a:cubicBezTo>
                  <a:cubicBezTo>
                    <a:pt x="179" y="1328"/>
                    <a:pt x="179" y="1328"/>
                    <a:pt x="179" y="1328"/>
                  </a:cubicBezTo>
                  <a:cubicBezTo>
                    <a:pt x="190" y="1341"/>
                    <a:pt x="190" y="1341"/>
                    <a:pt x="190" y="1341"/>
                  </a:cubicBezTo>
                  <a:cubicBezTo>
                    <a:pt x="183" y="1349"/>
                    <a:pt x="183" y="1349"/>
                    <a:pt x="183" y="1349"/>
                  </a:cubicBezTo>
                  <a:cubicBezTo>
                    <a:pt x="195" y="1367"/>
                    <a:pt x="195" y="1367"/>
                    <a:pt x="195" y="1367"/>
                  </a:cubicBezTo>
                  <a:cubicBezTo>
                    <a:pt x="195" y="1367"/>
                    <a:pt x="188" y="1375"/>
                    <a:pt x="181" y="1384"/>
                  </a:cubicBezTo>
                  <a:cubicBezTo>
                    <a:pt x="174" y="1394"/>
                    <a:pt x="212" y="1403"/>
                    <a:pt x="212" y="1403"/>
                  </a:cubicBezTo>
                  <a:cubicBezTo>
                    <a:pt x="212" y="1403"/>
                    <a:pt x="205" y="1409"/>
                    <a:pt x="200" y="1413"/>
                  </a:cubicBezTo>
                  <a:cubicBezTo>
                    <a:pt x="195" y="1416"/>
                    <a:pt x="202" y="1427"/>
                    <a:pt x="212" y="1432"/>
                  </a:cubicBezTo>
                  <a:cubicBezTo>
                    <a:pt x="221" y="1436"/>
                    <a:pt x="234" y="1433"/>
                    <a:pt x="234" y="1433"/>
                  </a:cubicBezTo>
                  <a:cubicBezTo>
                    <a:pt x="239" y="1457"/>
                    <a:pt x="239" y="1457"/>
                    <a:pt x="239" y="1457"/>
                  </a:cubicBezTo>
                  <a:cubicBezTo>
                    <a:pt x="239" y="1457"/>
                    <a:pt x="219" y="1470"/>
                    <a:pt x="214" y="1477"/>
                  </a:cubicBezTo>
                  <a:cubicBezTo>
                    <a:pt x="209" y="1484"/>
                    <a:pt x="228" y="1485"/>
                    <a:pt x="228" y="1485"/>
                  </a:cubicBezTo>
                  <a:cubicBezTo>
                    <a:pt x="228" y="1485"/>
                    <a:pt x="252" y="1490"/>
                    <a:pt x="252" y="1497"/>
                  </a:cubicBezTo>
                  <a:cubicBezTo>
                    <a:pt x="252" y="1504"/>
                    <a:pt x="237" y="1498"/>
                    <a:pt x="227" y="1493"/>
                  </a:cubicBezTo>
                  <a:cubicBezTo>
                    <a:pt x="218" y="1488"/>
                    <a:pt x="216" y="1503"/>
                    <a:pt x="216" y="1503"/>
                  </a:cubicBezTo>
                  <a:cubicBezTo>
                    <a:pt x="235" y="1507"/>
                    <a:pt x="235" y="1507"/>
                    <a:pt x="235" y="1507"/>
                  </a:cubicBezTo>
                  <a:cubicBezTo>
                    <a:pt x="221" y="1514"/>
                    <a:pt x="221" y="1514"/>
                    <a:pt x="221" y="1514"/>
                  </a:cubicBezTo>
                  <a:cubicBezTo>
                    <a:pt x="222" y="1531"/>
                    <a:pt x="222" y="1531"/>
                    <a:pt x="222" y="1531"/>
                  </a:cubicBezTo>
                  <a:cubicBezTo>
                    <a:pt x="222" y="1531"/>
                    <a:pt x="238" y="1523"/>
                    <a:pt x="231" y="1544"/>
                  </a:cubicBezTo>
                  <a:cubicBezTo>
                    <a:pt x="224" y="1565"/>
                    <a:pt x="214" y="1535"/>
                    <a:pt x="214" y="1535"/>
                  </a:cubicBezTo>
                  <a:cubicBezTo>
                    <a:pt x="190" y="1536"/>
                    <a:pt x="190" y="1536"/>
                    <a:pt x="190" y="1536"/>
                  </a:cubicBezTo>
                  <a:cubicBezTo>
                    <a:pt x="206" y="1529"/>
                    <a:pt x="206" y="1529"/>
                    <a:pt x="206" y="1529"/>
                  </a:cubicBezTo>
                  <a:cubicBezTo>
                    <a:pt x="206" y="1529"/>
                    <a:pt x="189" y="1511"/>
                    <a:pt x="186" y="1512"/>
                  </a:cubicBezTo>
                  <a:cubicBezTo>
                    <a:pt x="182" y="1513"/>
                    <a:pt x="185" y="1522"/>
                    <a:pt x="185" y="1522"/>
                  </a:cubicBezTo>
                  <a:cubicBezTo>
                    <a:pt x="179" y="1516"/>
                    <a:pt x="179" y="1516"/>
                    <a:pt x="179" y="1516"/>
                  </a:cubicBezTo>
                  <a:cubicBezTo>
                    <a:pt x="154" y="1523"/>
                    <a:pt x="154" y="1523"/>
                    <a:pt x="154" y="1523"/>
                  </a:cubicBezTo>
                  <a:cubicBezTo>
                    <a:pt x="176" y="1528"/>
                    <a:pt x="176" y="1528"/>
                    <a:pt x="176" y="1528"/>
                  </a:cubicBezTo>
                  <a:cubicBezTo>
                    <a:pt x="176" y="1528"/>
                    <a:pt x="172" y="1531"/>
                    <a:pt x="168" y="1537"/>
                  </a:cubicBezTo>
                  <a:cubicBezTo>
                    <a:pt x="164" y="1543"/>
                    <a:pt x="148" y="1549"/>
                    <a:pt x="147" y="1558"/>
                  </a:cubicBezTo>
                  <a:cubicBezTo>
                    <a:pt x="146" y="1568"/>
                    <a:pt x="166" y="1572"/>
                    <a:pt x="169" y="1570"/>
                  </a:cubicBezTo>
                  <a:cubicBezTo>
                    <a:pt x="173" y="1568"/>
                    <a:pt x="161" y="1559"/>
                    <a:pt x="161" y="1559"/>
                  </a:cubicBezTo>
                  <a:cubicBezTo>
                    <a:pt x="176" y="1556"/>
                    <a:pt x="176" y="1556"/>
                    <a:pt x="176" y="1556"/>
                  </a:cubicBezTo>
                  <a:cubicBezTo>
                    <a:pt x="176" y="1556"/>
                    <a:pt x="183" y="1561"/>
                    <a:pt x="187" y="1565"/>
                  </a:cubicBezTo>
                  <a:cubicBezTo>
                    <a:pt x="190" y="1570"/>
                    <a:pt x="214" y="1567"/>
                    <a:pt x="214" y="1567"/>
                  </a:cubicBezTo>
                  <a:cubicBezTo>
                    <a:pt x="214" y="1567"/>
                    <a:pt x="229" y="1574"/>
                    <a:pt x="235" y="1582"/>
                  </a:cubicBezTo>
                  <a:cubicBezTo>
                    <a:pt x="241" y="1590"/>
                    <a:pt x="222" y="1598"/>
                    <a:pt x="222" y="1598"/>
                  </a:cubicBezTo>
                  <a:cubicBezTo>
                    <a:pt x="228" y="1608"/>
                    <a:pt x="228" y="1608"/>
                    <a:pt x="228" y="1608"/>
                  </a:cubicBezTo>
                  <a:cubicBezTo>
                    <a:pt x="240" y="1604"/>
                    <a:pt x="240" y="1604"/>
                    <a:pt x="240" y="1604"/>
                  </a:cubicBezTo>
                  <a:cubicBezTo>
                    <a:pt x="240" y="1615"/>
                    <a:pt x="240" y="1615"/>
                    <a:pt x="240" y="1615"/>
                  </a:cubicBezTo>
                  <a:cubicBezTo>
                    <a:pt x="252" y="1620"/>
                    <a:pt x="252" y="1620"/>
                    <a:pt x="252" y="1620"/>
                  </a:cubicBezTo>
                  <a:cubicBezTo>
                    <a:pt x="257" y="1604"/>
                    <a:pt x="257" y="1604"/>
                    <a:pt x="257" y="1604"/>
                  </a:cubicBezTo>
                  <a:cubicBezTo>
                    <a:pt x="266" y="1620"/>
                    <a:pt x="266" y="1620"/>
                    <a:pt x="266" y="1620"/>
                  </a:cubicBezTo>
                  <a:cubicBezTo>
                    <a:pt x="266" y="1620"/>
                    <a:pt x="285" y="1620"/>
                    <a:pt x="283" y="1634"/>
                  </a:cubicBezTo>
                  <a:cubicBezTo>
                    <a:pt x="280" y="1648"/>
                    <a:pt x="258" y="1632"/>
                    <a:pt x="250" y="1630"/>
                  </a:cubicBezTo>
                  <a:cubicBezTo>
                    <a:pt x="241" y="1629"/>
                    <a:pt x="248" y="1643"/>
                    <a:pt x="248" y="1643"/>
                  </a:cubicBezTo>
                  <a:cubicBezTo>
                    <a:pt x="248" y="1643"/>
                    <a:pt x="269" y="1650"/>
                    <a:pt x="270" y="1665"/>
                  </a:cubicBezTo>
                  <a:cubicBezTo>
                    <a:pt x="271" y="1679"/>
                    <a:pt x="256" y="1674"/>
                    <a:pt x="256" y="1674"/>
                  </a:cubicBezTo>
                  <a:cubicBezTo>
                    <a:pt x="265" y="1686"/>
                    <a:pt x="265" y="1686"/>
                    <a:pt x="265" y="1686"/>
                  </a:cubicBezTo>
                  <a:cubicBezTo>
                    <a:pt x="274" y="1710"/>
                    <a:pt x="274" y="1710"/>
                    <a:pt x="274" y="1710"/>
                  </a:cubicBezTo>
                  <a:cubicBezTo>
                    <a:pt x="283" y="1681"/>
                    <a:pt x="283" y="1681"/>
                    <a:pt x="283" y="1681"/>
                  </a:cubicBezTo>
                  <a:cubicBezTo>
                    <a:pt x="283" y="1701"/>
                    <a:pt x="283" y="1701"/>
                    <a:pt x="283" y="1701"/>
                  </a:cubicBezTo>
                  <a:cubicBezTo>
                    <a:pt x="296" y="1717"/>
                    <a:pt x="296" y="1717"/>
                    <a:pt x="296" y="1717"/>
                  </a:cubicBezTo>
                  <a:cubicBezTo>
                    <a:pt x="280" y="1717"/>
                    <a:pt x="280" y="1717"/>
                    <a:pt x="280" y="1717"/>
                  </a:cubicBezTo>
                  <a:cubicBezTo>
                    <a:pt x="283" y="1730"/>
                    <a:pt x="283" y="1730"/>
                    <a:pt x="283" y="1730"/>
                  </a:cubicBezTo>
                  <a:cubicBezTo>
                    <a:pt x="298" y="1731"/>
                    <a:pt x="298" y="1731"/>
                    <a:pt x="298" y="1731"/>
                  </a:cubicBezTo>
                  <a:cubicBezTo>
                    <a:pt x="289" y="1739"/>
                    <a:pt x="289" y="1739"/>
                    <a:pt x="289" y="1739"/>
                  </a:cubicBezTo>
                  <a:cubicBezTo>
                    <a:pt x="309" y="1745"/>
                    <a:pt x="309" y="1745"/>
                    <a:pt x="309" y="1745"/>
                  </a:cubicBezTo>
                  <a:cubicBezTo>
                    <a:pt x="296" y="1753"/>
                    <a:pt x="296" y="1753"/>
                    <a:pt x="296" y="1753"/>
                  </a:cubicBezTo>
                  <a:cubicBezTo>
                    <a:pt x="315" y="1760"/>
                    <a:pt x="315" y="1760"/>
                    <a:pt x="315" y="1760"/>
                  </a:cubicBezTo>
                  <a:cubicBezTo>
                    <a:pt x="310" y="1770"/>
                    <a:pt x="310" y="1770"/>
                    <a:pt x="310" y="1770"/>
                  </a:cubicBezTo>
                  <a:cubicBezTo>
                    <a:pt x="322" y="1773"/>
                    <a:pt x="322" y="1773"/>
                    <a:pt x="322" y="1773"/>
                  </a:cubicBezTo>
                  <a:cubicBezTo>
                    <a:pt x="322" y="1773"/>
                    <a:pt x="324" y="1750"/>
                    <a:pt x="331" y="1762"/>
                  </a:cubicBezTo>
                  <a:cubicBezTo>
                    <a:pt x="338" y="1773"/>
                    <a:pt x="329" y="1779"/>
                    <a:pt x="323" y="1783"/>
                  </a:cubicBezTo>
                  <a:cubicBezTo>
                    <a:pt x="317" y="1786"/>
                    <a:pt x="323" y="1794"/>
                    <a:pt x="323" y="1794"/>
                  </a:cubicBezTo>
                  <a:cubicBezTo>
                    <a:pt x="343" y="1795"/>
                    <a:pt x="343" y="1795"/>
                    <a:pt x="343" y="1795"/>
                  </a:cubicBezTo>
                  <a:cubicBezTo>
                    <a:pt x="343" y="1795"/>
                    <a:pt x="344" y="1805"/>
                    <a:pt x="350" y="1810"/>
                  </a:cubicBezTo>
                  <a:cubicBezTo>
                    <a:pt x="356" y="1815"/>
                    <a:pt x="373" y="1824"/>
                    <a:pt x="373" y="1824"/>
                  </a:cubicBezTo>
                  <a:cubicBezTo>
                    <a:pt x="370" y="1802"/>
                    <a:pt x="370" y="1802"/>
                    <a:pt x="370" y="1802"/>
                  </a:cubicBezTo>
                  <a:cubicBezTo>
                    <a:pt x="370" y="1802"/>
                    <a:pt x="391" y="1810"/>
                    <a:pt x="407" y="1821"/>
                  </a:cubicBezTo>
                  <a:cubicBezTo>
                    <a:pt x="422" y="1831"/>
                    <a:pt x="409" y="1841"/>
                    <a:pt x="409" y="1841"/>
                  </a:cubicBezTo>
                  <a:cubicBezTo>
                    <a:pt x="420" y="1848"/>
                    <a:pt x="420" y="1848"/>
                    <a:pt x="420" y="1848"/>
                  </a:cubicBezTo>
                  <a:cubicBezTo>
                    <a:pt x="419" y="1861"/>
                    <a:pt x="419" y="1861"/>
                    <a:pt x="419" y="1861"/>
                  </a:cubicBezTo>
                  <a:cubicBezTo>
                    <a:pt x="458" y="1861"/>
                    <a:pt x="458" y="1861"/>
                    <a:pt x="458" y="1861"/>
                  </a:cubicBezTo>
                  <a:cubicBezTo>
                    <a:pt x="462" y="1868"/>
                    <a:pt x="462" y="1868"/>
                    <a:pt x="462" y="1868"/>
                  </a:cubicBezTo>
                  <a:cubicBezTo>
                    <a:pt x="442" y="1868"/>
                    <a:pt x="442" y="1868"/>
                    <a:pt x="442" y="1868"/>
                  </a:cubicBezTo>
                  <a:cubicBezTo>
                    <a:pt x="434" y="1876"/>
                    <a:pt x="434" y="1876"/>
                    <a:pt x="434" y="1876"/>
                  </a:cubicBezTo>
                  <a:cubicBezTo>
                    <a:pt x="421" y="1877"/>
                    <a:pt x="421" y="1877"/>
                    <a:pt x="421" y="1877"/>
                  </a:cubicBezTo>
                  <a:cubicBezTo>
                    <a:pt x="410" y="1889"/>
                    <a:pt x="410" y="1889"/>
                    <a:pt x="410" y="1889"/>
                  </a:cubicBezTo>
                  <a:cubicBezTo>
                    <a:pt x="430" y="1892"/>
                    <a:pt x="430" y="1892"/>
                    <a:pt x="430" y="1892"/>
                  </a:cubicBezTo>
                  <a:cubicBezTo>
                    <a:pt x="426" y="1902"/>
                    <a:pt x="426" y="1902"/>
                    <a:pt x="426" y="1902"/>
                  </a:cubicBezTo>
                  <a:cubicBezTo>
                    <a:pt x="442" y="1900"/>
                    <a:pt x="442" y="1900"/>
                    <a:pt x="442" y="1900"/>
                  </a:cubicBezTo>
                  <a:cubicBezTo>
                    <a:pt x="444" y="1887"/>
                    <a:pt x="444" y="1887"/>
                    <a:pt x="444" y="1887"/>
                  </a:cubicBezTo>
                  <a:cubicBezTo>
                    <a:pt x="459" y="1893"/>
                    <a:pt x="459" y="1893"/>
                    <a:pt x="459" y="1893"/>
                  </a:cubicBezTo>
                  <a:cubicBezTo>
                    <a:pt x="459" y="1893"/>
                    <a:pt x="477" y="1868"/>
                    <a:pt x="486" y="1875"/>
                  </a:cubicBezTo>
                  <a:cubicBezTo>
                    <a:pt x="496" y="1882"/>
                    <a:pt x="467" y="1907"/>
                    <a:pt x="467" y="1907"/>
                  </a:cubicBezTo>
                  <a:cubicBezTo>
                    <a:pt x="467" y="1907"/>
                    <a:pt x="464" y="1900"/>
                    <a:pt x="455" y="1901"/>
                  </a:cubicBezTo>
                  <a:cubicBezTo>
                    <a:pt x="447" y="1902"/>
                    <a:pt x="452" y="1913"/>
                    <a:pt x="452" y="1913"/>
                  </a:cubicBezTo>
                  <a:cubicBezTo>
                    <a:pt x="440" y="1913"/>
                    <a:pt x="440" y="1913"/>
                    <a:pt x="440" y="1913"/>
                  </a:cubicBezTo>
                  <a:cubicBezTo>
                    <a:pt x="431" y="1910"/>
                    <a:pt x="419" y="1921"/>
                    <a:pt x="419" y="1921"/>
                  </a:cubicBezTo>
                  <a:cubicBezTo>
                    <a:pt x="428" y="1927"/>
                    <a:pt x="428" y="1927"/>
                    <a:pt x="428" y="1927"/>
                  </a:cubicBezTo>
                  <a:cubicBezTo>
                    <a:pt x="430" y="1945"/>
                    <a:pt x="430" y="1945"/>
                    <a:pt x="430" y="1945"/>
                  </a:cubicBezTo>
                  <a:cubicBezTo>
                    <a:pt x="450" y="1935"/>
                    <a:pt x="450" y="1935"/>
                    <a:pt x="450" y="1935"/>
                  </a:cubicBezTo>
                  <a:cubicBezTo>
                    <a:pt x="450" y="1935"/>
                    <a:pt x="455" y="1946"/>
                    <a:pt x="461" y="1945"/>
                  </a:cubicBezTo>
                  <a:cubicBezTo>
                    <a:pt x="466" y="1944"/>
                    <a:pt x="467" y="1924"/>
                    <a:pt x="476" y="191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8587D658-D158-4995-59A1-BC7354AA6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196" y="4101760"/>
              <a:ext cx="359741" cy="565526"/>
            </a:xfrm>
            <a:custGeom>
              <a:avLst/>
              <a:gdLst>
                <a:gd name="T0" fmla="*/ 32 w 630"/>
                <a:gd name="T1" fmla="*/ 45 h 993"/>
                <a:gd name="T2" fmla="*/ 30 w 630"/>
                <a:gd name="T3" fmla="*/ 44 h 993"/>
                <a:gd name="T4" fmla="*/ 31 w 630"/>
                <a:gd name="T5" fmla="*/ 43 h 993"/>
                <a:gd name="T6" fmla="*/ 32 w 630"/>
                <a:gd name="T7" fmla="*/ 44 h 993"/>
                <a:gd name="T8" fmla="*/ 32 w 630"/>
                <a:gd name="T9" fmla="*/ 42 h 993"/>
                <a:gd name="T10" fmla="*/ 32 w 630"/>
                <a:gd name="T11" fmla="*/ 39 h 993"/>
                <a:gd name="T12" fmla="*/ 32 w 630"/>
                <a:gd name="T13" fmla="*/ 36 h 993"/>
                <a:gd name="T14" fmla="*/ 31 w 630"/>
                <a:gd name="T15" fmla="*/ 33 h 993"/>
                <a:gd name="T16" fmla="*/ 29 w 630"/>
                <a:gd name="T17" fmla="*/ 31 h 993"/>
                <a:gd name="T18" fmla="*/ 28 w 630"/>
                <a:gd name="T19" fmla="*/ 31 h 993"/>
                <a:gd name="T20" fmla="*/ 27 w 630"/>
                <a:gd name="T21" fmla="*/ 29 h 993"/>
                <a:gd name="T22" fmla="*/ 28 w 630"/>
                <a:gd name="T23" fmla="*/ 27 h 993"/>
                <a:gd name="T24" fmla="*/ 24 w 630"/>
                <a:gd name="T25" fmla="*/ 28 h 993"/>
                <a:gd name="T26" fmla="*/ 21 w 630"/>
                <a:gd name="T27" fmla="*/ 27 h 993"/>
                <a:gd name="T28" fmla="*/ 21 w 630"/>
                <a:gd name="T29" fmla="*/ 24 h 993"/>
                <a:gd name="T30" fmla="*/ 19 w 630"/>
                <a:gd name="T31" fmla="*/ 22 h 993"/>
                <a:gd name="T32" fmla="*/ 19 w 630"/>
                <a:gd name="T33" fmla="*/ 21 h 993"/>
                <a:gd name="T34" fmla="*/ 19 w 630"/>
                <a:gd name="T35" fmla="*/ 19 h 993"/>
                <a:gd name="T36" fmla="*/ 21 w 630"/>
                <a:gd name="T37" fmla="*/ 17 h 993"/>
                <a:gd name="T38" fmla="*/ 21 w 630"/>
                <a:gd name="T39" fmla="*/ 14 h 993"/>
                <a:gd name="T40" fmla="*/ 22 w 630"/>
                <a:gd name="T41" fmla="*/ 14 h 993"/>
                <a:gd name="T42" fmla="*/ 25 w 630"/>
                <a:gd name="T43" fmla="*/ 13 h 993"/>
                <a:gd name="T44" fmla="*/ 26 w 630"/>
                <a:gd name="T45" fmla="*/ 13 h 993"/>
                <a:gd name="T46" fmla="*/ 28 w 630"/>
                <a:gd name="T47" fmla="*/ 12 h 993"/>
                <a:gd name="T48" fmla="*/ 28 w 630"/>
                <a:gd name="T49" fmla="*/ 12 h 993"/>
                <a:gd name="T50" fmla="*/ 28 w 630"/>
                <a:gd name="T51" fmla="*/ 11 h 993"/>
                <a:gd name="T52" fmla="*/ 27 w 630"/>
                <a:gd name="T53" fmla="*/ 9 h 993"/>
                <a:gd name="T54" fmla="*/ 27 w 630"/>
                <a:gd name="T55" fmla="*/ 7 h 993"/>
                <a:gd name="T56" fmla="*/ 25 w 630"/>
                <a:gd name="T57" fmla="*/ 7 h 993"/>
                <a:gd name="T58" fmla="*/ 23 w 630"/>
                <a:gd name="T59" fmla="*/ 7 h 993"/>
                <a:gd name="T60" fmla="*/ 20 w 630"/>
                <a:gd name="T61" fmla="*/ 6 h 993"/>
                <a:gd name="T62" fmla="*/ 19 w 630"/>
                <a:gd name="T63" fmla="*/ 4 h 993"/>
                <a:gd name="T64" fmla="*/ 18 w 630"/>
                <a:gd name="T65" fmla="*/ 3 h 993"/>
                <a:gd name="T66" fmla="*/ 17 w 630"/>
                <a:gd name="T67" fmla="*/ 1 h 993"/>
                <a:gd name="T68" fmla="*/ 14 w 630"/>
                <a:gd name="T69" fmla="*/ 0 h 993"/>
                <a:gd name="T70" fmla="*/ 15 w 630"/>
                <a:gd name="T71" fmla="*/ 0 h 993"/>
                <a:gd name="T72" fmla="*/ 15 w 630"/>
                <a:gd name="T73" fmla="*/ 1 h 993"/>
                <a:gd name="T74" fmla="*/ 15 w 630"/>
                <a:gd name="T75" fmla="*/ 3 h 993"/>
                <a:gd name="T76" fmla="*/ 12 w 630"/>
                <a:gd name="T77" fmla="*/ 7 h 993"/>
                <a:gd name="T78" fmla="*/ 8 w 630"/>
                <a:gd name="T79" fmla="*/ 10 h 993"/>
                <a:gd name="T80" fmla="*/ 7 w 630"/>
                <a:gd name="T81" fmla="*/ 10 h 993"/>
                <a:gd name="T82" fmla="*/ 7 w 630"/>
                <a:gd name="T83" fmla="*/ 13 h 993"/>
                <a:gd name="T84" fmla="*/ 6 w 630"/>
                <a:gd name="T85" fmla="*/ 14 h 993"/>
                <a:gd name="T86" fmla="*/ 4 w 630"/>
                <a:gd name="T87" fmla="*/ 13 h 993"/>
                <a:gd name="T88" fmla="*/ 2 w 630"/>
                <a:gd name="T89" fmla="*/ 13 h 993"/>
                <a:gd name="T90" fmla="*/ 2 w 630"/>
                <a:gd name="T91" fmla="*/ 12 h 993"/>
                <a:gd name="T92" fmla="*/ 2 w 630"/>
                <a:gd name="T93" fmla="*/ 10 h 993"/>
                <a:gd name="T94" fmla="*/ 0 w 630"/>
                <a:gd name="T95" fmla="*/ 13 h 993"/>
                <a:gd name="T96" fmla="*/ 0 w 630"/>
                <a:gd name="T97" fmla="*/ 15 h 993"/>
                <a:gd name="T98" fmla="*/ 0 w 630"/>
                <a:gd name="T99" fmla="*/ 17 h 993"/>
                <a:gd name="T100" fmla="*/ 4 w 630"/>
                <a:gd name="T101" fmla="*/ 21 h 993"/>
                <a:gd name="T102" fmla="*/ 7 w 630"/>
                <a:gd name="T103" fmla="*/ 24 h 993"/>
                <a:gd name="T104" fmla="*/ 9 w 630"/>
                <a:gd name="T105" fmla="*/ 28 h 993"/>
                <a:gd name="T106" fmla="*/ 11 w 630"/>
                <a:gd name="T107" fmla="*/ 33 h 993"/>
                <a:gd name="T108" fmla="*/ 14 w 630"/>
                <a:gd name="T109" fmla="*/ 37 h 993"/>
                <a:gd name="T110" fmla="*/ 16 w 630"/>
                <a:gd name="T111" fmla="*/ 42 h 993"/>
                <a:gd name="T112" fmla="*/ 21 w 630"/>
                <a:gd name="T113" fmla="*/ 45 h 993"/>
                <a:gd name="T114" fmla="*/ 27 w 630"/>
                <a:gd name="T115" fmla="*/ 49 h 993"/>
                <a:gd name="T116" fmla="*/ 28 w 630"/>
                <a:gd name="T117" fmla="*/ 50 h 993"/>
                <a:gd name="T118" fmla="*/ 30 w 630"/>
                <a:gd name="T119" fmla="*/ 52 h 993"/>
                <a:gd name="T120" fmla="*/ 31 w 630"/>
                <a:gd name="T121" fmla="*/ 50 h 993"/>
                <a:gd name="T122" fmla="*/ 31 w 630"/>
                <a:gd name="T123" fmla="*/ 49 h 993"/>
                <a:gd name="T124" fmla="*/ 33 w 630"/>
                <a:gd name="T125" fmla="*/ 46 h 9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30"/>
                <a:gd name="T190" fmla="*/ 0 h 993"/>
                <a:gd name="T191" fmla="*/ 630 w 630"/>
                <a:gd name="T192" fmla="*/ 993 h 9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30" h="993">
                  <a:moveTo>
                    <a:pt x="622" y="880"/>
                  </a:moveTo>
                  <a:cubicBezTo>
                    <a:pt x="622" y="880"/>
                    <a:pt x="612" y="873"/>
                    <a:pt x="604" y="869"/>
                  </a:cubicBezTo>
                  <a:cubicBezTo>
                    <a:pt x="596" y="865"/>
                    <a:pt x="593" y="857"/>
                    <a:pt x="593" y="857"/>
                  </a:cubicBezTo>
                  <a:cubicBezTo>
                    <a:pt x="593" y="857"/>
                    <a:pt x="579" y="859"/>
                    <a:pt x="575" y="854"/>
                  </a:cubicBezTo>
                  <a:cubicBezTo>
                    <a:pt x="580" y="840"/>
                    <a:pt x="580" y="840"/>
                    <a:pt x="580" y="840"/>
                  </a:cubicBezTo>
                  <a:cubicBezTo>
                    <a:pt x="580" y="840"/>
                    <a:pt x="576" y="825"/>
                    <a:pt x="581" y="821"/>
                  </a:cubicBezTo>
                  <a:cubicBezTo>
                    <a:pt x="584" y="818"/>
                    <a:pt x="598" y="830"/>
                    <a:pt x="607" y="838"/>
                  </a:cubicBezTo>
                  <a:cubicBezTo>
                    <a:pt x="607" y="836"/>
                    <a:pt x="607" y="835"/>
                    <a:pt x="607" y="835"/>
                  </a:cubicBezTo>
                  <a:cubicBezTo>
                    <a:pt x="612" y="824"/>
                    <a:pt x="612" y="824"/>
                    <a:pt x="612" y="824"/>
                  </a:cubicBezTo>
                  <a:cubicBezTo>
                    <a:pt x="612" y="824"/>
                    <a:pt x="604" y="813"/>
                    <a:pt x="603" y="799"/>
                  </a:cubicBezTo>
                  <a:cubicBezTo>
                    <a:pt x="601" y="784"/>
                    <a:pt x="616" y="776"/>
                    <a:pt x="620" y="766"/>
                  </a:cubicBezTo>
                  <a:cubicBezTo>
                    <a:pt x="624" y="757"/>
                    <a:pt x="605" y="744"/>
                    <a:pt x="605" y="744"/>
                  </a:cubicBezTo>
                  <a:cubicBezTo>
                    <a:pt x="618" y="724"/>
                    <a:pt x="618" y="724"/>
                    <a:pt x="618" y="724"/>
                  </a:cubicBezTo>
                  <a:cubicBezTo>
                    <a:pt x="609" y="694"/>
                    <a:pt x="609" y="694"/>
                    <a:pt x="609" y="694"/>
                  </a:cubicBezTo>
                  <a:cubicBezTo>
                    <a:pt x="609" y="694"/>
                    <a:pt x="619" y="683"/>
                    <a:pt x="620" y="677"/>
                  </a:cubicBezTo>
                  <a:cubicBezTo>
                    <a:pt x="622" y="670"/>
                    <a:pt x="612" y="645"/>
                    <a:pt x="597" y="632"/>
                  </a:cubicBezTo>
                  <a:cubicBezTo>
                    <a:pt x="586" y="621"/>
                    <a:pt x="579" y="600"/>
                    <a:pt x="577" y="591"/>
                  </a:cubicBezTo>
                  <a:cubicBezTo>
                    <a:pt x="568" y="590"/>
                    <a:pt x="560" y="590"/>
                    <a:pt x="556" y="590"/>
                  </a:cubicBezTo>
                  <a:cubicBezTo>
                    <a:pt x="545" y="590"/>
                    <a:pt x="549" y="599"/>
                    <a:pt x="541" y="599"/>
                  </a:cubicBezTo>
                  <a:cubicBezTo>
                    <a:pt x="533" y="599"/>
                    <a:pt x="533" y="591"/>
                    <a:pt x="533" y="591"/>
                  </a:cubicBezTo>
                  <a:cubicBezTo>
                    <a:pt x="526" y="592"/>
                    <a:pt x="526" y="592"/>
                    <a:pt x="526" y="592"/>
                  </a:cubicBezTo>
                  <a:cubicBezTo>
                    <a:pt x="526" y="592"/>
                    <a:pt x="525" y="572"/>
                    <a:pt x="523" y="562"/>
                  </a:cubicBezTo>
                  <a:cubicBezTo>
                    <a:pt x="521" y="552"/>
                    <a:pt x="526" y="538"/>
                    <a:pt x="528" y="534"/>
                  </a:cubicBezTo>
                  <a:cubicBezTo>
                    <a:pt x="530" y="530"/>
                    <a:pt x="525" y="507"/>
                    <a:pt x="525" y="507"/>
                  </a:cubicBezTo>
                  <a:cubicBezTo>
                    <a:pt x="491" y="537"/>
                    <a:pt x="491" y="537"/>
                    <a:pt x="491" y="537"/>
                  </a:cubicBezTo>
                  <a:cubicBezTo>
                    <a:pt x="449" y="541"/>
                    <a:pt x="449" y="541"/>
                    <a:pt x="449" y="541"/>
                  </a:cubicBezTo>
                  <a:cubicBezTo>
                    <a:pt x="449" y="541"/>
                    <a:pt x="441" y="522"/>
                    <a:pt x="438" y="515"/>
                  </a:cubicBezTo>
                  <a:cubicBezTo>
                    <a:pt x="435" y="508"/>
                    <a:pt x="399" y="509"/>
                    <a:pt x="399" y="509"/>
                  </a:cubicBezTo>
                  <a:cubicBezTo>
                    <a:pt x="399" y="509"/>
                    <a:pt x="414" y="496"/>
                    <a:pt x="416" y="491"/>
                  </a:cubicBezTo>
                  <a:cubicBezTo>
                    <a:pt x="418" y="486"/>
                    <a:pt x="396" y="471"/>
                    <a:pt x="391" y="465"/>
                  </a:cubicBezTo>
                  <a:cubicBezTo>
                    <a:pt x="386" y="459"/>
                    <a:pt x="373" y="438"/>
                    <a:pt x="373" y="438"/>
                  </a:cubicBezTo>
                  <a:cubicBezTo>
                    <a:pt x="371" y="420"/>
                    <a:pt x="371" y="420"/>
                    <a:pt x="371" y="420"/>
                  </a:cubicBezTo>
                  <a:cubicBezTo>
                    <a:pt x="371" y="420"/>
                    <a:pt x="356" y="414"/>
                    <a:pt x="356" y="409"/>
                  </a:cubicBezTo>
                  <a:cubicBezTo>
                    <a:pt x="356" y="404"/>
                    <a:pt x="371" y="396"/>
                    <a:pt x="371" y="396"/>
                  </a:cubicBezTo>
                  <a:cubicBezTo>
                    <a:pt x="365" y="392"/>
                    <a:pt x="365" y="392"/>
                    <a:pt x="365" y="392"/>
                  </a:cubicBezTo>
                  <a:cubicBezTo>
                    <a:pt x="365" y="392"/>
                    <a:pt x="360" y="378"/>
                    <a:pt x="368" y="370"/>
                  </a:cubicBezTo>
                  <a:cubicBezTo>
                    <a:pt x="376" y="362"/>
                    <a:pt x="389" y="345"/>
                    <a:pt x="395" y="354"/>
                  </a:cubicBezTo>
                  <a:cubicBezTo>
                    <a:pt x="401" y="363"/>
                    <a:pt x="391" y="338"/>
                    <a:pt x="389" y="331"/>
                  </a:cubicBezTo>
                  <a:cubicBezTo>
                    <a:pt x="387" y="324"/>
                    <a:pt x="402" y="315"/>
                    <a:pt x="402" y="315"/>
                  </a:cubicBezTo>
                  <a:cubicBezTo>
                    <a:pt x="403" y="277"/>
                    <a:pt x="403" y="277"/>
                    <a:pt x="403" y="277"/>
                  </a:cubicBezTo>
                  <a:cubicBezTo>
                    <a:pt x="419" y="277"/>
                    <a:pt x="419" y="277"/>
                    <a:pt x="419" y="277"/>
                  </a:cubicBezTo>
                  <a:cubicBezTo>
                    <a:pt x="419" y="277"/>
                    <a:pt x="420" y="269"/>
                    <a:pt x="422" y="265"/>
                  </a:cubicBezTo>
                  <a:cubicBezTo>
                    <a:pt x="424" y="261"/>
                    <a:pt x="450" y="244"/>
                    <a:pt x="450" y="244"/>
                  </a:cubicBezTo>
                  <a:cubicBezTo>
                    <a:pt x="471" y="244"/>
                    <a:pt x="471" y="244"/>
                    <a:pt x="471" y="244"/>
                  </a:cubicBezTo>
                  <a:cubicBezTo>
                    <a:pt x="473" y="237"/>
                    <a:pt x="473" y="237"/>
                    <a:pt x="473" y="237"/>
                  </a:cubicBezTo>
                  <a:cubicBezTo>
                    <a:pt x="492" y="240"/>
                    <a:pt x="492" y="240"/>
                    <a:pt x="492" y="240"/>
                  </a:cubicBezTo>
                  <a:cubicBezTo>
                    <a:pt x="492" y="240"/>
                    <a:pt x="503" y="225"/>
                    <a:pt x="513" y="224"/>
                  </a:cubicBezTo>
                  <a:cubicBezTo>
                    <a:pt x="523" y="223"/>
                    <a:pt x="527" y="236"/>
                    <a:pt x="527" y="236"/>
                  </a:cubicBezTo>
                  <a:cubicBezTo>
                    <a:pt x="527" y="236"/>
                    <a:pt x="534" y="239"/>
                    <a:pt x="539" y="236"/>
                  </a:cubicBezTo>
                  <a:cubicBezTo>
                    <a:pt x="541" y="235"/>
                    <a:pt x="542" y="231"/>
                    <a:pt x="543" y="227"/>
                  </a:cubicBezTo>
                  <a:cubicBezTo>
                    <a:pt x="532" y="223"/>
                    <a:pt x="532" y="223"/>
                    <a:pt x="532" y="223"/>
                  </a:cubicBezTo>
                  <a:cubicBezTo>
                    <a:pt x="526" y="207"/>
                    <a:pt x="526" y="207"/>
                    <a:pt x="526" y="207"/>
                  </a:cubicBezTo>
                  <a:cubicBezTo>
                    <a:pt x="526" y="207"/>
                    <a:pt x="512" y="212"/>
                    <a:pt x="509" y="206"/>
                  </a:cubicBezTo>
                  <a:cubicBezTo>
                    <a:pt x="506" y="201"/>
                    <a:pt x="515" y="171"/>
                    <a:pt x="520" y="171"/>
                  </a:cubicBezTo>
                  <a:cubicBezTo>
                    <a:pt x="525" y="171"/>
                    <a:pt x="533" y="163"/>
                    <a:pt x="533" y="148"/>
                  </a:cubicBezTo>
                  <a:cubicBezTo>
                    <a:pt x="533" y="134"/>
                    <a:pt x="505" y="135"/>
                    <a:pt x="505" y="135"/>
                  </a:cubicBezTo>
                  <a:cubicBezTo>
                    <a:pt x="505" y="135"/>
                    <a:pt x="497" y="123"/>
                    <a:pt x="493" y="122"/>
                  </a:cubicBezTo>
                  <a:cubicBezTo>
                    <a:pt x="489" y="121"/>
                    <a:pt x="481" y="130"/>
                    <a:pt x="472" y="130"/>
                  </a:cubicBezTo>
                  <a:cubicBezTo>
                    <a:pt x="464" y="130"/>
                    <a:pt x="463" y="123"/>
                    <a:pt x="449" y="120"/>
                  </a:cubicBezTo>
                  <a:cubicBezTo>
                    <a:pt x="435" y="117"/>
                    <a:pt x="434" y="138"/>
                    <a:pt x="434" y="138"/>
                  </a:cubicBezTo>
                  <a:cubicBezTo>
                    <a:pt x="434" y="138"/>
                    <a:pt x="412" y="138"/>
                    <a:pt x="393" y="133"/>
                  </a:cubicBezTo>
                  <a:cubicBezTo>
                    <a:pt x="374" y="128"/>
                    <a:pt x="389" y="113"/>
                    <a:pt x="388" y="106"/>
                  </a:cubicBezTo>
                  <a:cubicBezTo>
                    <a:pt x="387" y="98"/>
                    <a:pt x="369" y="97"/>
                    <a:pt x="369" y="97"/>
                  </a:cubicBezTo>
                  <a:cubicBezTo>
                    <a:pt x="369" y="97"/>
                    <a:pt x="367" y="79"/>
                    <a:pt x="364" y="73"/>
                  </a:cubicBezTo>
                  <a:cubicBezTo>
                    <a:pt x="362" y="67"/>
                    <a:pt x="354" y="70"/>
                    <a:pt x="354" y="70"/>
                  </a:cubicBezTo>
                  <a:cubicBezTo>
                    <a:pt x="343" y="57"/>
                    <a:pt x="343" y="57"/>
                    <a:pt x="343" y="57"/>
                  </a:cubicBezTo>
                  <a:cubicBezTo>
                    <a:pt x="335" y="57"/>
                    <a:pt x="335" y="57"/>
                    <a:pt x="335" y="57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3"/>
                    <a:pt x="297" y="9"/>
                    <a:pt x="290" y="5"/>
                  </a:cubicBezTo>
                  <a:cubicBezTo>
                    <a:pt x="284" y="1"/>
                    <a:pt x="274" y="1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9" y="0"/>
                    <a:pt x="273" y="1"/>
                    <a:pt x="278" y="1"/>
                  </a:cubicBezTo>
                  <a:cubicBezTo>
                    <a:pt x="279" y="19"/>
                    <a:pt x="268" y="19"/>
                    <a:pt x="268" y="19"/>
                  </a:cubicBezTo>
                  <a:cubicBezTo>
                    <a:pt x="284" y="31"/>
                    <a:pt x="284" y="31"/>
                    <a:pt x="284" y="31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69" y="87"/>
                    <a:pt x="241" y="128"/>
                    <a:pt x="218" y="143"/>
                  </a:cubicBezTo>
                  <a:cubicBezTo>
                    <a:pt x="195" y="157"/>
                    <a:pt x="174" y="157"/>
                    <a:pt x="161" y="168"/>
                  </a:cubicBezTo>
                  <a:cubicBezTo>
                    <a:pt x="147" y="179"/>
                    <a:pt x="147" y="186"/>
                    <a:pt x="147" y="186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42" y="201"/>
                    <a:pt x="142" y="201"/>
                    <a:pt x="142" y="201"/>
                  </a:cubicBezTo>
                  <a:cubicBezTo>
                    <a:pt x="142" y="201"/>
                    <a:pt x="134" y="206"/>
                    <a:pt x="132" y="216"/>
                  </a:cubicBezTo>
                  <a:cubicBezTo>
                    <a:pt x="131" y="225"/>
                    <a:pt x="128" y="252"/>
                    <a:pt x="128" y="252"/>
                  </a:cubicBezTo>
                  <a:cubicBezTo>
                    <a:pt x="128" y="252"/>
                    <a:pt x="119" y="254"/>
                    <a:pt x="115" y="256"/>
                  </a:cubicBezTo>
                  <a:cubicBezTo>
                    <a:pt x="111" y="259"/>
                    <a:pt x="116" y="270"/>
                    <a:pt x="103" y="270"/>
                  </a:cubicBezTo>
                  <a:cubicBezTo>
                    <a:pt x="89" y="270"/>
                    <a:pt x="93" y="246"/>
                    <a:pt x="88" y="241"/>
                  </a:cubicBezTo>
                  <a:cubicBezTo>
                    <a:pt x="82" y="237"/>
                    <a:pt x="69" y="243"/>
                    <a:pt x="69" y="243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232"/>
                    <a:pt x="50" y="250"/>
                    <a:pt x="40" y="246"/>
                  </a:cubicBezTo>
                  <a:cubicBezTo>
                    <a:pt x="31" y="241"/>
                    <a:pt x="47" y="232"/>
                    <a:pt x="47" y="232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0" y="212"/>
                    <a:pt x="58" y="203"/>
                  </a:cubicBezTo>
                  <a:cubicBezTo>
                    <a:pt x="67" y="194"/>
                    <a:pt x="43" y="188"/>
                    <a:pt x="43" y="188"/>
                  </a:cubicBezTo>
                  <a:cubicBezTo>
                    <a:pt x="43" y="188"/>
                    <a:pt x="17" y="216"/>
                    <a:pt x="9" y="223"/>
                  </a:cubicBezTo>
                  <a:cubicBezTo>
                    <a:pt x="1" y="230"/>
                    <a:pt x="0" y="241"/>
                    <a:pt x="0" y="254"/>
                  </a:cubicBezTo>
                  <a:cubicBezTo>
                    <a:pt x="0" y="267"/>
                    <a:pt x="12" y="264"/>
                    <a:pt x="12" y="26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9" y="282"/>
                    <a:pt x="26" y="292"/>
                    <a:pt x="27" y="304"/>
                  </a:cubicBezTo>
                  <a:cubicBezTo>
                    <a:pt x="28" y="316"/>
                    <a:pt x="8" y="317"/>
                    <a:pt x="8" y="331"/>
                  </a:cubicBezTo>
                  <a:cubicBezTo>
                    <a:pt x="8" y="345"/>
                    <a:pt x="42" y="347"/>
                    <a:pt x="51" y="352"/>
                  </a:cubicBezTo>
                  <a:cubicBezTo>
                    <a:pt x="59" y="357"/>
                    <a:pt x="82" y="389"/>
                    <a:pt x="85" y="394"/>
                  </a:cubicBezTo>
                  <a:cubicBezTo>
                    <a:pt x="87" y="398"/>
                    <a:pt x="99" y="418"/>
                    <a:pt x="99" y="424"/>
                  </a:cubicBezTo>
                  <a:cubicBezTo>
                    <a:pt x="99" y="430"/>
                    <a:pt x="123" y="456"/>
                    <a:pt x="126" y="462"/>
                  </a:cubicBezTo>
                  <a:cubicBezTo>
                    <a:pt x="130" y="468"/>
                    <a:pt x="164" y="522"/>
                    <a:pt x="164" y="522"/>
                  </a:cubicBezTo>
                  <a:cubicBezTo>
                    <a:pt x="169" y="547"/>
                    <a:pt x="169" y="547"/>
                    <a:pt x="169" y="547"/>
                  </a:cubicBezTo>
                  <a:cubicBezTo>
                    <a:pt x="169" y="547"/>
                    <a:pt x="197" y="602"/>
                    <a:pt x="197" y="609"/>
                  </a:cubicBezTo>
                  <a:cubicBezTo>
                    <a:pt x="197" y="616"/>
                    <a:pt x="205" y="616"/>
                    <a:pt x="214" y="622"/>
                  </a:cubicBezTo>
                  <a:cubicBezTo>
                    <a:pt x="222" y="628"/>
                    <a:pt x="218" y="635"/>
                    <a:pt x="220" y="647"/>
                  </a:cubicBezTo>
                  <a:cubicBezTo>
                    <a:pt x="221" y="658"/>
                    <a:pt x="255" y="699"/>
                    <a:pt x="267" y="715"/>
                  </a:cubicBezTo>
                  <a:cubicBezTo>
                    <a:pt x="279" y="732"/>
                    <a:pt x="270" y="754"/>
                    <a:pt x="270" y="762"/>
                  </a:cubicBezTo>
                  <a:cubicBezTo>
                    <a:pt x="270" y="771"/>
                    <a:pt x="293" y="796"/>
                    <a:pt x="304" y="803"/>
                  </a:cubicBezTo>
                  <a:cubicBezTo>
                    <a:pt x="314" y="810"/>
                    <a:pt x="324" y="826"/>
                    <a:pt x="332" y="835"/>
                  </a:cubicBezTo>
                  <a:cubicBezTo>
                    <a:pt x="340" y="843"/>
                    <a:pt x="386" y="861"/>
                    <a:pt x="400" y="869"/>
                  </a:cubicBezTo>
                  <a:cubicBezTo>
                    <a:pt x="415" y="877"/>
                    <a:pt x="442" y="883"/>
                    <a:pt x="463" y="901"/>
                  </a:cubicBezTo>
                  <a:cubicBezTo>
                    <a:pt x="484" y="919"/>
                    <a:pt x="516" y="939"/>
                    <a:pt x="516" y="939"/>
                  </a:cubicBezTo>
                  <a:cubicBezTo>
                    <a:pt x="522" y="954"/>
                    <a:pt x="522" y="954"/>
                    <a:pt x="522" y="954"/>
                  </a:cubicBezTo>
                  <a:cubicBezTo>
                    <a:pt x="522" y="954"/>
                    <a:pt x="533" y="962"/>
                    <a:pt x="540" y="968"/>
                  </a:cubicBezTo>
                  <a:cubicBezTo>
                    <a:pt x="547" y="974"/>
                    <a:pt x="574" y="992"/>
                    <a:pt x="574" y="992"/>
                  </a:cubicBezTo>
                  <a:cubicBezTo>
                    <a:pt x="574" y="993"/>
                    <a:pt x="574" y="993"/>
                    <a:pt x="574" y="993"/>
                  </a:cubicBezTo>
                  <a:cubicBezTo>
                    <a:pt x="580" y="989"/>
                    <a:pt x="589" y="983"/>
                    <a:pt x="596" y="977"/>
                  </a:cubicBezTo>
                  <a:cubicBezTo>
                    <a:pt x="608" y="968"/>
                    <a:pt x="596" y="954"/>
                    <a:pt x="596" y="954"/>
                  </a:cubicBezTo>
                  <a:cubicBezTo>
                    <a:pt x="608" y="946"/>
                    <a:pt x="608" y="946"/>
                    <a:pt x="608" y="946"/>
                  </a:cubicBezTo>
                  <a:cubicBezTo>
                    <a:pt x="601" y="929"/>
                    <a:pt x="601" y="929"/>
                    <a:pt x="601" y="929"/>
                  </a:cubicBezTo>
                  <a:cubicBezTo>
                    <a:pt x="601" y="929"/>
                    <a:pt x="611" y="919"/>
                    <a:pt x="620" y="912"/>
                  </a:cubicBezTo>
                  <a:cubicBezTo>
                    <a:pt x="626" y="908"/>
                    <a:pt x="629" y="897"/>
                    <a:pt x="630" y="889"/>
                  </a:cubicBezTo>
                  <a:lnTo>
                    <a:pt x="622" y="88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E26DCFF4-6997-3430-C580-88BB321C73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4354" y="4399003"/>
              <a:ext cx="342974" cy="403947"/>
            </a:xfrm>
            <a:custGeom>
              <a:avLst/>
              <a:gdLst>
                <a:gd name="T0" fmla="*/ 0 w 604"/>
                <a:gd name="T1" fmla="*/ 4 h 712"/>
                <a:gd name="T2" fmla="*/ 31 w 604"/>
                <a:gd name="T3" fmla="*/ 26 h 712"/>
                <a:gd name="T4" fmla="*/ 30 w 604"/>
                <a:gd name="T5" fmla="*/ 22 h 712"/>
                <a:gd name="T6" fmla="*/ 29 w 604"/>
                <a:gd name="T7" fmla="*/ 19 h 712"/>
                <a:gd name="T8" fmla="*/ 24 w 604"/>
                <a:gd name="T9" fmla="*/ 16 h 712"/>
                <a:gd name="T10" fmla="*/ 24 w 604"/>
                <a:gd name="T11" fmla="*/ 15 h 712"/>
                <a:gd name="T12" fmla="*/ 23 w 604"/>
                <a:gd name="T13" fmla="*/ 13 h 712"/>
                <a:gd name="T14" fmla="*/ 22 w 604"/>
                <a:gd name="T15" fmla="*/ 11 h 712"/>
                <a:gd name="T16" fmla="*/ 19 w 604"/>
                <a:gd name="T17" fmla="*/ 10 h 712"/>
                <a:gd name="T18" fmla="*/ 16 w 604"/>
                <a:gd name="T19" fmla="*/ 9 h 712"/>
                <a:gd name="T20" fmla="*/ 15 w 604"/>
                <a:gd name="T21" fmla="*/ 8 h 712"/>
                <a:gd name="T22" fmla="*/ 13 w 604"/>
                <a:gd name="T23" fmla="*/ 8 h 712"/>
                <a:gd name="T24" fmla="*/ 12 w 604"/>
                <a:gd name="T25" fmla="*/ 7 h 712"/>
                <a:gd name="T26" fmla="*/ 11 w 604"/>
                <a:gd name="T27" fmla="*/ 5 h 712"/>
                <a:gd name="T28" fmla="*/ 10 w 604"/>
                <a:gd name="T29" fmla="*/ 3 h 712"/>
                <a:gd name="T30" fmla="*/ 11 w 604"/>
                <a:gd name="T31" fmla="*/ 0 h 712"/>
                <a:gd name="T32" fmla="*/ 9 w 604"/>
                <a:gd name="T33" fmla="*/ 0 h 712"/>
                <a:gd name="T34" fmla="*/ 8 w 604"/>
                <a:gd name="T35" fmla="*/ 1 h 712"/>
                <a:gd name="T36" fmla="*/ 6 w 604"/>
                <a:gd name="T37" fmla="*/ 2 h 712"/>
                <a:gd name="T38" fmla="*/ 4 w 604"/>
                <a:gd name="T39" fmla="*/ 3 h 712"/>
                <a:gd name="T40" fmla="*/ 3 w 604"/>
                <a:gd name="T41" fmla="*/ 4 h 712"/>
                <a:gd name="T42" fmla="*/ 0 w 604"/>
                <a:gd name="T43" fmla="*/ 4 h 712"/>
                <a:gd name="T44" fmla="*/ 3 w 604"/>
                <a:gd name="T45" fmla="*/ 8 h 712"/>
                <a:gd name="T46" fmla="*/ 3 w 604"/>
                <a:gd name="T47" fmla="*/ 10 h 712"/>
                <a:gd name="T48" fmla="*/ 3 w 604"/>
                <a:gd name="T49" fmla="*/ 13 h 712"/>
                <a:gd name="T50" fmla="*/ 2 w 604"/>
                <a:gd name="T51" fmla="*/ 16 h 712"/>
                <a:gd name="T52" fmla="*/ 2 w 604"/>
                <a:gd name="T53" fmla="*/ 16 h 712"/>
                <a:gd name="T54" fmla="*/ 3 w 604"/>
                <a:gd name="T55" fmla="*/ 17 h 712"/>
                <a:gd name="T56" fmla="*/ 4 w 604"/>
                <a:gd name="T57" fmla="*/ 19 h 712"/>
                <a:gd name="T58" fmla="*/ 3 w 604"/>
                <a:gd name="T59" fmla="*/ 19 h 712"/>
                <a:gd name="T60" fmla="*/ 1 w 604"/>
                <a:gd name="T61" fmla="*/ 21 h 712"/>
                <a:gd name="T62" fmla="*/ 2 w 604"/>
                <a:gd name="T63" fmla="*/ 22 h 712"/>
                <a:gd name="T64" fmla="*/ 3 w 604"/>
                <a:gd name="T65" fmla="*/ 23 h 712"/>
                <a:gd name="T66" fmla="*/ 6 w 604"/>
                <a:gd name="T67" fmla="*/ 27 h 712"/>
                <a:gd name="T68" fmla="*/ 6 w 604"/>
                <a:gd name="T69" fmla="*/ 29 h 712"/>
                <a:gd name="T70" fmla="*/ 5 w 604"/>
                <a:gd name="T71" fmla="*/ 31 h 712"/>
                <a:gd name="T72" fmla="*/ 7 w 604"/>
                <a:gd name="T73" fmla="*/ 32 h 712"/>
                <a:gd name="T74" fmla="*/ 7 w 604"/>
                <a:gd name="T75" fmla="*/ 35 h 712"/>
                <a:gd name="T76" fmla="*/ 10 w 604"/>
                <a:gd name="T77" fmla="*/ 36 h 712"/>
                <a:gd name="T78" fmla="*/ 10 w 604"/>
                <a:gd name="T79" fmla="*/ 36 h 712"/>
                <a:gd name="T80" fmla="*/ 11 w 604"/>
                <a:gd name="T81" fmla="*/ 35 h 712"/>
                <a:gd name="T82" fmla="*/ 13 w 604"/>
                <a:gd name="T83" fmla="*/ 35 h 712"/>
                <a:gd name="T84" fmla="*/ 16 w 604"/>
                <a:gd name="T85" fmla="*/ 36 h 712"/>
                <a:gd name="T86" fmla="*/ 19 w 604"/>
                <a:gd name="T87" fmla="*/ 34 h 712"/>
                <a:gd name="T88" fmla="*/ 21 w 604"/>
                <a:gd name="T89" fmla="*/ 31 h 712"/>
                <a:gd name="T90" fmla="*/ 21 w 604"/>
                <a:gd name="T91" fmla="*/ 29 h 712"/>
                <a:gd name="T92" fmla="*/ 25 w 604"/>
                <a:gd name="T93" fmla="*/ 27 h 712"/>
                <a:gd name="T94" fmla="*/ 30 w 604"/>
                <a:gd name="T95" fmla="*/ 28 h 712"/>
                <a:gd name="T96" fmla="*/ 31 w 604"/>
                <a:gd name="T97" fmla="*/ 29 h 712"/>
                <a:gd name="T98" fmla="*/ 31 w 604"/>
                <a:gd name="T99" fmla="*/ 26 h 71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712"/>
                <a:gd name="T152" fmla="*/ 604 w 604"/>
                <a:gd name="T153" fmla="*/ 712 h 71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6CF20415-34FF-3E70-1968-4CB984D42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204" y="3923413"/>
              <a:ext cx="79265" cy="114325"/>
            </a:xfrm>
            <a:custGeom>
              <a:avLst/>
              <a:gdLst>
                <a:gd name="T0" fmla="*/ 6 w 139"/>
                <a:gd name="T1" fmla="*/ 3 h 200"/>
                <a:gd name="T2" fmla="*/ 5 w 139"/>
                <a:gd name="T3" fmla="*/ 1 h 200"/>
                <a:gd name="T4" fmla="*/ 3 w 139"/>
                <a:gd name="T5" fmla="*/ 1 h 200"/>
                <a:gd name="T6" fmla="*/ 2 w 139"/>
                <a:gd name="T7" fmla="*/ 0 h 200"/>
                <a:gd name="T8" fmla="*/ 1 w 139"/>
                <a:gd name="T9" fmla="*/ 1 h 200"/>
                <a:gd name="T10" fmla="*/ 0 w 139"/>
                <a:gd name="T11" fmla="*/ 2 h 200"/>
                <a:gd name="T12" fmla="*/ 0 w 139"/>
                <a:gd name="T13" fmla="*/ 5 h 200"/>
                <a:gd name="T14" fmla="*/ 1 w 139"/>
                <a:gd name="T15" fmla="*/ 6 h 200"/>
                <a:gd name="T16" fmla="*/ 1 w 139"/>
                <a:gd name="T17" fmla="*/ 7 h 200"/>
                <a:gd name="T18" fmla="*/ 1 w 139"/>
                <a:gd name="T19" fmla="*/ 9 h 200"/>
                <a:gd name="T20" fmla="*/ 0 w 139"/>
                <a:gd name="T21" fmla="*/ 9 h 200"/>
                <a:gd name="T22" fmla="*/ 0 w 139"/>
                <a:gd name="T23" fmla="*/ 10 h 200"/>
                <a:gd name="T24" fmla="*/ 1 w 139"/>
                <a:gd name="T25" fmla="*/ 10 h 200"/>
                <a:gd name="T26" fmla="*/ 2 w 139"/>
                <a:gd name="T27" fmla="*/ 10 h 200"/>
                <a:gd name="T28" fmla="*/ 3 w 139"/>
                <a:gd name="T29" fmla="*/ 10 h 200"/>
                <a:gd name="T30" fmla="*/ 3 w 139"/>
                <a:gd name="T31" fmla="*/ 10 h 200"/>
                <a:gd name="T32" fmla="*/ 3 w 139"/>
                <a:gd name="T33" fmla="*/ 10 h 200"/>
                <a:gd name="T34" fmla="*/ 3 w 139"/>
                <a:gd name="T35" fmla="*/ 10 h 200"/>
                <a:gd name="T36" fmla="*/ 4 w 139"/>
                <a:gd name="T37" fmla="*/ 10 h 200"/>
                <a:gd name="T38" fmla="*/ 6 w 139"/>
                <a:gd name="T39" fmla="*/ 8 h 200"/>
                <a:gd name="T40" fmla="*/ 7 w 139"/>
                <a:gd name="T41" fmla="*/ 6 h 200"/>
                <a:gd name="T42" fmla="*/ 7 w 139"/>
                <a:gd name="T43" fmla="*/ 5 h 200"/>
                <a:gd name="T44" fmla="*/ 7 w 139"/>
                <a:gd name="T45" fmla="*/ 3 h 200"/>
                <a:gd name="T46" fmla="*/ 6 w 139"/>
                <a:gd name="T47" fmla="*/ 3 h 2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9"/>
                <a:gd name="T73" fmla="*/ 0 h 200"/>
                <a:gd name="T74" fmla="*/ 139 w 139"/>
                <a:gd name="T75" fmla="*/ 200 h 20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9" h="200">
                  <a:moveTo>
                    <a:pt x="106" y="49"/>
                  </a:moveTo>
                  <a:cubicBezTo>
                    <a:pt x="90" y="16"/>
                    <a:pt x="90" y="16"/>
                    <a:pt x="90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44" y="8"/>
                    <a:pt x="36" y="0"/>
                  </a:cubicBezTo>
                  <a:cubicBezTo>
                    <a:pt x="32" y="7"/>
                    <a:pt x="32" y="16"/>
                    <a:pt x="32" y="21"/>
                  </a:cubicBezTo>
                  <a:cubicBezTo>
                    <a:pt x="32" y="28"/>
                    <a:pt x="21" y="27"/>
                    <a:pt x="10" y="44"/>
                  </a:cubicBezTo>
                  <a:cubicBezTo>
                    <a:pt x="0" y="60"/>
                    <a:pt x="10" y="81"/>
                    <a:pt x="11" y="94"/>
                  </a:cubicBezTo>
                  <a:cubicBezTo>
                    <a:pt x="12" y="106"/>
                    <a:pt x="31" y="111"/>
                    <a:pt x="32" y="121"/>
                  </a:cubicBezTo>
                  <a:cubicBezTo>
                    <a:pt x="33" y="131"/>
                    <a:pt x="21" y="136"/>
                    <a:pt x="21" y="136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3" y="164"/>
                    <a:pt x="12" y="168"/>
                    <a:pt x="11" y="171"/>
                  </a:cubicBezTo>
                  <a:cubicBezTo>
                    <a:pt x="10" y="174"/>
                    <a:pt x="4" y="188"/>
                    <a:pt x="4" y="188"/>
                  </a:cubicBezTo>
                  <a:cubicBezTo>
                    <a:pt x="4" y="188"/>
                    <a:pt x="6" y="198"/>
                    <a:pt x="20" y="199"/>
                  </a:cubicBezTo>
                  <a:cubicBezTo>
                    <a:pt x="34" y="200"/>
                    <a:pt x="32" y="194"/>
                    <a:pt x="38" y="188"/>
                  </a:cubicBezTo>
                  <a:cubicBezTo>
                    <a:pt x="44" y="182"/>
                    <a:pt x="48" y="190"/>
                    <a:pt x="48" y="190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62" y="187"/>
                    <a:pt x="62" y="187"/>
                    <a:pt x="62" y="187"/>
                  </a:cubicBezTo>
                  <a:cubicBezTo>
                    <a:pt x="62" y="187"/>
                    <a:pt x="66" y="195"/>
                    <a:pt x="66" y="196"/>
                  </a:cubicBezTo>
                  <a:cubicBezTo>
                    <a:pt x="72" y="196"/>
                    <a:pt x="87" y="190"/>
                    <a:pt x="87" y="190"/>
                  </a:cubicBezTo>
                  <a:cubicBezTo>
                    <a:pt x="104" y="176"/>
                    <a:pt x="105" y="157"/>
                    <a:pt x="108" y="147"/>
                  </a:cubicBezTo>
                  <a:cubicBezTo>
                    <a:pt x="111" y="137"/>
                    <a:pt x="120" y="122"/>
                    <a:pt x="127" y="116"/>
                  </a:cubicBezTo>
                  <a:cubicBezTo>
                    <a:pt x="134" y="110"/>
                    <a:pt x="139" y="93"/>
                    <a:pt x="139" y="93"/>
                  </a:cubicBezTo>
                  <a:cubicBezTo>
                    <a:pt x="137" y="88"/>
                    <a:pt x="125" y="56"/>
                    <a:pt x="125" y="56"/>
                  </a:cubicBezTo>
                  <a:lnTo>
                    <a:pt x="106" y="4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FF7FE9D4-9F2D-9207-C8FE-B6B0BA1F1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808" y="3847197"/>
              <a:ext cx="126520" cy="219503"/>
            </a:xfrm>
            <a:custGeom>
              <a:avLst/>
              <a:gdLst>
                <a:gd name="T0" fmla="*/ 3 w 225"/>
                <a:gd name="T1" fmla="*/ 1 h 388"/>
                <a:gd name="T2" fmla="*/ 2 w 225"/>
                <a:gd name="T3" fmla="*/ 2 h 388"/>
                <a:gd name="T4" fmla="*/ 2 w 225"/>
                <a:gd name="T5" fmla="*/ 3 h 388"/>
                <a:gd name="T6" fmla="*/ 3 w 225"/>
                <a:gd name="T7" fmla="*/ 3 h 388"/>
                <a:gd name="T8" fmla="*/ 2 w 225"/>
                <a:gd name="T9" fmla="*/ 4 h 388"/>
                <a:gd name="T10" fmla="*/ 0 w 225"/>
                <a:gd name="T11" fmla="*/ 5 h 388"/>
                <a:gd name="T12" fmla="*/ 1 w 225"/>
                <a:gd name="T13" fmla="*/ 6 h 388"/>
                <a:gd name="T14" fmla="*/ 0 w 225"/>
                <a:gd name="T15" fmla="*/ 7 h 388"/>
                <a:gd name="T16" fmla="*/ 2 w 225"/>
                <a:gd name="T17" fmla="*/ 9 h 388"/>
                <a:gd name="T18" fmla="*/ 3 w 225"/>
                <a:gd name="T19" fmla="*/ 9 h 388"/>
                <a:gd name="T20" fmla="*/ 3 w 225"/>
                <a:gd name="T21" fmla="*/ 9 h 388"/>
                <a:gd name="T22" fmla="*/ 3 w 225"/>
                <a:gd name="T23" fmla="*/ 9 h 388"/>
                <a:gd name="T24" fmla="*/ 3 w 225"/>
                <a:gd name="T25" fmla="*/ 11 h 388"/>
                <a:gd name="T26" fmla="*/ 4 w 225"/>
                <a:gd name="T27" fmla="*/ 11 h 388"/>
                <a:gd name="T28" fmla="*/ 4 w 225"/>
                <a:gd name="T29" fmla="*/ 12 h 388"/>
                <a:gd name="T30" fmla="*/ 4 w 225"/>
                <a:gd name="T31" fmla="*/ 12 h 388"/>
                <a:gd name="T32" fmla="*/ 4 w 225"/>
                <a:gd name="T33" fmla="*/ 13 h 388"/>
                <a:gd name="T34" fmla="*/ 3 w 225"/>
                <a:gd name="T35" fmla="*/ 14 h 388"/>
                <a:gd name="T36" fmla="*/ 3 w 225"/>
                <a:gd name="T37" fmla="*/ 16 h 388"/>
                <a:gd name="T38" fmla="*/ 4 w 225"/>
                <a:gd name="T39" fmla="*/ 17 h 388"/>
                <a:gd name="T40" fmla="*/ 4 w 225"/>
                <a:gd name="T41" fmla="*/ 18 h 388"/>
                <a:gd name="T42" fmla="*/ 5 w 225"/>
                <a:gd name="T43" fmla="*/ 19 h 388"/>
                <a:gd name="T44" fmla="*/ 6 w 225"/>
                <a:gd name="T45" fmla="*/ 19 h 388"/>
                <a:gd name="T46" fmla="*/ 6 w 225"/>
                <a:gd name="T47" fmla="*/ 20 h 388"/>
                <a:gd name="T48" fmla="*/ 7 w 225"/>
                <a:gd name="T49" fmla="*/ 20 h 388"/>
                <a:gd name="T50" fmla="*/ 7 w 225"/>
                <a:gd name="T51" fmla="*/ 19 h 388"/>
                <a:gd name="T52" fmla="*/ 8 w 225"/>
                <a:gd name="T53" fmla="*/ 19 h 388"/>
                <a:gd name="T54" fmla="*/ 8 w 225"/>
                <a:gd name="T55" fmla="*/ 19 h 388"/>
                <a:gd name="T56" fmla="*/ 9 w 225"/>
                <a:gd name="T57" fmla="*/ 18 h 388"/>
                <a:gd name="T58" fmla="*/ 10 w 225"/>
                <a:gd name="T59" fmla="*/ 17 h 388"/>
                <a:gd name="T60" fmla="*/ 11 w 225"/>
                <a:gd name="T61" fmla="*/ 18 h 388"/>
                <a:gd name="T62" fmla="*/ 11 w 225"/>
                <a:gd name="T63" fmla="*/ 17 h 388"/>
                <a:gd name="T64" fmla="*/ 10 w 225"/>
                <a:gd name="T65" fmla="*/ 16 h 388"/>
                <a:gd name="T66" fmla="*/ 10 w 225"/>
                <a:gd name="T67" fmla="*/ 14 h 388"/>
                <a:gd name="T68" fmla="*/ 9 w 225"/>
                <a:gd name="T69" fmla="*/ 14 h 388"/>
                <a:gd name="T70" fmla="*/ 8 w 225"/>
                <a:gd name="T71" fmla="*/ 13 h 388"/>
                <a:gd name="T72" fmla="*/ 8 w 225"/>
                <a:gd name="T73" fmla="*/ 12 h 388"/>
                <a:gd name="T74" fmla="*/ 8 w 225"/>
                <a:gd name="T75" fmla="*/ 11 h 388"/>
                <a:gd name="T76" fmla="*/ 8 w 225"/>
                <a:gd name="T77" fmla="*/ 10 h 388"/>
                <a:gd name="T78" fmla="*/ 10 w 225"/>
                <a:gd name="T79" fmla="*/ 9 h 388"/>
                <a:gd name="T80" fmla="*/ 10 w 225"/>
                <a:gd name="T81" fmla="*/ 8 h 388"/>
                <a:gd name="T82" fmla="*/ 10 w 225"/>
                <a:gd name="T83" fmla="*/ 7 h 388"/>
                <a:gd name="T84" fmla="*/ 10 w 225"/>
                <a:gd name="T85" fmla="*/ 6 h 388"/>
                <a:gd name="T86" fmla="*/ 9 w 225"/>
                <a:gd name="T87" fmla="*/ 6 h 388"/>
                <a:gd name="T88" fmla="*/ 9 w 225"/>
                <a:gd name="T89" fmla="*/ 5 h 388"/>
                <a:gd name="T90" fmla="*/ 8 w 225"/>
                <a:gd name="T91" fmla="*/ 4 h 388"/>
                <a:gd name="T92" fmla="*/ 7 w 225"/>
                <a:gd name="T93" fmla="*/ 6 h 388"/>
                <a:gd name="T94" fmla="*/ 7 w 225"/>
                <a:gd name="T95" fmla="*/ 3 h 388"/>
                <a:gd name="T96" fmla="*/ 6 w 225"/>
                <a:gd name="T97" fmla="*/ 1 h 388"/>
                <a:gd name="T98" fmla="*/ 4 w 225"/>
                <a:gd name="T99" fmla="*/ 0 h 388"/>
                <a:gd name="T100" fmla="*/ 4 w 225"/>
                <a:gd name="T101" fmla="*/ 0 h 388"/>
                <a:gd name="T102" fmla="*/ 3 w 225"/>
                <a:gd name="T103" fmla="*/ 1 h 38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5"/>
                <a:gd name="T157" fmla="*/ 0 h 388"/>
                <a:gd name="T158" fmla="*/ 225 w 225"/>
                <a:gd name="T159" fmla="*/ 388 h 38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5" h="388">
                  <a:moveTo>
                    <a:pt x="62" y="28"/>
                  </a:moveTo>
                  <a:cubicBezTo>
                    <a:pt x="56" y="30"/>
                    <a:pt x="40" y="35"/>
                    <a:pt x="42" y="44"/>
                  </a:cubicBezTo>
                  <a:cubicBezTo>
                    <a:pt x="44" y="53"/>
                    <a:pt x="42" y="64"/>
                    <a:pt x="46" y="64"/>
                  </a:cubicBezTo>
                  <a:cubicBezTo>
                    <a:pt x="50" y="64"/>
                    <a:pt x="57" y="64"/>
                    <a:pt x="57" y="67"/>
                  </a:cubicBezTo>
                  <a:cubicBezTo>
                    <a:pt x="57" y="71"/>
                    <a:pt x="58" y="81"/>
                    <a:pt x="47" y="85"/>
                  </a:cubicBezTo>
                  <a:cubicBezTo>
                    <a:pt x="36" y="89"/>
                    <a:pt x="11" y="88"/>
                    <a:pt x="11" y="93"/>
                  </a:cubicBezTo>
                  <a:cubicBezTo>
                    <a:pt x="11" y="98"/>
                    <a:pt x="31" y="109"/>
                    <a:pt x="22" y="116"/>
                  </a:cubicBezTo>
                  <a:cubicBezTo>
                    <a:pt x="13" y="124"/>
                    <a:pt x="0" y="123"/>
                    <a:pt x="4" y="134"/>
                  </a:cubicBezTo>
                  <a:cubicBezTo>
                    <a:pt x="8" y="145"/>
                    <a:pt x="35" y="172"/>
                    <a:pt x="35" y="172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67"/>
                    <a:pt x="65" y="168"/>
                    <a:pt x="68" y="182"/>
                  </a:cubicBezTo>
                  <a:cubicBezTo>
                    <a:pt x="71" y="196"/>
                    <a:pt x="59" y="208"/>
                    <a:pt x="59" y="208"/>
                  </a:cubicBezTo>
                  <a:cubicBezTo>
                    <a:pt x="59" y="217"/>
                    <a:pt x="81" y="211"/>
                    <a:pt x="81" y="211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9" y="234"/>
                    <a:pt x="88" y="240"/>
                  </a:cubicBezTo>
                  <a:cubicBezTo>
                    <a:pt x="87" y="246"/>
                    <a:pt x="74" y="258"/>
                    <a:pt x="74" y="258"/>
                  </a:cubicBezTo>
                  <a:cubicBezTo>
                    <a:pt x="69" y="286"/>
                    <a:pt x="69" y="286"/>
                    <a:pt x="69" y="286"/>
                  </a:cubicBezTo>
                  <a:cubicBezTo>
                    <a:pt x="69" y="286"/>
                    <a:pt x="61" y="302"/>
                    <a:pt x="61" y="312"/>
                  </a:cubicBezTo>
                  <a:cubicBezTo>
                    <a:pt x="61" y="322"/>
                    <a:pt x="78" y="325"/>
                    <a:pt x="78" y="333"/>
                  </a:cubicBezTo>
                  <a:cubicBezTo>
                    <a:pt x="78" y="341"/>
                    <a:pt x="78" y="353"/>
                    <a:pt x="78" y="353"/>
                  </a:cubicBezTo>
                  <a:cubicBezTo>
                    <a:pt x="99" y="377"/>
                    <a:pt x="99" y="377"/>
                    <a:pt x="99" y="377"/>
                  </a:cubicBezTo>
                  <a:cubicBezTo>
                    <a:pt x="108" y="377"/>
                    <a:pt x="108" y="377"/>
                    <a:pt x="108" y="377"/>
                  </a:cubicBezTo>
                  <a:cubicBezTo>
                    <a:pt x="112" y="388"/>
                    <a:pt x="112" y="388"/>
                    <a:pt x="112" y="388"/>
                  </a:cubicBezTo>
                  <a:cubicBezTo>
                    <a:pt x="112" y="388"/>
                    <a:pt x="122" y="388"/>
                    <a:pt x="132" y="387"/>
                  </a:cubicBezTo>
                  <a:cubicBezTo>
                    <a:pt x="142" y="386"/>
                    <a:pt x="137" y="373"/>
                    <a:pt x="143" y="369"/>
                  </a:cubicBezTo>
                  <a:cubicBezTo>
                    <a:pt x="149" y="365"/>
                    <a:pt x="161" y="368"/>
                    <a:pt x="161" y="368"/>
                  </a:cubicBezTo>
                  <a:cubicBezTo>
                    <a:pt x="162" y="360"/>
                    <a:pt x="162" y="360"/>
                    <a:pt x="162" y="360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83" y="359"/>
                    <a:pt x="187" y="343"/>
                    <a:pt x="197" y="342"/>
                  </a:cubicBezTo>
                  <a:cubicBezTo>
                    <a:pt x="207" y="341"/>
                    <a:pt x="209" y="352"/>
                    <a:pt x="217" y="350"/>
                  </a:cubicBezTo>
                  <a:cubicBezTo>
                    <a:pt x="225" y="348"/>
                    <a:pt x="221" y="341"/>
                    <a:pt x="221" y="341"/>
                  </a:cubicBezTo>
                  <a:cubicBezTo>
                    <a:pt x="221" y="341"/>
                    <a:pt x="205" y="310"/>
                    <a:pt x="196" y="302"/>
                  </a:cubicBezTo>
                  <a:cubicBezTo>
                    <a:pt x="187" y="294"/>
                    <a:pt x="197" y="273"/>
                    <a:pt x="196" y="266"/>
                  </a:cubicBezTo>
                  <a:cubicBezTo>
                    <a:pt x="195" y="259"/>
                    <a:pt x="186" y="274"/>
                    <a:pt x="182" y="273"/>
                  </a:cubicBezTo>
                  <a:cubicBezTo>
                    <a:pt x="178" y="272"/>
                    <a:pt x="168" y="258"/>
                    <a:pt x="168" y="251"/>
                  </a:cubicBezTo>
                  <a:cubicBezTo>
                    <a:pt x="168" y="244"/>
                    <a:pt x="158" y="246"/>
                    <a:pt x="157" y="236"/>
                  </a:cubicBezTo>
                  <a:cubicBezTo>
                    <a:pt x="156" y="225"/>
                    <a:pt x="167" y="218"/>
                    <a:pt x="167" y="218"/>
                  </a:cubicBezTo>
                  <a:cubicBezTo>
                    <a:pt x="167" y="218"/>
                    <a:pt x="163" y="199"/>
                    <a:pt x="166" y="190"/>
                  </a:cubicBezTo>
                  <a:cubicBezTo>
                    <a:pt x="169" y="181"/>
                    <a:pt x="187" y="184"/>
                    <a:pt x="199" y="181"/>
                  </a:cubicBezTo>
                  <a:cubicBezTo>
                    <a:pt x="211" y="178"/>
                    <a:pt x="195" y="166"/>
                    <a:pt x="195" y="158"/>
                  </a:cubicBezTo>
                  <a:cubicBezTo>
                    <a:pt x="195" y="150"/>
                    <a:pt x="206" y="136"/>
                    <a:pt x="206" y="136"/>
                  </a:cubicBezTo>
                  <a:cubicBezTo>
                    <a:pt x="206" y="136"/>
                    <a:pt x="206" y="125"/>
                    <a:pt x="203" y="117"/>
                  </a:cubicBezTo>
                  <a:cubicBezTo>
                    <a:pt x="200" y="109"/>
                    <a:pt x="185" y="117"/>
                    <a:pt x="185" y="117"/>
                  </a:cubicBezTo>
                  <a:cubicBezTo>
                    <a:pt x="183" y="102"/>
                    <a:pt x="183" y="102"/>
                    <a:pt x="183" y="102"/>
                  </a:cubicBezTo>
                  <a:cubicBezTo>
                    <a:pt x="183" y="102"/>
                    <a:pt x="166" y="87"/>
                    <a:pt x="153" y="85"/>
                  </a:cubicBezTo>
                  <a:cubicBezTo>
                    <a:pt x="140" y="83"/>
                    <a:pt x="133" y="109"/>
                    <a:pt x="133" y="109"/>
                  </a:cubicBezTo>
                  <a:cubicBezTo>
                    <a:pt x="133" y="109"/>
                    <a:pt x="142" y="69"/>
                    <a:pt x="144" y="61"/>
                  </a:cubicBezTo>
                  <a:cubicBezTo>
                    <a:pt x="146" y="53"/>
                    <a:pt x="132" y="30"/>
                    <a:pt x="126" y="22"/>
                  </a:cubicBezTo>
                  <a:cubicBezTo>
                    <a:pt x="120" y="14"/>
                    <a:pt x="83" y="0"/>
                    <a:pt x="83" y="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69" y="26"/>
                    <a:pt x="62" y="2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2367907B-DB46-A747-D62D-62CF29EDFC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2224" y="3729823"/>
              <a:ext cx="364315" cy="355169"/>
            </a:xfrm>
            <a:custGeom>
              <a:avLst/>
              <a:gdLst>
                <a:gd name="T0" fmla="*/ 9 w 642"/>
                <a:gd name="T1" fmla="*/ 0 h 625"/>
                <a:gd name="T2" fmla="*/ 9 w 642"/>
                <a:gd name="T3" fmla="*/ 2 h 625"/>
                <a:gd name="T4" fmla="*/ 32 w 642"/>
                <a:gd name="T5" fmla="*/ 10 h 625"/>
                <a:gd name="T6" fmla="*/ 31 w 642"/>
                <a:gd name="T7" fmla="*/ 10 h 625"/>
                <a:gd name="T8" fmla="*/ 29 w 642"/>
                <a:gd name="T9" fmla="*/ 10 h 625"/>
                <a:gd name="T10" fmla="*/ 30 w 642"/>
                <a:gd name="T11" fmla="*/ 9 h 625"/>
                <a:gd name="T12" fmla="*/ 29 w 642"/>
                <a:gd name="T13" fmla="*/ 7 h 625"/>
                <a:gd name="T14" fmla="*/ 29 w 642"/>
                <a:gd name="T15" fmla="*/ 7 h 625"/>
                <a:gd name="T16" fmla="*/ 28 w 642"/>
                <a:gd name="T17" fmla="*/ 6 h 625"/>
                <a:gd name="T18" fmla="*/ 27 w 642"/>
                <a:gd name="T19" fmla="*/ 7 h 625"/>
                <a:gd name="T20" fmla="*/ 26 w 642"/>
                <a:gd name="T21" fmla="*/ 6 h 625"/>
                <a:gd name="T22" fmla="*/ 26 w 642"/>
                <a:gd name="T23" fmla="*/ 5 h 625"/>
                <a:gd name="T24" fmla="*/ 23 w 642"/>
                <a:gd name="T25" fmla="*/ 4 h 625"/>
                <a:gd name="T26" fmla="*/ 22 w 642"/>
                <a:gd name="T27" fmla="*/ 5 h 625"/>
                <a:gd name="T28" fmla="*/ 18 w 642"/>
                <a:gd name="T29" fmla="*/ 4 h 625"/>
                <a:gd name="T30" fmla="*/ 13 w 642"/>
                <a:gd name="T31" fmla="*/ 3 h 625"/>
                <a:gd name="T32" fmla="*/ 7 w 642"/>
                <a:gd name="T33" fmla="*/ 3 h 625"/>
                <a:gd name="T34" fmla="*/ 6 w 642"/>
                <a:gd name="T35" fmla="*/ 7 h 625"/>
                <a:gd name="T36" fmla="*/ 4 w 642"/>
                <a:gd name="T37" fmla="*/ 8 h 625"/>
                <a:gd name="T38" fmla="*/ 4 w 642"/>
                <a:gd name="T39" fmla="*/ 5 h 625"/>
                <a:gd name="T40" fmla="*/ 4 w 642"/>
                <a:gd name="T41" fmla="*/ 2 h 625"/>
                <a:gd name="T42" fmla="*/ 2 w 642"/>
                <a:gd name="T43" fmla="*/ 4 h 625"/>
                <a:gd name="T44" fmla="*/ 1 w 642"/>
                <a:gd name="T45" fmla="*/ 6 h 625"/>
                <a:gd name="T46" fmla="*/ 0 w 642"/>
                <a:gd name="T47" fmla="*/ 8 h 625"/>
                <a:gd name="T48" fmla="*/ 2 w 642"/>
                <a:gd name="T49" fmla="*/ 9 h 625"/>
                <a:gd name="T50" fmla="*/ 3 w 642"/>
                <a:gd name="T51" fmla="*/ 11 h 625"/>
                <a:gd name="T52" fmla="*/ 2 w 642"/>
                <a:gd name="T53" fmla="*/ 13 h 625"/>
                <a:gd name="T54" fmla="*/ 3 w 642"/>
                <a:gd name="T55" fmla="*/ 15 h 625"/>
                <a:gd name="T56" fmla="*/ 6 w 642"/>
                <a:gd name="T57" fmla="*/ 15 h 625"/>
                <a:gd name="T58" fmla="*/ 7 w 642"/>
                <a:gd name="T59" fmla="*/ 15 h 625"/>
                <a:gd name="T60" fmla="*/ 9 w 642"/>
                <a:gd name="T61" fmla="*/ 17 h 625"/>
                <a:gd name="T62" fmla="*/ 10 w 642"/>
                <a:gd name="T63" fmla="*/ 17 h 625"/>
                <a:gd name="T64" fmla="*/ 12 w 642"/>
                <a:gd name="T65" fmla="*/ 17 h 625"/>
                <a:gd name="T66" fmla="*/ 14 w 642"/>
                <a:gd name="T67" fmla="*/ 17 h 625"/>
                <a:gd name="T68" fmla="*/ 13 w 642"/>
                <a:gd name="T69" fmla="*/ 19 h 625"/>
                <a:gd name="T70" fmla="*/ 13 w 642"/>
                <a:gd name="T71" fmla="*/ 21 h 625"/>
                <a:gd name="T72" fmla="*/ 13 w 642"/>
                <a:gd name="T73" fmla="*/ 23 h 625"/>
                <a:gd name="T74" fmla="*/ 14 w 642"/>
                <a:gd name="T75" fmla="*/ 25 h 625"/>
                <a:gd name="T76" fmla="*/ 13 w 642"/>
                <a:gd name="T77" fmla="*/ 26 h 625"/>
                <a:gd name="T78" fmla="*/ 15 w 642"/>
                <a:gd name="T79" fmla="*/ 28 h 625"/>
                <a:gd name="T80" fmla="*/ 15 w 642"/>
                <a:gd name="T81" fmla="*/ 31 h 625"/>
                <a:gd name="T82" fmla="*/ 17 w 642"/>
                <a:gd name="T83" fmla="*/ 32 h 625"/>
                <a:gd name="T84" fmla="*/ 19 w 642"/>
                <a:gd name="T85" fmla="*/ 32 h 625"/>
                <a:gd name="T86" fmla="*/ 20 w 642"/>
                <a:gd name="T87" fmla="*/ 31 h 625"/>
                <a:gd name="T88" fmla="*/ 22 w 642"/>
                <a:gd name="T89" fmla="*/ 30 h 625"/>
                <a:gd name="T90" fmla="*/ 23 w 642"/>
                <a:gd name="T91" fmla="*/ 28 h 625"/>
                <a:gd name="T92" fmla="*/ 22 w 642"/>
                <a:gd name="T93" fmla="*/ 27 h 625"/>
                <a:gd name="T94" fmla="*/ 22 w 642"/>
                <a:gd name="T95" fmla="*/ 25 h 625"/>
                <a:gd name="T96" fmla="*/ 20 w 642"/>
                <a:gd name="T97" fmla="*/ 22 h 625"/>
                <a:gd name="T98" fmla="*/ 22 w 642"/>
                <a:gd name="T99" fmla="*/ 22 h 625"/>
                <a:gd name="T100" fmla="*/ 23 w 642"/>
                <a:gd name="T101" fmla="*/ 23 h 625"/>
                <a:gd name="T102" fmla="*/ 24 w 642"/>
                <a:gd name="T103" fmla="*/ 23 h 625"/>
                <a:gd name="T104" fmla="*/ 26 w 642"/>
                <a:gd name="T105" fmla="*/ 22 h 625"/>
                <a:gd name="T106" fmla="*/ 28 w 642"/>
                <a:gd name="T107" fmla="*/ 22 h 625"/>
                <a:gd name="T108" fmla="*/ 30 w 642"/>
                <a:gd name="T109" fmla="*/ 21 h 625"/>
                <a:gd name="T110" fmla="*/ 31 w 642"/>
                <a:gd name="T111" fmla="*/ 21 h 625"/>
                <a:gd name="T112" fmla="*/ 29 w 642"/>
                <a:gd name="T113" fmla="*/ 18 h 625"/>
                <a:gd name="T114" fmla="*/ 29 w 642"/>
                <a:gd name="T115" fmla="*/ 15 h 625"/>
                <a:gd name="T116" fmla="*/ 32 w 642"/>
                <a:gd name="T117" fmla="*/ 14 h 625"/>
                <a:gd name="T118" fmla="*/ 31 w 642"/>
                <a:gd name="T119" fmla="*/ 13 h 625"/>
                <a:gd name="T120" fmla="*/ 33 w 642"/>
                <a:gd name="T121" fmla="*/ 11 h 625"/>
                <a:gd name="T122" fmla="*/ 32 w 642"/>
                <a:gd name="T123" fmla="*/ 10 h 6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2"/>
                <a:gd name="T187" fmla="*/ 0 h 625"/>
                <a:gd name="T188" fmla="*/ 642 w 642"/>
                <a:gd name="T189" fmla="*/ 625 h 6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2" h="625">
                  <a:moveTo>
                    <a:pt x="182" y="33"/>
                  </a:moveTo>
                  <a:cubicBezTo>
                    <a:pt x="182" y="33"/>
                    <a:pt x="187" y="6"/>
                    <a:pt x="175" y="3"/>
                  </a:cubicBezTo>
                  <a:cubicBezTo>
                    <a:pt x="164" y="0"/>
                    <a:pt x="158" y="7"/>
                    <a:pt x="158" y="13"/>
                  </a:cubicBezTo>
                  <a:cubicBezTo>
                    <a:pt x="158" y="18"/>
                    <a:pt x="165" y="34"/>
                    <a:pt x="165" y="34"/>
                  </a:cubicBezTo>
                  <a:lnTo>
                    <a:pt x="182" y="33"/>
                  </a:lnTo>
                  <a:close/>
                  <a:moveTo>
                    <a:pt x="630" y="190"/>
                  </a:moveTo>
                  <a:cubicBezTo>
                    <a:pt x="626" y="184"/>
                    <a:pt x="611" y="201"/>
                    <a:pt x="611" y="201"/>
                  </a:cubicBezTo>
                  <a:cubicBezTo>
                    <a:pt x="611" y="201"/>
                    <a:pt x="601" y="197"/>
                    <a:pt x="595" y="194"/>
                  </a:cubicBezTo>
                  <a:cubicBezTo>
                    <a:pt x="589" y="191"/>
                    <a:pt x="575" y="208"/>
                    <a:pt x="575" y="208"/>
                  </a:cubicBezTo>
                  <a:cubicBezTo>
                    <a:pt x="553" y="194"/>
                    <a:pt x="553" y="194"/>
                    <a:pt x="553" y="194"/>
                  </a:cubicBezTo>
                  <a:cubicBezTo>
                    <a:pt x="553" y="194"/>
                    <a:pt x="579" y="194"/>
                    <a:pt x="583" y="187"/>
                  </a:cubicBezTo>
                  <a:cubicBezTo>
                    <a:pt x="587" y="180"/>
                    <a:pt x="586" y="167"/>
                    <a:pt x="586" y="167"/>
                  </a:cubicBezTo>
                  <a:cubicBezTo>
                    <a:pt x="586" y="167"/>
                    <a:pt x="596" y="166"/>
                    <a:pt x="598" y="153"/>
                  </a:cubicBezTo>
                  <a:cubicBezTo>
                    <a:pt x="600" y="140"/>
                    <a:pt x="572" y="143"/>
                    <a:pt x="572" y="143"/>
                  </a:cubicBezTo>
                  <a:cubicBezTo>
                    <a:pt x="572" y="143"/>
                    <a:pt x="568" y="129"/>
                    <a:pt x="561" y="128"/>
                  </a:cubicBezTo>
                  <a:cubicBezTo>
                    <a:pt x="554" y="127"/>
                    <a:pt x="556" y="143"/>
                    <a:pt x="556" y="143"/>
                  </a:cubicBezTo>
                  <a:cubicBezTo>
                    <a:pt x="556" y="143"/>
                    <a:pt x="550" y="134"/>
                    <a:pt x="550" y="128"/>
                  </a:cubicBezTo>
                  <a:cubicBezTo>
                    <a:pt x="550" y="122"/>
                    <a:pt x="536" y="123"/>
                    <a:pt x="536" y="123"/>
                  </a:cubicBezTo>
                  <a:cubicBezTo>
                    <a:pt x="532" y="143"/>
                    <a:pt x="532" y="143"/>
                    <a:pt x="532" y="143"/>
                  </a:cubicBezTo>
                  <a:cubicBezTo>
                    <a:pt x="532" y="143"/>
                    <a:pt x="524" y="135"/>
                    <a:pt x="522" y="129"/>
                  </a:cubicBezTo>
                  <a:cubicBezTo>
                    <a:pt x="520" y="123"/>
                    <a:pt x="519" y="109"/>
                    <a:pt x="519" y="109"/>
                  </a:cubicBezTo>
                  <a:cubicBezTo>
                    <a:pt x="498" y="117"/>
                    <a:pt x="498" y="117"/>
                    <a:pt x="498" y="117"/>
                  </a:cubicBezTo>
                  <a:cubicBezTo>
                    <a:pt x="498" y="117"/>
                    <a:pt x="514" y="108"/>
                    <a:pt x="514" y="103"/>
                  </a:cubicBezTo>
                  <a:cubicBezTo>
                    <a:pt x="514" y="98"/>
                    <a:pt x="501" y="98"/>
                    <a:pt x="501" y="93"/>
                  </a:cubicBezTo>
                  <a:cubicBezTo>
                    <a:pt x="501" y="88"/>
                    <a:pt x="543" y="88"/>
                    <a:pt x="547" y="82"/>
                  </a:cubicBezTo>
                  <a:cubicBezTo>
                    <a:pt x="551" y="76"/>
                    <a:pt x="457" y="84"/>
                    <a:pt x="457" y="84"/>
                  </a:cubicBezTo>
                  <a:cubicBezTo>
                    <a:pt x="466" y="94"/>
                    <a:pt x="466" y="94"/>
                    <a:pt x="466" y="94"/>
                  </a:cubicBezTo>
                  <a:cubicBezTo>
                    <a:pt x="466" y="94"/>
                    <a:pt x="444" y="96"/>
                    <a:pt x="435" y="99"/>
                  </a:cubicBezTo>
                  <a:cubicBezTo>
                    <a:pt x="426" y="102"/>
                    <a:pt x="402" y="119"/>
                    <a:pt x="402" y="119"/>
                  </a:cubicBezTo>
                  <a:cubicBezTo>
                    <a:pt x="378" y="120"/>
                    <a:pt x="346" y="88"/>
                    <a:pt x="346" y="88"/>
                  </a:cubicBezTo>
                  <a:cubicBezTo>
                    <a:pt x="346" y="88"/>
                    <a:pt x="265" y="93"/>
                    <a:pt x="255" y="92"/>
                  </a:cubicBezTo>
                  <a:cubicBezTo>
                    <a:pt x="245" y="91"/>
                    <a:pt x="242" y="82"/>
                    <a:pt x="242" y="68"/>
                  </a:cubicBezTo>
                  <a:cubicBezTo>
                    <a:pt x="242" y="54"/>
                    <a:pt x="236" y="44"/>
                    <a:pt x="210" y="39"/>
                  </a:cubicBezTo>
                  <a:cubicBezTo>
                    <a:pt x="184" y="34"/>
                    <a:pt x="147" y="56"/>
                    <a:pt x="147" y="56"/>
                  </a:cubicBezTo>
                  <a:cubicBezTo>
                    <a:pt x="147" y="56"/>
                    <a:pt x="120" y="62"/>
                    <a:pt x="104" y="76"/>
                  </a:cubicBezTo>
                  <a:cubicBezTo>
                    <a:pt x="88" y="90"/>
                    <a:pt x="111" y="116"/>
                    <a:pt x="113" y="136"/>
                  </a:cubicBezTo>
                  <a:cubicBezTo>
                    <a:pt x="115" y="156"/>
                    <a:pt x="88" y="172"/>
                    <a:pt x="88" y="172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71" y="149"/>
                    <a:pt x="65" y="139"/>
                  </a:cubicBezTo>
                  <a:cubicBezTo>
                    <a:pt x="59" y="129"/>
                    <a:pt x="75" y="111"/>
                    <a:pt x="82" y="102"/>
                  </a:cubicBezTo>
                  <a:cubicBezTo>
                    <a:pt x="89" y="93"/>
                    <a:pt x="88" y="77"/>
                    <a:pt x="88" y="65"/>
                  </a:cubicBezTo>
                  <a:cubicBezTo>
                    <a:pt x="88" y="53"/>
                    <a:pt x="77" y="38"/>
                    <a:pt x="77" y="38"/>
                  </a:cubicBezTo>
                  <a:cubicBezTo>
                    <a:pt x="77" y="38"/>
                    <a:pt x="76" y="53"/>
                    <a:pt x="65" y="56"/>
                  </a:cubicBezTo>
                  <a:cubicBezTo>
                    <a:pt x="54" y="60"/>
                    <a:pt x="45" y="64"/>
                    <a:pt x="38" y="77"/>
                  </a:cubicBezTo>
                  <a:cubicBezTo>
                    <a:pt x="30" y="90"/>
                    <a:pt x="30" y="110"/>
                    <a:pt x="30" y="110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3"/>
                    <a:pt x="0" y="154"/>
                    <a:pt x="5" y="162"/>
                  </a:cubicBezTo>
                  <a:cubicBezTo>
                    <a:pt x="10" y="171"/>
                    <a:pt x="14" y="157"/>
                    <a:pt x="21" y="157"/>
                  </a:cubicBezTo>
                  <a:cubicBezTo>
                    <a:pt x="28" y="157"/>
                    <a:pt x="35" y="171"/>
                    <a:pt x="35" y="180"/>
                  </a:cubicBezTo>
                  <a:cubicBezTo>
                    <a:pt x="35" y="189"/>
                    <a:pt x="36" y="195"/>
                    <a:pt x="36" y="195"/>
                  </a:cubicBezTo>
                  <a:cubicBezTo>
                    <a:pt x="36" y="195"/>
                    <a:pt x="52" y="204"/>
                    <a:pt x="50" y="216"/>
                  </a:cubicBezTo>
                  <a:cubicBezTo>
                    <a:pt x="48" y="229"/>
                    <a:pt x="42" y="232"/>
                    <a:pt x="42" y="232"/>
                  </a:cubicBezTo>
                  <a:cubicBezTo>
                    <a:pt x="41" y="259"/>
                    <a:pt x="41" y="259"/>
                    <a:pt x="41" y="259"/>
                  </a:cubicBezTo>
                  <a:cubicBezTo>
                    <a:pt x="51" y="259"/>
                    <a:pt x="51" y="259"/>
                    <a:pt x="51" y="259"/>
                  </a:cubicBezTo>
                  <a:cubicBezTo>
                    <a:pt x="51" y="259"/>
                    <a:pt x="50" y="277"/>
                    <a:pt x="59" y="280"/>
                  </a:cubicBezTo>
                  <a:cubicBezTo>
                    <a:pt x="68" y="283"/>
                    <a:pt x="79" y="278"/>
                    <a:pt x="83" y="278"/>
                  </a:cubicBezTo>
                  <a:cubicBezTo>
                    <a:pt x="88" y="278"/>
                    <a:pt x="106" y="285"/>
                    <a:pt x="111" y="284"/>
                  </a:cubicBezTo>
                  <a:cubicBezTo>
                    <a:pt x="116" y="283"/>
                    <a:pt x="117" y="277"/>
                    <a:pt x="122" y="277"/>
                  </a:cubicBezTo>
                  <a:cubicBezTo>
                    <a:pt x="127" y="277"/>
                    <a:pt x="136" y="284"/>
                    <a:pt x="136" y="284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4" y="285"/>
                    <a:pt x="173" y="327"/>
                    <a:pt x="181" y="330"/>
                  </a:cubicBezTo>
                  <a:cubicBezTo>
                    <a:pt x="189" y="332"/>
                    <a:pt x="197" y="329"/>
                    <a:pt x="197" y="329"/>
                  </a:cubicBezTo>
                  <a:cubicBezTo>
                    <a:pt x="197" y="329"/>
                    <a:pt x="195" y="322"/>
                    <a:pt x="203" y="322"/>
                  </a:cubicBezTo>
                  <a:cubicBezTo>
                    <a:pt x="211" y="322"/>
                    <a:pt x="213" y="329"/>
                    <a:pt x="221" y="330"/>
                  </a:cubicBezTo>
                  <a:cubicBezTo>
                    <a:pt x="229" y="331"/>
                    <a:pt x="232" y="324"/>
                    <a:pt x="232" y="324"/>
                  </a:cubicBezTo>
                  <a:cubicBezTo>
                    <a:pt x="251" y="326"/>
                    <a:pt x="251" y="326"/>
                    <a:pt x="251" y="326"/>
                  </a:cubicBezTo>
                  <a:cubicBezTo>
                    <a:pt x="251" y="326"/>
                    <a:pt x="270" y="311"/>
                    <a:pt x="276" y="323"/>
                  </a:cubicBezTo>
                  <a:cubicBezTo>
                    <a:pt x="282" y="336"/>
                    <a:pt x="265" y="344"/>
                    <a:pt x="265" y="344"/>
                  </a:cubicBezTo>
                  <a:cubicBezTo>
                    <a:pt x="265" y="344"/>
                    <a:pt x="266" y="359"/>
                    <a:pt x="263" y="362"/>
                  </a:cubicBezTo>
                  <a:cubicBezTo>
                    <a:pt x="260" y="365"/>
                    <a:pt x="250" y="370"/>
                    <a:pt x="251" y="375"/>
                  </a:cubicBezTo>
                  <a:cubicBezTo>
                    <a:pt x="252" y="380"/>
                    <a:pt x="254" y="398"/>
                    <a:pt x="254" y="404"/>
                  </a:cubicBezTo>
                  <a:cubicBezTo>
                    <a:pt x="254" y="410"/>
                    <a:pt x="252" y="433"/>
                    <a:pt x="252" y="433"/>
                  </a:cubicBezTo>
                  <a:cubicBezTo>
                    <a:pt x="252" y="433"/>
                    <a:pt x="261" y="437"/>
                    <a:pt x="261" y="440"/>
                  </a:cubicBezTo>
                  <a:cubicBezTo>
                    <a:pt x="261" y="443"/>
                    <a:pt x="262" y="452"/>
                    <a:pt x="262" y="452"/>
                  </a:cubicBezTo>
                  <a:cubicBezTo>
                    <a:pt x="262" y="452"/>
                    <a:pt x="278" y="466"/>
                    <a:pt x="278" y="476"/>
                  </a:cubicBezTo>
                  <a:cubicBezTo>
                    <a:pt x="278" y="486"/>
                    <a:pt x="249" y="504"/>
                    <a:pt x="249" y="504"/>
                  </a:cubicBezTo>
                  <a:cubicBezTo>
                    <a:pt x="259" y="507"/>
                    <a:pt x="259" y="507"/>
                    <a:pt x="259" y="507"/>
                  </a:cubicBezTo>
                  <a:cubicBezTo>
                    <a:pt x="259" y="507"/>
                    <a:pt x="281" y="521"/>
                    <a:pt x="281" y="525"/>
                  </a:cubicBezTo>
                  <a:cubicBezTo>
                    <a:pt x="281" y="529"/>
                    <a:pt x="284" y="549"/>
                    <a:pt x="284" y="549"/>
                  </a:cubicBezTo>
                  <a:cubicBezTo>
                    <a:pt x="284" y="549"/>
                    <a:pt x="295" y="575"/>
                    <a:pt x="294" y="580"/>
                  </a:cubicBezTo>
                  <a:cubicBezTo>
                    <a:pt x="293" y="585"/>
                    <a:pt x="299" y="594"/>
                    <a:pt x="299" y="594"/>
                  </a:cubicBezTo>
                  <a:cubicBezTo>
                    <a:pt x="299" y="594"/>
                    <a:pt x="306" y="607"/>
                    <a:pt x="310" y="612"/>
                  </a:cubicBezTo>
                  <a:cubicBezTo>
                    <a:pt x="314" y="617"/>
                    <a:pt x="326" y="619"/>
                    <a:pt x="326" y="619"/>
                  </a:cubicBezTo>
                  <a:cubicBezTo>
                    <a:pt x="336" y="625"/>
                    <a:pt x="347" y="603"/>
                    <a:pt x="356" y="605"/>
                  </a:cubicBezTo>
                  <a:cubicBezTo>
                    <a:pt x="365" y="607"/>
                    <a:pt x="354" y="624"/>
                    <a:pt x="362" y="624"/>
                  </a:cubicBezTo>
                  <a:cubicBezTo>
                    <a:pt x="370" y="624"/>
                    <a:pt x="376" y="599"/>
                    <a:pt x="382" y="595"/>
                  </a:cubicBezTo>
                  <a:cubicBezTo>
                    <a:pt x="388" y="591"/>
                    <a:pt x="400" y="593"/>
                    <a:pt x="400" y="593"/>
                  </a:cubicBezTo>
                  <a:cubicBezTo>
                    <a:pt x="402" y="587"/>
                    <a:pt x="402" y="587"/>
                    <a:pt x="402" y="587"/>
                  </a:cubicBezTo>
                  <a:cubicBezTo>
                    <a:pt x="402" y="587"/>
                    <a:pt x="407" y="583"/>
                    <a:pt x="420" y="579"/>
                  </a:cubicBezTo>
                  <a:cubicBezTo>
                    <a:pt x="433" y="575"/>
                    <a:pt x="432" y="550"/>
                    <a:pt x="432" y="550"/>
                  </a:cubicBezTo>
                  <a:cubicBezTo>
                    <a:pt x="432" y="550"/>
                    <a:pt x="445" y="553"/>
                    <a:pt x="457" y="547"/>
                  </a:cubicBezTo>
                  <a:cubicBezTo>
                    <a:pt x="469" y="541"/>
                    <a:pt x="462" y="527"/>
                    <a:pt x="462" y="527"/>
                  </a:cubicBezTo>
                  <a:cubicBezTo>
                    <a:pt x="432" y="524"/>
                    <a:pt x="432" y="524"/>
                    <a:pt x="432" y="524"/>
                  </a:cubicBezTo>
                  <a:cubicBezTo>
                    <a:pt x="432" y="524"/>
                    <a:pt x="432" y="515"/>
                    <a:pt x="432" y="508"/>
                  </a:cubicBezTo>
                  <a:cubicBezTo>
                    <a:pt x="432" y="501"/>
                    <a:pt x="419" y="490"/>
                    <a:pt x="419" y="490"/>
                  </a:cubicBezTo>
                  <a:cubicBezTo>
                    <a:pt x="419" y="490"/>
                    <a:pt x="434" y="466"/>
                    <a:pt x="412" y="455"/>
                  </a:cubicBezTo>
                  <a:cubicBezTo>
                    <a:pt x="390" y="444"/>
                    <a:pt x="400" y="425"/>
                    <a:pt x="400" y="425"/>
                  </a:cubicBezTo>
                  <a:cubicBezTo>
                    <a:pt x="400" y="425"/>
                    <a:pt x="403" y="431"/>
                    <a:pt x="406" y="434"/>
                  </a:cubicBezTo>
                  <a:cubicBezTo>
                    <a:pt x="409" y="437"/>
                    <a:pt x="418" y="429"/>
                    <a:pt x="429" y="433"/>
                  </a:cubicBezTo>
                  <a:cubicBezTo>
                    <a:pt x="440" y="437"/>
                    <a:pt x="434" y="446"/>
                    <a:pt x="436" y="449"/>
                  </a:cubicBezTo>
                  <a:cubicBezTo>
                    <a:pt x="438" y="452"/>
                    <a:pt x="450" y="444"/>
                    <a:pt x="450" y="444"/>
                  </a:cubicBezTo>
                  <a:cubicBezTo>
                    <a:pt x="460" y="450"/>
                    <a:pt x="460" y="450"/>
                    <a:pt x="460" y="450"/>
                  </a:cubicBezTo>
                  <a:cubicBezTo>
                    <a:pt x="460" y="450"/>
                    <a:pt x="465" y="442"/>
                    <a:pt x="469" y="446"/>
                  </a:cubicBezTo>
                  <a:cubicBezTo>
                    <a:pt x="473" y="450"/>
                    <a:pt x="484" y="469"/>
                    <a:pt x="493" y="469"/>
                  </a:cubicBezTo>
                  <a:cubicBezTo>
                    <a:pt x="502" y="469"/>
                    <a:pt x="499" y="435"/>
                    <a:pt x="507" y="432"/>
                  </a:cubicBezTo>
                  <a:cubicBezTo>
                    <a:pt x="515" y="429"/>
                    <a:pt x="521" y="437"/>
                    <a:pt x="528" y="437"/>
                  </a:cubicBezTo>
                  <a:cubicBezTo>
                    <a:pt x="535" y="437"/>
                    <a:pt x="549" y="430"/>
                    <a:pt x="551" y="424"/>
                  </a:cubicBezTo>
                  <a:cubicBezTo>
                    <a:pt x="553" y="418"/>
                    <a:pt x="565" y="413"/>
                    <a:pt x="565" y="413"/>
                  </a:cubicBezTo>
                  <a:cubicBezTo>
                    <a:pt x="583" y="414"/>
                    <a:pt x="583" y="414"/>
                    <a:pt x="583" y="414"/>
                  </a:cubicBezTo>
                  <a:cubicBezTo>
                    <a:pt x="581" y="404"/>
                    <a:pt x="581" y="404"/>
                    <a:pt x="581" y="404"/>
                  </a:cubicBezTo>
                  <a:cubicBezTo>
                    <a:pt x="581" y="404"/>
                    <a:pt x="592" y="406"/>
                    <a:pt x="596" y="399"/>
                  </a:cubicBezTo>
                  <a:cubicBezTo>
                    <a:pt x="600" y="392"/>
                    <a:pt x="594" y="378"/>
                    <a:pt x="594" y="378"/>
                  </a:cubicBezTo>
                  <a:cubicBezTo>
                    <a:pt x="594" y="378"/>
                    <a:pt x="567" y="351"/>
                    <a:pt x="563" y="340"/>
                  </a:cubicBezTo>
                  <a:cubicBezTo>
                    <a:pt x="559" y="329"/>
                    <a:pt x="572" y="330"/>
                    <a:pt x="581" y="322"/>
                  </a:cubicBezTo>
                  <a:cubicBezTo>
                    <a:pt x="590" y="315"/>
                    <a:pt x="570" y="304"/>
                    <a:pt x="570" y="299"/>
                  </a:cubicBezTo>
                  <a:cubicBezTo>
                    <a:pt x="570" y="294"/>
                    <a:pt x="595" y="295"/>
                    <a:pt x="606" y="291"/>
                  </a:cubicBezTo>
                  <a:cubicBezTo>
                    <a:pt x="617" y="287"/>
                    <a:pt x="616" y="277"/>
                    <a:pt x="616" y="273"/>
                  </a:cubicBezTo>
                  <a:cubicBezTo>
                    <a:pt x="616" y="270"/>
                    <a:pt x="609" y="270"/>
                    <a:pt x="605" y="270"/>
                  </a:cubicBezTo>
                  <a:cubicBezTo>
                    <a:pt x="601" y="270"/>
                    <a:pt x="603" y="259"/>
                    <a:pt x="601" y="250"/>
                  </a:cubicBezTo>
                  <a:cubicBezTo>
                    <a:pt x="599" y="241"/>
                    <a:pt x="615" y="236"/>
                    <a:pt x="621" y="234"/>
                  </a:cubicBezTo>
                  <a:cubicBezTo>
                    <a:pt x="628" y="232"/>
                    <a:pt x="635" y="218"/>
                    <a:pt x="635" y="218"/>
                  </a:cubicBezTo>
                  <a:cubicBezTo>
                    <a:pt x="642" y="206"/>
                    <a:pt x="642" y="206"/>
                    <a:pt x="642" y="206"/>
                  </a:cubicBezTo>
                  <a:cubicBezTo>
                    <a:pt x="642" y="206"/>
                    <a:pt x="634" y="196"/>
                    <a:pt x="630" y="19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61958ABF-9C87-4019-823C-8E068939B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169" y="3717628"/>
              <a:ext cx="329255" cy="512174"/>
            </a:xfrm>
            <a:custGeom>
              <a:avLst/>
              <a:gdLst>
                <a:gd name="T0" fmla="*/ 3 w 581"/>
                <a:gd name="T1" fmla="*/ 33 h 902"/>
                <a:gd name="T2" fmla="*/ 6 w 581"/>
                <a:gd name="T3" fmla="*/ 34 h 902"/>
                <a:gd name="T4" fmla="*/ 10 w 581"/>
                <a:gd name="T5" fmla="*/ 35 h 902"/>
                <a:gd name="T6" fmla="*/ 12 w 581"/>
                <a:gd name="T7" fmla="*/ 38 h 902"/>
                <a:gd name="T8" fmla="*/ 13 w 581"/>
                <a:gd name="T9" fmla="*/ 40 h 902"/>
                <a:gd name="T10" fmla="*/ 17 w 581"/>
                <a:gd name="T11" fmla="*/ 42 h 902"/>
                <a:gd name="T12" fmla="*/ 20 w 581"/>
                <a:gd name="T13" fmla="*/ 41 h 902"/>
                <a:gd name="T14" fmla="*/ 21 w 581"/>
                <a:gd name="T15" fmla="*/ 44 h 902"/>
                <a:gd name="T16" fmla="*/ 22 w 581"/>
                <a:gd name="T17" fmla="*/ 47 h 902"/>
                <a:gd name="T18" fmla="*/ 23 w 581"/>
                <a:gd name="T19" fmla="*/ 43 h 902"/>
                <a:gd name="T20" fmla="*/ 24 w 581"/>
                <a:gd name="T21" fmla="*/ 39 h 902"/>
                <a:gd name="T22" fmla="*/ 22 w 581"/>
                <a:gd name="T23" fmla="*/ 35 h 902"/>
                <a:gd name="T24" fmla="*/ 24 w 581"/>
                <a:gd name="T25" fmla="*/ 33 h 902"/>
                <a:gd name="T26" fmla="*/ 23 w 581"/>
                <a:gd name="T27" fmla="*/ 32 h 902"/>
                <a:gd name="T28" fmla="*/ 26 w 581"/>
                <a:gd name="T29" fmla="*/ 30 h 902"/>
                <a:gd name="T30" fmla="*/ 29 w 581"/>
                <a:gd name="T31" fmla="*/ 29 h 902"/>
                <a:gd name="T32" fmla="*/ 29 w 581"/>
                <a:gd name="T33" fmla="*/ 32 h 902"/>
                <a:gd name="T34" fmla="*/ 29 w 581"/>
                <a:gd name="T35" fmla="*/ 29 h 902"/>
                <a:gd name="T36" fmla="*/ 27 w 581"/>
                <a:gd name="T37" fmla="*/ 27 h 902"/>
                <a:gd name="T38" fmla="*/ 28 w 581"/>
                <a:gd name="T39" fmla="*/ 24 h 902"/>
                <a:gd name="T40" fmla="*/ 28 w 581"/>
                <a:gd name="T41" fmla="*/ 20 h 902"/>
                <a:gd name="T42" fmla="*/ 29 w 581"/>
                <a:gd name="T43" fmla="*/ 18 h 902"/>
                <a:gd name="T44" fmla="*/ 26 w 581"/>
                <a:gd name="T45" fmla="*/ 18 h 902"/>
                <a:gd name="T46" fmla="*/ 24 w 581"/>
                <a:gd name="T47" fmla="*/ 18 h 902"/>
                <a:gd name="T48" fmla="*/ 21 w 581"/>
                <a:gd name="T49" fmla="*/ 15 h 902"/>
                <a:gd name="T50" fmla="*/ 17 w 581"/>
                <a:gd name="T51" fmla="*/ 16 h 902"/>
                <a:gd name="T52" fmla="*/ 17 w 581"/>
                <a:gd name="T53" fmla="*/ 13 h 902"/>
                <a:gd name="T54" fmla="*/ 16 w 581"/>
                <a:gd name="T55" fmla="*/ 10 h 902"/>
                <a:gd name="T56" fmla="*/ 16 w 581"/>
                <a:gd name="T57" fmla="*/ 8 h 902"/>
                <a:gd name="T58" fmla="*/ 16 w 581"/>
                <a:gd name="T59" fmla="*/ 5 h 902"/>
                <a:gd name="T60" fmla="*/ 20 w 581"/>
                <a:gd name="T61" fmla="*/ 3 h 902"/>
                <a:gd name="T62" fmla="*/ 17 w 581"/>
                <a:gd name="T63" fmla="*/ 2 h 902"/>
                <a:gd name="T64" fmla="*/ 14 w 581"/>
                <a:gd name="T65" fmla="*/ 4 h 902"/>
                <a:gd name="T66" fmla="*/ 12 w 581"/>
                <a:gd name="T67" fmla="*/ 5 h 902"/>
                <a:gd name="T68" fmla="*/ 11 w 581"/>
                <a:gd name="T69" fmla="*/ 5 h 902"/>
                <a:gd name="T70" fmla="*/ 9 w 581"/>
                <a:gd name="T71" fmla="*/ 8 h 902"/>
                <a:gd name="T72" fmla="*/ 7 w 581"/>
                <a:gd name="T73" fmla="*/ 10 h 902"/>
                <a:gd name="T74" fmla="*/ 6 w 581"/>
                <a:gd name="T75" fmla="*/ 12 h 902"/>
                <a:gd name="T76" fmla="*/ 5 w 581"/>
                <a:gd name="T77" fmla="*/ 11 h 902"/>
                <a:gd name="T78" fmla="*/ 5 w 581"/>
                <a:gd name="T79" fmla="*/ 14 h 902"/>
                <a:gd name="T80" fmla="*/ 4 w 581"/>
                <a:gd name="T81" fmla="*/ 16 h 902"/>
                <a:gd name="T82" fmla="*/ 4 w 581"/>
                <a:gd name="T83" fmla="*/ 18 h 902"/>
                <a:gd name="T84" fmla="*/ 4 w 581"/>
                <a:gd name="T85" fmla="*/ 20 h 902"/>
                <a:gd name="T86" fmla="*/ 4 w 581"/>
                <a:gd name="T87" fmla="*/ 23 h 902"/>
                <a:gd name="T88" fmla="*/ 4 w 581"/>
                <a:gd name="T89" fmla="*/ 27 h 902"/>
                <a:gd name="T90" fmla="*/ 1 w 581"/>
                <a:gd name="T91" fmla="*/ 30 h 902"/>
                <a:gd name="T92" fmla="*/ 1 w 581"/>
                <a:gd name="T93" fmla="*/ 32 h 9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81"/>
                <a:gd name="T142" fmla="*/ 0 h 902"/>
                <a:gd name="T143" fmla="*/ 581 w 581"/>
                <a:gd name="T144" fmla="*/ 902 h 9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81" h="902">
                  <a:moveTo>
                    <a:pt x="23" y="614"/>
                  </a:moveTo>
                  <a:cubicBezTo>
                    <a:pt x="34" y="620"/>
                    <a:pt x="42" y="632"/>
                    <a:pt x="42" y="632"/>
                  </a:cubicBezTo>
                  <a:cubicBezTo>
                    <a:pt x="42" y="632"/>
                    <a:pt x="55" y="627"/>
                    <a:pt x="65" y="635"/>
                  </a:cubicBezTo>
                  <a:cubicBezTo>
                    <a:pt x="75" y="643"/>
                    <a:pt x="68" y="650"/>
                    <a:pt x="77" y="656"/>
                  </a:cubicBezTo>
                  <a:cubicBezTo>
                    <a:pt x="86" y="662"/>
                    <a:pt x="97" y="657"/>
                    <a:pt x="97" y="657"/>
                  </a:cubicBezTo>
                  <a:cubicBezTo>
                    <a:pt x="97" y="657"/>
                    <a:pt x="113" y="667"/>
                    <a:pt x="120" y="665"/>
                  </a:cubicBezTo>
                  <a:cubicBezTo>
                    <a:pt x="127" y="663"/>
                    <a:pt x="115" y="650"/>
                    <a:pt x="132" y="653"/>
                  </a:cubicBezTo>
                  <a:cubicBezTo>
                    <a:pt x="149" y="656"/>
                    <a:pt x="141" y="674"/>
                    <a:pt x="154" y="675"/>
                  </a:cubicBezTo>
                  <a:cubicBezTo>
                    <a:pt x="166" y="676"/>
                    <a:pt x="178" y="676"/>
                    <a:pt x="185" y="680"/>
                  </a:cubicBezTo>
                  <a:cubicBezTo>
                    <a:pt x="192" y="684"/>
                    <a:pt x="222" y="708"/>
                    <a:pt x="222" y="708"/>
                  </a:cubicBezTo>
                  <a:cubicBezTo>
                    <a:pt x="230" y="732"/>
                    <a:pt x="230" y="732"/>
                    <a:pt x="230" y="732"/>
                  </a:cubicBezTo>
                  <a:cubicBezTo>
                    <a:pt x="238" y="732"/>
                    <a:pt x="238" y="732"/>
                    <a:pt x="238" y="732"/>
                  </a:cubicBezTo>
                  <a:cubicBezTo>
                    <a:pt x="249" y="745"/>
                    <a:pt x="249" y="745"/>
                    <a:pt x="249" y="745"/>
                  </a:cubicBezTo>
                  <a:cubicBezTo>
                    <a:pt x="249" y="745"/>
                    <a:pt x="257" y="742"/>
                    <a:pt x="259" y="748"/>
                  </a:cubicBezTo>
                  <a:cubicBezTo>
                    <a:pt x="262" y="754"/>
                    <a:pt x="264" y="772"/>
                    <a:pt x="264" y="772"/>
                  </a:cubicBezTo>
                  <a:cubicBezTo>
                    <a:pt x="264" y="772"/>
                    <a:pt x="282" y="773"/>
                    <a:pt x="283" y="781"/>
                  </a:cubicBezTo>
                  <a:cubicBezTo>
                    <a:pt x="284" y="788"/>
                    <a:pt x="269" y="803"/>
                    <a:pt x="288" y="808"/>
                  </a:cubicBezTo>
                  <a:cubicBezTo>
                    <a:pt x="307" y="813"/>
                    <a:pt x="329" y="813"/>
                    <a:pt x="329" y="813"/>
                  </a:cubicBezTo>
                  <a:cubicBezTo>
                    <a:pt x="329" y="813"/>
                    <a:pt x="330" y="792"/>
                    <a:pt x="344" y="795"/>
                  </a:cubicBezTo>
                  <a:cubicBezTo>
                    <a:pt x="358" y="798"/>
                    <a:pt x="359" y="805"/>
                    <a:pt x="367" y="805"/>
                  </a:cubicBezTo>
                  <a:cubicBezTo>
                    <a:pt x="376" y="805"/>
                    <a:pt x="384" y="796"/>
                    <a:pt x="388" y="797"/>
                  </a:cubicBezTo>
                  <a:cubicBezTo>
                    <a:pt x="392" y="798"/>
                    <a:pt x="400" y="810"/>
                    <a:pt x="400" y="810"/>
                  </a:cubicBezTo>
                  <a:cubicBezTo>
                    <a:pt x="400" y="810"/>
                    <a:pt x="428" y="809"/>
                    <a:pt x="428" y="823"/>
                  </a:cubicBezTo>
                  <a:cubicBezTo>
                    <a:pt x="428" y="838"/>
                    <a:pt x="420" y="846"/>
                    <a:pt x="415" y="846"/>
                  </a:cubicBezTo>
                  <a:cubicBezTo>
                    <a:pt x="410" y="846"/>
                    <a:pt x="401" y="876"/>
                    <a:pt x="404" y="881"/>
                  </a:cubicBezTo>
                  <a:cubicBezTo>
                    <a:pt x="407" y="887"/>
                    <a:pt x="421" y="882"/>
                    <a:pt x="421" y="882"/>
                  </a:cubicBezTo>
                  <a:cubicBezTo>
                    <a:pt x="427" y="898"/>
                    <a:pt x="427" y="898"/>
                    <a:pt x="427" y="898"/>
                  </a:cubicBezTo>
                  <a:cubicBezTo>
                    <a:pt x="438" y="902"/>
                    <a:pt x="438" y="902"/>
                    <a:pt x="438" y="902"/>
                  </a:cubicBezTo>
                  <a:cubicBezTo>
                    <a:pt x="441" y="893"/>
                    <a:pt x="442" y="881"/>
                    <a:pt x="442" y="881"/>
                  </a:cubicBezTo>
                  <a:cubicBezTo>
                    <a:pt x="444" y="831"/>
                    <a:pt x="444" y="831"/>
                    <a:pt x="444" y="831"/>
                  </a:cubicBezTo>
                  <a:cubicBezTo>
                    <a:pt x="455" y="801"/>
                    <a:pt x="455" y="801"/>
                    <a:pt x="455" y="801"/>
                  </a:cubicBezTo>
                  <a:cubicBezTo>
                    <a:pt x="453" y="767"/>
                    <a:pt x="453" y="767"/>
                    <a:pt x="453" y="767"/>
                  </a:cubicBezTo>
                  <a:cubicBezTo>
                    <a:pt x="453" y="767"/>
                    <a:pt x="463" y="756"/>
                    <a:pt x="464" y="749"/>
                  </a:cubicBezTo>
                  <a:cubicBezTo>
                    <a:pt x="465" y="742"/>
                    <a:pt x="451" y="727"/>
                    <a:pt x="451" y="727"/>
                  </a:cubicBezTo>
                  <a:cubicBezTo>
                    <a:pt x="451" y="727"/>
                    <a:pt x="450" y="715"/>
                    <a:pt x="448" y="706"/>
                  </a:cubicBezTo>
                  <a:cubicBezTo>
                    <a:pt x="446" y="697"/>
                    <a:pt x="425" y="688"/>
                    <a:pt x="425" y="688"/>
                  </a:cubicBezTo>
                  <a:cubicBezTo>
                    <a:pt x="427" y="646"/>
                    <a:pt x="427" y="646"/>
                    <a:pt x="427" y="646"/>
                  </a:cubicBezTo>
                  <a:cubicBezTo>
                    <a:pt x="449" y="641"/>
                    <a:pt x="449" y="641"/>
                    <a:pt x="449" y="641"/>
                  </a:cubicBezTo>
                  <a:cubicBezTo>
                    <a:pt x="449" y="641"/>
                    <a:pt x="458" y="645"/>
                    <a:pt x="471" y="643"/>
                  </a:cubicBezTo>
                  <a:cubicBezTo>
                    <a:pt x="484" y="641"/>
                    <a:pt x="465" y="621"/>
                    <a:pt x="465" y="621"/>
                  </a:cubicBezTo>
                  <a:cubicBezTo>
                    <a:pt x="458" y="623"/>
                    <a:pt x="458" y="623"/>
                    <a:pt x="458" y="623"/>
                  </a:cubicBezTo>
                  <a:cubicBezTo>
                    <a:pt x="442" y="616"/>
                    <a:pt x="442" y="616"/>
                    <a:pt x="442" y="616"/>
                  </a:cubicBezTo>
                  <a:cubicBezTo>
                    <a:pt x="442" y="616"/>
                    <a:pt x="434" y="587"/>
                    <a:pt x="443" y="582"/>
                  </a:cubicBezTo>
                  <a:cubicBezTo>
                    <a:pt x="452" y="577"/>
                    <a:pt x="466" y="590"/>
                    <a:pt x="466" y="590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10" y="586"/>
                    <a:pt x="510" y="569"/>
                    <a:pt x="516" y="569"/>
                  </a:cubicBezTo>
                  <a:cubicBezTo>
                    <a:pt x="522" y="569"/>
                    <a:pt x="527" y="585"/>
                    <a:pt x="533" y="584"/>
                  </a:cubicBezTo>
                  <a:cubicBezTo>
                    <a:pt x="539" y="583"/>
                    <a:pt x="548" y="560"/>
                    <a:pt x="555" y="563"/>
                  </a:cubicBezTo>
                  <a:cubicBezTo>
                    <a:pt x="562" y="566"/>
                    <a:pt x="557" y="573"/>
                    <a:pt x="557" y="573"/>
                  </a:cubicBezTo>
                  <a:cubicBezTo>
                    <a:pt x="557" y="573"/>
                    <a:pt x="560" y="574"/>
                    <a:pt x="562" y="580"/>
                  </a:cubicBezTo>
                  <a:cubicBezTo>
                    <a:pt x="564" y="586"/>
                    <a:pt x="564" y="614"/>
                    <a:pt x="564" y="614"/>
                  </a:cubicBezTo>
                  <a:cubicBezTo>
                    <a:pt x="581" y="614"/>
                    <a:pt x="581" y="614"/>
                    <a:pt x="581" y="614"/>
                  </a:cubicBezTo>
                  <a:cubicBezTo>
                    <a:pt x="581" y="614"/>
                    <a:pt x="575" y="605"/>
                    <a:pt x="576" y="600"/>
                  </a:cubicBezTo>
                  <a:cubicBezTo>
                    <a:pt x="577" y="595"/>
                    <a:pt x="566" y="569"/>
                    <a:pt x="566" y="569"/>
                  </a:cubicBezTo>
                  <a:cubicBezTo>
                    <a:pt x="566" y="569"/>
                    <a:pt x="563" y="549"/>
                    <a:pt x="563" y="545"/>
                  </a:cubicBezTo>
                  <a:cubicBezTo>
                    <a:pt x="563" y="541"/>
                    <a:pt x="541" y="527"/>
                    <a:pt x="541" y="527"/>
                  </a:cubicBezTo>
                  <a:cubicBezTo>
                    <a:pt x="531" y="524"/>
                    <a:pt x="531" y="524"/>
                    <a:pt x="531" y="524"/>
                  </a:cubicBezTo>
                  <a:cubicBezTo>
                    <a:pt x="531" y="524"/>
                    <a:pt x="560" y="506"/>
                    <a:pt x="560" y="496"/>
                  </a:cubicBezTo>
                  <a:cubicBezTo>
                    <a:pt x="560" y="486"/>
                    <a:pt x="544" y="472"/>
                    <a:pt x="544" y="472"/>
                  </a:cubicBezTo>
                  <a:cubicBezTo>
                    <a:pt x="544" y="472"/>
                    <a:pt x="543" y="463"/>
                    <a:pt x="543" y="460"/>
                  </a:cubicBezTo>
                  <a:cubicBezTo>
                    <a:pt x="543" y="457"/>
                    <a:pt x="534" y="453"/>
                    <a:pt x="534" y="453"/>
                  </a:cubicBezTo>
                  <a:cubicBezTo>
                    <a:pt x="534" y="453"/>
                    <a:pt x="536" y="430"/>
                    <a:pt x="536" y="424"/>
                  </a:cubicBezTo>
                  <a:cubicBezTo>
                    <a:pt x="536" y="418"/>
                    <a:pt x="534" y="400"/>
                    <a:pt x="533" y="395"/>
                  </a:cubicBezTo>
                  <a:cubicBezTo>
                    <a:pt x="532" y="390"/>
                    <a:pt x="542" y="385"/>
                    <a:pt x="545" y="382"/>
                  </a:cubicBezTo>
                  <a:cubicBezTo>
                    <a:pt x="548" y="379"/>
                    <a:pt x="547" y="364"/>
                    <a:pt x="547" y="364"/>
                  </a:cubicBezTo>
                  <a:cubicBezTo>
                    <a:pt x="547" y="364"/>
                    <a:pt x="564" y="356"/>
                    <a:pt x="558" y="343"/>
                  </a:cubicBezTo>
                  <a:cubicBezTo>
                    <a:pt x="552" y="331"/>
                    <a:pt x="533" y="346"/>
                    <a:pt x="533" y="346"/>
                  </a:cubicBezTo>
                  <a:cubicBezTo>
                    <a:pt x="514" y="344"/>
                    <a:pt x="514" y="344"/>
                    <a:pt x="514" y="344"/>
                  </a:cubicBezTo>
                  <a:cubicBezTo>
                    <a:pt x="514" y="344"/>
                    <a:pt x="511" y="351"/>
                    <a:pt x="503" y="350"/>
                  </a:cubicBezTo>
                  <a:cubicBezTo>
                    <a:pt x="495" y="349"/>
                    <a:pt x="493" y="342"/>
                    <a:pt x="485" y="342"/>
                  </a:cubicBezTo>
                  <a:cubicBezTo>
                    <a:pt x="477" y="342"/>
                    <a:pt x="479" y="349"/>
                    <a:pt x="479" y="349"/>
                  </a:cubicBezTo>
                  <a:cubicBezTo>
                    <a:pt x="479" y="349"/>
                    <a:pt x="471" y="352"/>
                    <a:pt x="463" y="350"/>
                  </a:cubicBezTo>
                  <a:cubicBezTo>
                    <a:pt x="455" y="347"/>
                    <a:pt x="436" y="305"/>
                    <a:pt x="436" y="305"/>
                  </a:cubicBezTo>
                  <a:cubicBezTo>
                    <a:pt x="418" y="304"/>
                    <a:pt x="418" y="304"/>
                    <a:pt x="418" y="304"/>
                  </a:cubicBezTo>
                  <a:cubicBezTo>
                    <a:pt x="418" y="304"/>
                    <a:pt x="409" y="297"/>
                    <a:pt x="404" y="297"/>
                  </a:cubicBezTo>
                  <a:cubicBezTo>
                    <a:pt x="399" y="297"/>
                    <a:pt x="398" y="303"/>
                    <a:pt x="393" y="304"/>
                  </a:cubicBezTo>
                  <a:cubicBezTo>
                    <a:pt x="388" y="305"/>
                    <a:pt x="370" y="298"/>
                    <a:pt x="365" y="298"/>
                  </a:cubicBezTo>
                  <a:cubicBezTo>
                    <a:pt x="361" y="298"/>
                    <a:pt x="350" y="303"/>
                    <a:pt x="341" y="300"/>
                  </a:cubicBezTo>
                  <a:cubicBezTo>
                    <a:pt x="332" y="297"/>
                    <a:pt x="333" y="279"/>
                    <a:pt x="333" y="279"/>
                  </a:cubicBezTo>
                  <a:cubicBezTo>
                    <a:pt x="323" y="279"/>
                    <a:pt x="323" y="279"/>
                    <a:pt x="323" y="279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24" y="252"/>
                    <a:pt x="330" y="249"/>
                    <a:pt x="332" y="236"/>
                  </a:cubicBezTo>
                  <a:cubicBezTo>
                    <a:pt x="334" y="224"/>
                    <a:pt x="318" y="215"/>
                    <a:pt x="318" y="215"/>
                  </a:cubicBezTo>
                  <a:cubicBezTo>
                    <a:pt x="318" y="215"/>
                    <a:pt x="317" y="209"/>
                    <a:pt x="317" y="200"/>
                  </a:cubicBezTo>
                  <a:cubicBezTo>
                    <a:pt x="317" y="191"/>
                    <a:pt x="310" y="177"/>
                    <a:pt x="303" y="177"/>
                  </a:cubicBezTo>
                  <a:cubicBezTo>
                    <a:pt x="296" y="177"/>
                    <a:pt x="292" y="191"/>
                    <a:pt x="287" y="182"/>
                  </a:cubicBezTo>
                  <a:cubicBezTo>
                    <a:pt x="282" y="174"/>
                    <a:pt x="306" y="153"/>
                    <a:pt x="306" y="153"/>
                  </a:cubicBezTo>
                  <a:cubicBezTo>
                    <a:pt x="306" y="135"/>
                    <a:pt x="306" y="135"/>
                    <a:pt x="306" y="135"/>
                  </a:cubicBezTo>
                  <a:cubicBezTo>
                    <a:pt x="312" y="130"/>
                    <a:pt x="312" y="130"/>
                    <a:pt x="312" y="130"/>
                  </a:cubicBezTo>
                  <a:cubicBezTo>
                    <a:pt x="312" y="130"/>
                    <a:pt x="312" y="110"/>
                    <a:pt x="320" y="97"/>
                  </a:cubicBezTo>
                  <a:cubicBezTo>
                    <a:pt x="327" y="84"/>
                    <a:pt x="336" y="80"/>
                    <a:pt x="347" y="76"/>
                  </a:cubicBezTo>
                  <a:cubicBezTo>
                    <a:pt x="358" y="73"/>
                    <a:pt x="359" y="58"/>
                    <a:pt x="359" y="58"/>
                  </a:cubicBezTo>
                  <a:cubicBezTo>
                    <a:pt x="359" y="58"/>
                    <a:pt x="376" y="48"/>
                    <a:pt x="381" y="47"/>
                  </a:cubicBezTo>
                  <a:cubicBezTo>
                    <a:pt x="386" y="46"/>
                    <a:pt x="401" y="42"/>
                    <a:pt x="402" y="21"/>
                  </a:cubicBezTo>
                  <a:cubicBezTo>
                    <a:pt x="403" y="0"/>
                    <a:pt x="361" y="16"/>
                    <a:pt x="355" y="17"/>
                  </a:cubicBezTo>
                  <a:cubicBezTo>
                    <a:pt x="349" y="18"/>
                    <a:pt x="349" y="38"/>
                    <a:pt x="342" y="45"/>
                  </a:cubicBezTo>
                  <a:cubicBezTo>
                    <a:pt x="335" y="52"/>
                    <a:pt x="324" y="45"/>
                    <a:pt x="317" y="46"/>
                  </a:cubicBezTo>
                  <a:cubicBezTo>
                    <a:pt x="310" y="47"/>
                    <a:pt x="296" y="70"/>
                    <a:pt x="296" y="70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65" y="65"/>
                    <a:pt x="258" y="69"/>
                  </a:cubicBezTo>
                  <a:cubicBezTo>
                    <a:pt x="251" y="74"/>
                    <a:pt x="251" y="86"/>
                    <a:pt x="251" y="86"/>
                  </a:cubicBezTo>
                  <a:cubicBezTo>
                    <a:pt x="251" y="86"/>
                    <a:pt x="246" y="100"/>
                    <a:pt x="239" y="101"/>
                  </a:cubicBezTo>
                  <a:cubicBezTo>
                    <a:pt x="232" y="103"/>
                    <a:pt x="240" y="92"/>
                    <a:pt x="240" y="92"/>
                  </a:cubicBezTo>
                  <a:cubicBezTo>
                    <a:pt x="240" y="92"/>
                    <a:pt x="234" y="87"/>
                    <a:pt x="230" y="87"/>
                  </a:cubicBezTo>
                  <a:cubicBezTo>
                    <a:pt x="227" y="87"/>
                    <a:pt x="212" y="91"/>
                    <a:pt x="207" y="94"/>
                  </a:cubicBezTo>
                  <a:cubicBezTo>
                    <a:pt x="202" y="98"/>
                    <a:pt x="187" y="112"/>
                    <a:pt x="183" y="119"/>
                  </a:cubicBezTo>
                  <a:cubicBezTo>
                    <a:pt x="180" y="126"/>
                    <a:pt x="188" y="135"/>
                    <a:pt x="188" y="135"/>
                  </a:cubicBezTo>
                  <a:cubicBezTo>
                    <a:pt x="177" y="155"/>
                    <a:pt x="177" y="155"/>
                    <a:pt x="177" y="155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68" y="172"/>
                    <a:pt x="162" y="175"/>
                  </a:cubicBezTo>
                  <a:cubicBezTo>
                    <a:pt x="156" y="177"/>
                    <a:pt x="150" y="191"/>
                    <a:pt x="147" y="198"/>
                  </a:cubicBezTo>
                  <a:cubicBezTo>
                    <a:pt x="143" y="205"/>
                    <a:pt x="129" y="207"/>
                    <a:pt x="129" y="20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3" y="229"/>
                    <a:pt x="126" y="252"/>
                    <a:pt x="118" y="254"/>
                  </a:cubicBezTo>
                  <a:cubicBezTo>
                    <a:pt x="110" y="256"/>
                    <a:pt x="116" y="246"/>
                    <a:pt x="115" y="236"/>
                  </a:cubicBezTo>
                  <a:cubicBezTo>
                    <a:pt x="113" y="227"/>
                    <a:pt x="93" y="215"/>
                    <a:pt x="93" y="215"/>
                  </a:cubicBezTo>
                  <a:cubicBezTo>
                    <a:pt x="93" y="215"/>
                    <a:pt x="89" y="221"/>
                    <a:pt x="89" y="228"/>
                  </a:cubicBezTo>
                  <a:cubicBezTo>
                    <a:pt x="89" y="235"/>
                    <a:pt x="102" y="242"/>
                    <a:pt x="102" y="242"/>
                  </a:cubicBezTo>
                  <a:cubicBezTo>
                    <a:pt x="102" y="242"/>
                    <a:pt x="102" y="259"/>
                    <a:pt x="92" y="267"/>
                  </a:cubicBezTo>
                  <a:cubicBezTo>
                    <a:pt x="83" y="275"/>
                    <a:pt x="76" y="265"/>
                    <a:pt x="76" y="265"/>
                  </a:cubicBezTo>
                  <a:cubicBezTo>
                    <a:pt x="66" y="286"/>
                    <a:pt x="66" y="286"/>
                    <a:pt x="66" y="286"/>
                  </a:cubicBezTo>
                  <a:cubicBezTo>
                    <a:pt x="74" y="301"/>
                    <a:pt x="74" y="301"/>
                    <a:pt x="74" y="301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4" y="308"/>
                    <a:pt x="81" y="313"/>
                    <a:pt x="87" y="325"/>
                  </a:cubicBezTo>
                  <a:cubicBezTo>
                    <a:pt x="93" y="337"/>
                    <a:pt x="77" y="338"/>
                    <a:pt x="77" y="338"/>
                  </a:cubicBezTo>
                  <a:cubicBezTo>
                    <a:pt x="87" y="353"/>
                    <a:pt x="87" y="353"/>
                    <a:pt x="87" y="353"/>
                  </a:cubicBezTo>
                  <a:cubicBezTo>
                    <a:pt x="92" y="375"/>
                    <a:pt x="92" y="375"/>
                    <a:pt x="92" y="375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7" y="391"/>
                    <a:pt x="87" y="391"/>
                    <a:pt x="87" y="391"/>
                  </a:cubicBezTo>
                  <a:cubicBezTo>
                    <a:pt x="87" y="431"/>
                    <a:pt x="87" y="431"/>
                    <a:pt x="87" y="431"/>
                  </a:cubicBezTo>
                  <a:cubicBezTo>
                    <a:pt x="87" y="431"/>
                    <a:pt x="74" y="441"/>
                    <a:pt x="74" y="454"/>
                  </a:cubicBezTo>
                  <a:cubicBezTo>
                    <a:pt x="74" y="467"/>
                    <a:pt x="91" y="467"/>
                    <a:pt x="92" y="482"/>
                  </a:cubicBezTo>
                  <a:cubicBezTo>
                    <a:pt x="93" y="497"/>
                    <a:pt x="65" y="514"/>
                    <a:pt x="65" y="514"/>
                  </a:cubicBezTo>
                  <a:cubicBezTo>
                    <a:pt x="74" y="522"/>
                    <a:pt x="74" y="522"/>
                    <a:pt x="74" y="522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55" y="539"/>
                    <a:pt x="34" y="539"/>
                    <a:pt x="26" y="548"/>
                  </a:cubicBezTo>
                  <a:cubicBezTo>
                    <a:pt x="18" y="558"/>
                    <a:pt x="26" y="580"/>
                    <a:pt x="26" y="580"/>
                  </a:cubicBezTo>
                  <a:cubicBezTo>
                    <a:pt x="26" y="580"/>
                    <a:pt x="1" y="572"/>
                    <a:pt x="0" y="586"/>
                  </a:cubicBezTo>
                  <a:cubicBezTo>
                    <a:pt x="0" y="588"/>
                    <a:pt x="0" y="590"/>
                    <a:pt x="0" y="592"/>
                  </a:cubicBezTo>
                  <a:cubicBezTo>
                    <a:pt x="5" y="598"/>
                    <a:pt x="15" y="611"/>
                    <a:pt x="23" y="61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15BDA636-E20A-EC99-9A47-71E1863BB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219" y="3920364"/>
              <a:ext cx="112800" cy="128044"/>
            </a:xfrm>
            <a:custGeom>
              <a:avLst/>
              <a:gdLst>
                <a:gd name="T0" fmla="*/ 2 w 199"/>
                <a:gd name="T1" fmla="*/ 3 h 228"/>
                <a:gd name="T2" fmla="*/ 0 w 199"/>
                <a:gd name="T3" fmla="*/ 3 h 228"/>
                <a:gd name="T4" fmla="*/ 0 w 199"/>
                <a:gd name="T5" fmla="*/ 4 h 228"/>
                <a:gd name="T6" fmla="*/ 0 w 199"/>
                <a:gd name="T7" fmla="*/ 5 h 228"/>
                <a:gd name="T8" fmla="*/ 0 w 199"/>
                <a:gd name="T9" fmla="*/ 6 h 228"/>
                <a:gd name="T10" fmla="*/ 1 w 199"/>
                <a:gd name="T11" fmla="*/ 7 h 228"/>
                <a:gd name="T12" fmla="*/ 2 w 199"/>
                <a:gd name="T13" fmla="*/ 7 h 228"/>
                <a:gd name="T14" fmla="*/ 2 w 199"/>
                <a:gd name="T15" fmla="*/ 9 h 228"/>
                <a:gd name="T16" fmla="*/ 3 w 199"/>
                <a:gd name="T17" fmla="*/ 11 h 228"/>
                <a:gd name="T18" fmla="*/ 5 w 199"/>
                <a:gd name="T19" fmla="*/ 11 h 228"/>
                <a:gd name="T20" fmla="*/ 5 w 199"/>
                <a:gd name="T21" fmla="*/ 10 h 228"/>
                <a:gd name="T22" fmla="*/ 5 w 199"/>
                <a:gd name="T23" fmla="*/ 9 h 228"/>
                <a:gd name="T24" fmla="*/ 6 w 199"/>
                <a:gd name="T25" fmla="*/ 10 h 228"/>
                <a:gd name="T26" fmla="*/ 6 w 199"/>
                <a:gd name="T27" fmla="*/ 10 h 228"/>
                <a:gd name="T28" fmla="*/ 7 w 199"/>
                <a:gd name="T29" fmla="*/ 9 h 228"/>
                <a:gd name="T30" fmla="*/ 8 w 199"/>
                <a:gd name="T31" fmla="*/ 10 h 228"/>
                <a:gd name="T32" fmla="*/ 9 w 199"/>
                <a:gd name="T33" fmla="*/ 10 h 228"/>
                <a:gd name="T34" fmla="*/ 9 w 199"/>
                <a:gd name="T35" fmla="*/ 9 h 228"/>
                <a:gd name="T36" fmla="*/ 10 w 199"/>
                <a:gd name="T37" fmla="*/ 9 h 228"/>
                <a:gd name="T38" fmla="*/ 9 w 199"/>
                <a:gd name="T39" fmla="*/ 7 h 228"/>
                <a:gd name="T40" fmla="*/ 10 w 199"/>
                <a:gd name="T41" fmla="*/ 7 h 228"/>
                <a:gd name="T42" fmla="*/ 9 w 199"/>
                <a:gd name="T43" fmla="*/ 5 h 228"/>
                <a:gd name="T44" fmla="*/ 9 w 199"/>
                <a:gd name="T45" fmla="*/ 3 h 228"/>
                <a:gd name="T46" fmla="*/ 10 w 199"/>
                <a:gd name="T47" fmla="*/ 1 h 228"/>
                <a:gd name="T48" fmla="*/ 10 w 199"/>
                <a:gd name="T49" fmla="*/ 0 h 228"/>
                <a:gd name="T50" fmla="*/ 10 w 199"/>
                <a:gd name="T51" fmla="*/ 0 h 228"/>
                <a:gd name="T52" fmla="*/ 10 w 199"/>
                <a:gd name="T53" fmla="*/ 0 h 228"/>
                <a:gd name="T54" fmla="*/ 7 w 199"/>
                <a:gd name="T55" fmla="*/ 0 h 228"/>
                <a:gd name="T56" fmla="*/ 7 w 199"/>
                <a:gd name="T57" fmla="*/ 0 h 228"/>
                <a:gd name="T58" fmla="*/ 6 w 199"/>
                <a:gd name="T59" fmla="*/ 0 h 228"/>
                <a:gd name="T60" fmla="*/ 6 w 199"/>
                <a:gd name="T61" fmla="*/ 1 h 228"/>
                <a:gd name="T62" fmla="*/ 4 w 199"/>
                <a:gd name="T63" fmla="*/ 0 h 228"/>
                <a:gd name="T64" fmla="*/ 3 w 199"/>
                <a:gd name="T65" fmla="*/ 0 h 228"/>
                <a:gd name="T66" fmla="*/ 2 w 199"/>
                <a:gd name="T67" fmla="*/ 1 h 228"/>
                <a:gd name="T68" fmla="*/ 2 w 199"/>
                <a:gd name="T69" fmla="*/ 3 h 2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9"/>
                <a:gd name="T106" fmla="*/ 0 h 228"/>
                <a:gd name="T107" fmla="*/ 199 w 199"/>
                <a:gd name="T108" fmla="*/ 228 h 2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9" h="228">
                  <a:moveTo>
                    <a:pt x="43" y="52"/>
                  </a:moveTo>
                  <a:cubicBezTo>
                    <a:pt x="31" y="55"/>
                    <a:pt x="13" y="52"/>
                    <a:pt x="10" y="61"/>
                  </a:cubicBezTo>
                  <a:cubicBezTo>
                    <a:pt x="7" y="70"/>
                    <a:pt x="11" y="89"/>
                    <a:pt x="11" y="89"/>
                  </a:cubicBezTo>
                  <a:cubicBezTo>
                    <a:pt x="11" y="89"/>
                    <a:pt x="0" y="96"/>
                    <a:pt x="1" y="107"/>
                  </a:cubicBezTo>
                  <a:cubicBezTo>
                    <a:pt x="2" y="117"/>
                    <a:pt x="12" y="115"/>
                    <a:pt x="12" y="122"/>
                  </a:cubicBezTo>
                  <a:cubicBezTo>
                    <a:pt x="12" y="129"/>
                    <a:pt x="22" y="143"/>
                    <a:pt x="26" y="144"/>
                  </a:cubicBezTo>
                  <a:cubicBezTo>
                    <a:pt x="30" y="145"/>
                    <a:pt x="39" y="130"/>
                    <a:pt x="40" y="137"/>
                  </a:cubicBezTo>
                  <a:cubicBezTo>
                    <a:pt x="41" y="144"/>
                    <a:pt x="31" y="165"/>
                    <a:pt x="40" y="173"/>
                  </a:cubicBezTo>
                  <a:cubicBezTo>
                    <a:pt x="49" y="181"/>
                    <a:pt x="65" y="212"/>
                    <a:pt x="65" y="212"/>
                  </a:cubicBezTo>
                  <a:cubicBezTo>
                    <a:pt x="65" y="212"/>
                    <a:pt x="94" y="228"/>
                    <a:pt x="103" y="224"/>
                  </a:cubicBezTo>
                  <a:cubicBezTo>
                    <a:pt x="112" y="220"/>
                    <a:pt x="98" y="210"/>
                    <a:pt x="95" y="204"/>
                  </a:cubicBezTo>
                  <a:cubicBezTo>
                    <a:pt x="92" y="198"/>
                    <a:pt x="96" y="188"/>
                    <a:pt x="102" y="187"/>
                  </a:cubicBezTo>
                  <a:cubicBezTo>
                    <a:pt x="108" y="186"/>
                    <a:pt x="107" y="195"/>
                    <a:pt x="107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5"/>
                    <a:pt x="134" y="184"/>
                    <a:pt x="142" y="183"/>
                  </a:cubicBezTo>
                  <a:cubicBezTo>
                    <a:pt x="150" y="182"/>
                    <a:pt x="154" y="193"/>
                    <a:pt x="154" y="193"/>
                  </a:cubicBezTo>
                  <a:cubicBezTo>
                    <a:pt x="167" y="199"/>
                    <a:pt x="167" y="199"/>
                    <a:pt x="167" y="199"/>
                  </a:cubicBezTo>
                  <a:cubicBezTo>
                    <a:pt x="167" y="199"/>
                    <a:pt x="173" y="185"/>
                    <a:pt x="174" y="182"/>
                  </a:cubicBezTo>
                  <a:cubicBezTo>
                    <a:pt x="175" y="179"/>
                    <a:pt x="186" y="175"/>
                    <a:pt x="186" y="17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84" y="147"/>
                    <a:pt x="196" y="142"/>
                    <a:pt x="195" y="132"/>
                  </a:cubicBezTo>
                  <a:cubicBezTo>
                    <a:pt x="194" y="122"/>
                    <a:pt x="175" y="117"/>
                    <a:pt x="174" y="105"/>
                  </a:cubicBezTo>
                  <a:cubicBezTo>
                    <a:pt x="173" y="92"/>
                    <a:pt x="163" y="71"/>
                    <a:pt x="173" y="55"/>
                  </a:cubicBezTo>
                  <a:cubicBezTo>
                    <a:pt x="184" y="38"/>
                    <a:pt x="195" y="39"/>
                    <a:pt x="195" y="32"/>
                  </a:cubicBezTo>
                  <a:cubicBezTo>
                    <a:pt x="195" y="27"/>
                    <a:pt x="195" y="18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0"/>
                    <a:pt x="197" y="10"/>
                    <a:pt x="197" y="9"/>
                  </a:cubicBezTo>
                  <a:cubicBezTo>
                    <a:pt x="190" y="0"/>
                    <a:pt x="143" y="0"/>
                    <a:pt x="143" y="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39" y="21"/>
                    <a:pt x="39" y="29"/>
                  </a:cubicBezTo>
                  <a:cubicBezTo>
                    <a:pt x="39" y="37"/>
                    <a:pt x="55" y="49"/>
                    <a:pt x="43" y="5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6" name="Freeform 64">
              <a:extLst>
                <a:ext uri="{FF2B5EF4-FFF2-40B4-BE49-F238E27FC236}">
                  <a16:creationId xmlns:a16="http://schemas.microsoft.com/office/drawing/2014/main" id="{22040435-EE18-9865-C966-D4D071B1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1694" y="3661229"/>
              <a:ext cx="67070" cy="42681"/>
            </a:xfrm>
            <a:custGeom>
              <a:avLst/>
              <a:gdLst>
                <a:gd name="T0" fmla="*/ 6 w 117"/>
                <a:gd name="T1" fmla="*/ 3 h 74"/>
                <a:gd name="T2" fmla="*/ 6 w 117"/>
                <a:gd name="T3" fmla="*/ 2 h 74"/>
                <a:gd name="T4" fmla="*/ 5 w 117"/>
                <a:gd name="T5" fmla="*/ 2 h 74"/>
                <a:gd name="T6" fmla="*/ 5 w 117"/>
                <a:gd name="T7" fmla="*/ 2 h 74"/>
                <a:gd name="T8" fmla="*/ 4 w 117"/>
                <a:gd name="T9" fmla="*/ 1 h 74"/>
                <a:gd name="T10" fmla="*/ 3 w 117"/>
                <a:gd name="T11" fmla="*/ 1 h 74"/>
                <a:gd name="T12" fmla="*/ 3 w 117"/>
                <a:gd name="T13" fmla="*/ 0 h 74"/>
                <a:gd name="T14" fmla="*/ 2 w 117"/>
                <a:gd name="T15" fmla="*/ 0 h 74"/>
                <a:gd name="T16" fmla="*/ 2 w 117"/>
                <a:gd name="T17" fmla="*/ 1 h 74"/>
                <a:gd name="T18" fmla="*/ 1 w 117"/>
                <a:gd name="T19" fmla="*/ 1 h 74"/>
                <a:gd name="T20" fmla="*/ 0 w 117"/>
                <a:gd name="T21" fmla="*/ 2 h 74"/>
                <a:gd name="T22" fmla="*/ 1 w 117"/>
                <a:gd name="T23" fmla="*/ 3 h 74"/>
                <a:gd name="T24" fmla="*/ 3 w 117"/>
                <a:gd name="T25" fmla="*/ 3 h 74"/>
                <a:gd name="T26" fmla="*/ 3 w 117"/>
                <a:gd name="T27" fmla="*/ 3 h 74"/>
                <a:gd name="T28" fmla="*/ 5 w 117"/>
                <a:gd name="T29" fmla="*/ 3 h 74"/>
                <a:gd name="T30" fmla="*/ 5 w 117"/>
                <a:gd name="T31" fmla="*/ 4 h 74"/>
                <a:gd name="T32" fmla="*/ 6 w 117"/>
                <a:gd name="T33" fmla="*/ 3 h 74"/>
                <a:gd name="T34" fmla="*/ 6 w 117"/>
                <a:gd name="T35" fmla="*/ 3 h 74"/>
                <a:gd name="T36" fmla="*/ 6 w 117"/>
                <a:gd name="T37" fmla="*/ 3 h 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7"/>
                <a:gd name="T58" fmla="*/ 0 h 74"/>
                <a:gd name="T59" fmla="*/ 117 w 117"/>
                <a:gd name="T60" fmla="*/ 74 h 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7" h="74">
                  <a:moveTo>
                    <a:pt x="116" y="57"/>
                  </a:moveTo>
                  <a:cubicBezTo>
                    <a:pt x="115" y="28"/>
                    <a:pt x="115" y="28"/>
                    <a:pt x="115" y="28"/>
                  </a:cubicBezTo>
                  <a:cubicBezTo>
                    <a:pt x="115" y="28"/>
                    <a:pt x="105" y="27"/>
                    <a:pt x="100" y="26"/>
                  </a:cubicBezTo>
                  <a:cubicBezTo>
                    <a:pt x="95" y="25"/>
                    <a:pt x="93" y="30"/>
                    <a:pt x="84" y="32"/>
                  </a:cubicBezTo>
                  <a:cubicBezTo>
                    <a:pt x="75" y="34"/>
                    <a:pt x="76" y="16"/>
                    <a:pt x="76" y="16"/>
                  </a:cubicBezTo>
                  <a:cubicBezTo>
                    <a:pt x="76" y="16"/>
                    <a:pt x="70" y="16"/>
                    <a:pt x="61" y="16"/>
                  </a:cubicBezTo>
                  <a:cubicBezTo>
                    <a:pt x="54" y="16"/>
                    <a:pt x="50" y="5"/>
                    <a:pt x="48" y="0"/>
                  </a:cubicBezTo>
                  <a:cubicBezTo>
                    <a:pt x="41" y="3"/>
                    <a:pt x="33" y="4"/>
                    <a:pt x="33" y="4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27" y="22"/>
                    <a:pt x="19" y="24"/>
                  </a:cubicBezTo>
                  <a:cubicBezTo>
                    <a:pt x="13" y="25"/>
                    <a:pt x="5" y="34"/>
                    <a:pt x="0" y="39"/>
                  </a:cubicBezTo>
                  <a:cubicBezTo>
                    <a:pt x="7" y="44"/>
                    <a:pt x="16" y="50"/>
                    <a:pt x="20" y="52"/>
                  </a:cubicBezTo>
                  <a:cubicBezTo>
                    <a:pt x="28" y="55"/>
                    <a:pt x="48" y="53"/>
                    <a:pt x="48" y="53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6" y="5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7" name="Freeform 65">
              <a:extLst>
                <a:ext uri="{FF2B5EF4-FFF2-40B4-BE49-F238E27FC236}">
                  <a16:creationId xmlns:a16="http://schemas.microsoft.com/office/drawing/2014/main" id="{654E3788-0633-ADD6-C594-687EA0D10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229" y="3537758"/>
              <a:ext cx="41157" cy="79265"/>
            </a:xfrm>
            <a:custGeom>
              <a:avLst/>
              <a:gdLst>
                <a:gd name="T0" fmla="*/ 4 w 72"/>
                <a:gd name="T1" fmla="*/ 1 h 140"/>
                <a:gd name="T2" fmla="*/ 3 w 72"/>
                <a:gd name="T3" fmla="*/ 0 h 140"/>
                <a:gd name="T4" fmla="*/ 3 w 72"/>
                <a:gd name="T5" fmla="*/ 0 h 140"/>
                <a:gd name="T6" fmla="*/ 2 w 72"/>
                <a:gd name="T7" fmla="*/ 1 h 140"/>
                <a:gd name="T8" fmla="*/ 1 w 72"/>
                <a:gd name="T9" fmla="*/ 1 h 140"/>
                <a:gd name="T10" fmla="*/ 1 w 72"/>
                <a:gd name="T11" fmla="*/ 2 h 140"/>
                <a:gd name="T12" fmla="*/ 0 w 72"/>
                <a:gd name="T13" fmla="*/ 7 h 140"/>
                <a:gd name="T14" fmla="*/ 1 w 72"/>
                <a:gd name="T15" fmla="*/ 7 h 140"/>
                <a:gd name="T16" fmla="*/ 2 w 72"/>
                <a:gd name="T17" fmla="*/ 6 h 140"/>
                <a:gd name="T18" fmla="*/ 2 w 72"/>
                <a:gd name="T19" fmla="*/ 6 h 140"/>
                <a:gd name="T20" fmla="*/ 3 w 72"/>
                <a:gd name="T21" fmla="*/ 5 h 140"/>
                <a:gd name="T22" fmla="*/ 3 w 72"/>
                <a:gd name="T23" fmla="*/ 3 h 140"/>
                <a:gd name="T24" fmla="*/ 4 w 72"/>
                <a:gd name="T25" fmla="*/ 1 h 1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140"/>
                <a:gd name="T41" fmla="*/ 72 w 72"/>
                <a:gd name="T42" fmla="*/ 140 h 1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140">
                  <a:moveTo>
                    <a:pt x="72" y="22"/>
                  </a:moveTo>
                  <a:cubicBezTo>
                    <a:pt x="72" y="17"/>
                    <a:pt x="54" y="11"/>
                    <a:pt x="54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44" y="32"/>
                    <a:pt x="33" y="33"/>
                  </a:cubicBezTo>
                  <a:cubicBezTo>
                    <a:pt x="22" y="34"/>
                    <a:pt x="28" y="26"/>
                    <a:pt x="23" y="26"/>
                  </a:cubicBezTo>
                  <a:cubicBezTo>
                    <a:pt x="18" y="26"/>
                    <a:pt x="16" y="36"/>
                    <a:pt x="16" y="3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55" y="104"/>
                    <a:pt x="55" y="93"/>
                  </a:cubicBezTo>
                  <a:cubicBezTo>
                    <a:pt x="55" y="82"/>
                    <a:pt x="51" y="70"/>
                    <a:pt x="55" y="60"/>
                  </a:cubicBezTo>
                  <a:cubicBezTo>
                    <a:pt x="59" y="50"/>
                    <a:pt x="72" y="27"/>
                    <a:pt x="72" y="2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8" name="Freeform 66">
              <a:extLst>
                <a:ext uri="{FF2B5EF4-FFF2-40B4-BE49-F238E27FC236}">
                  <a16:creationId xmlns:a16="http://schemas.microsoft.com/office/drawing/2014/main" id="{2363CDF0-180F-AEDC-C45E-2DC2175FD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342" y="3557574"/>
              <a:ext cx="114325" cy="126520"/>
            </a:xfrm>
            <a:custGeom>
              <a:avLst/>
              <a:gdLst>
                <a:gd name="T0" fmla="*/ 10 w 199"/>
                <a:gd name="T1" fmla="*/ 6 h 222"/>
                <a:gd name="T2" fmla="*/ 9 w 199"/>
                <a:gd name="T3" fmla="*/ 6 h 222"/>
                <a:gd name="T4" fmla="*/ 9 w 199"/>
                <a:gd name="T5" fmla="*/ 6 h 222"/>
                <a:gd name="T6" fmla="*/ 8 w 199"/>
                <a:gd name="T7" fmla="*/ 6 h 222"/>
                <a:gd name="T8" fmla="*/ 9 w 199"/>
                <a:gd name="T9" fmla="*/ 0 h 222"/>
                <a:gd name="T10" fmla="*/ 5 w 199"/>
                <a:gd name="T11" fmla="*/ 0 h 222"/>
                <a:gd name="T12" fmla="*/ 5 w 199"/>
                <a:gd name="T13" fmla="*/ 1 h 222"/>
                <a:gd name="T14" fmla="*/ 3 w 199"/>
                <a:gd name="T15" fmla="*/ 2 h 222"/>
                <a:gd name="T16" fmla="*/ 3 w 199"/>
                <a:gd name="T17" fmla="*/ 2 h 222"/>
                <a:gd name="T18" fmla="*/ 4 w 199"/>
                <a:gd name="T19" fmla="*/ 3 h 222"/>
                <a:gd name="T20" fmla="*/ 5 w 199"/>
                <a:gd name="T21" fmla="*/ 3 h 222"/>
                <a:gd name="T22" fmla="*/ 5 w 199"/>
                <a:gd name="T23" fmla="*/ 4 h 222"/>
                <a:gd name="T24" fmla="*/ 6 w 199"/>
                <a:gd name="T25" fmla="*/ 4 h 222"/>
                <a:gd name="T26" fmla="*/ 5 w 199"/>
                <a:gd name="T27" fmla="*/ 4 h 222"/>
                <a:gd name="T28" fmla="*/ 5 w 199"/>
                <a:gd name="T29" fmla="*/ 5 h 222"/>
                <a:gd name="T30" fmla="*/ 2 w 199"/>
                <a:gd name="T31" fmla="*/ 5 h 222"/>
                <a:gd name="T32" fmla="*/ 1 w 199"/>
                <a:gd name="T33" fmla="*/ 7 h 222"/>
                <a:gd name="T34" fmla="*/ 1 w 199"/>
                <a:gd name="T35" fmla="*/ 9 h 222"/>
                <a:gd name="T36" fmla="*/ 0 w 199"/>
                <a:gd name="T37" fmla="*/ 9 h 222"/>
                <a:gd name="T38" fmla="*/ 1 w 199"/>
                <a:gd name="T39" fmla="*/ 10 h 222"/>
                <a:gd name="T40" fmla="*/ 3 w 199"/>
                <a:gd name="T41" fmla="*/ 11 h 222"/>
                <a:gd name="T42" fmla="*/ 4 w 199"/>
                <a:gd name="T43" fmla="*/ 11 h 222"/>
                <a:gd name="T44" fmla="*/ 5 w 199"/>
                <a:gd name="T45" fmla="*/ 12 h 222"/>
                <a:gd name="T46" fmla="*/ 6 w 199"/>
                <a:gd name="T47" fmla="*/ 11 h 222"/>
                <a:gd name="T48" fmla="*/ 7 w 199"/>
                <a:gd name="T49" fmla="*/ 10 h 222"/>
                <a:gd name="T50" fmla="*/ 7 w 199"/>
                <a:gd name="T51" fmla="*/ 10 h 222"/>
                <a:gd name="T52" fmla="*/ 8 w 199"/>
                <a:gd name="T53" fmla="*/ 9 h 222"/>
                <a:gd name="T54" fmla="*/ 8 w 199"/>
                <a:gd name="T55" fmla="*/ 8 h 222"/>
                <a:gd name="T56" fmla="*/ 9 w 199"/>
                <a:gd name="T57" fmla="*/ 7 h 222"/>
                <a:gd name="T58" fmla="*/ 11 w 199"/>
                <a:gd name="T59" fmla="*/ 6 h 222"/>
                <a:gd name="T60" fmla="*/ 10 w 199"/>
                <a:gd name="T61" fmla="*/ 6 h 22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9"/>
                <a:gd name="T94" fmla="*/ 0 h 222"/>
                <a:gd name="T95" fmla="*/ 199 w 199"/>
                <a:gd name="T96" fmla="*/ 222 h 22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9" h="222">
                  <a:moveTo>
                    <a:pt x="190" y="103"/>
                  </a:moveTo>
                  <a:cubicBezTo>
                    <a:pt x="179" y="110"/>
                    <a:pt x="179" y="110"/>
                    <a:pt x="179" y="110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4" y="24"/>
                    <a:pt x="82" y="30"/>
                  </a:cubicBezTo>
                  <a:cubicBezTo>
                    <a:pt x="80" y="36"/>
                    <a:pt x="54" y="34"/>
                    <a:pt x="54" y="3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54"/>
                    <a:pt x="75" y="56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1" y="73"/>
                    <a:pt x="103" y="69"/>
                    <a:pt x="103" y="79"/>
                  </a:cubicBezTo>
                  <a:cubicBezTo>
                    <a:pt x="103" y="89"/>
                    <a:pt x="94" y="86"/>
                    <a:pt x="94" y="8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49"/>
                    <a:pt x="14" y="165"/>
                  </a:cubicBezTo>
                  <a:cubicBezTo>
                    <a:pt x="14" y="181"/>
                    <a:pt x="0" y="179"/>
                    <a:pt x="0" y="179"/>
                  </a:cubicBezTo>
                  <a:cubicBezTo>
                    <a:pt x="3" y="185"/>
                    <a:pt x="7" y="189"/>
                    <a:pt x="14" y="192"/>
                  </a:cubicBezTo>
                  <a:cubicBezTo>
                    <a:pt x="33" y="199"/>
                    <a:pt x="36" y="209"/>
                    <a:pt x="47" y="213"/>
                  </a:cubicBezTo>
                  <a:cubicBezTo>
                    <a:pt x="58" y="217"/>
                    <a:pt x="80" y="213"/>
                    <a:pt x="80" y="213"/>
                  </a:cubicBezTo>
                  <a:cubicBezTo>
                    <a:pt x="80" y="213"/>
                    <a:pt x="86" y="217"/>
                    <a:pt x="92" y="222"/>
                  </a:cubicBezTo>
                  <a:cubicBezTo>
                    <a:pt x="97" y="217"/>
                    <a:pt x="105" y="208"/>
                    <a:pt x="111" y="207"/>
                  </a:cubicBezTo>
                  <a:cubicBezTo>
                    <a:pt x="119" y="205"/>
                    <a:pt x="124" y="195"/>
                    <a:pt x="124" y="195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5" y="187"/>
                    <a:pt x="146" y="185"/>
                    <a:pt x="149" y="176"/>
                  </a:cubicBezTo>
                  <a:cubicBezTo>
                    <a:pt x="152" y="167"/>
                    <a:pt x="151" y="155"/>
                    <a:pt x="151" y="155"/>
                  </a:cubicBezTo>
                  <a:cubicBezTo>
                    <a:pt x="151" y="155"/>
                    <a:pt x="164" y="139"/>
                    <a:pt x="179" y="131"/>
                  </a:cubicBezTo>
                  <a:cubicBezTo>
                    <a:pt x="194" y="123"/>
                    <a:pt x="199" y="112"/>
                    <a:pt x="199" y="112"/>
                  </a:cubicBezTo>
                  <a:lnTo>
                    <a:pt x="190" y="103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69" name="Freeform 67">
              <a:extLst>
                <a:ext uri="{FF2B5EF4-FFF2-40B4-BE49-F238E27FC236}">
                  <a16:creationId xmlns:a16="http://schemas.microsoft.com/office/drawing/2014/main" id="{E3890AC0-4A64-822D-A643-97BBE13EB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876" y="3104848"/>
              <a:ext cx="710337" cy="554855"/>
            </a:xfrm>
            <a:custGeom>
              <a:avLst/>
              <a:gdLst>
                <a:gd name="T0" fmla="*/ 50 w 1247"/>
                <a:gd name="T1" fmla="*/ 46 h 976"/>
                <a:gd name="T2" fmla="*/ 54 w 1247"/>
                <a:gd name="T3" fmla="*/ 46 h 976"/>
                <a:gd name="T4" fmla="*/ 53 w 1247"/>
                <a:gd name="T5" fmla="*/ 44 h 976"/>
                <a:gd name="T6" fmla="*/ 53 w 1247"/>
                <a:gd name="T7" fmla="*/ 43 h 976"/>
                <a:gd name="T8" fmla="*/ 58 w 1247"/>
                <a:gd name="T9" fmla="*/ 41 h 976"/>
                <a:gd name="T10" fmla="*/ 59 w 1247"/>
                <a:gd name="T11" fmla="*/ 40 h 976"/>
                <a:gd name="T12" fmla="*/ 61 w 1247"/>
                <a:gd name="T13" fmla="*/ 40 h 976"/>
                <a:gd name="T14" fmla="*/ 62 w 1247"/>
                <a:gd name="T15" fmla="*/ 37 h 976"/>
                <a:gd name="T16" fmla="*/ 62 w 1247"/>
                <a:gd name="T17" fmla="*/ 36 h 976"/>
                <a:gd name="T18" fmla="*/ 64 w 1247"/>
                <a:gd name="T19" fmla="*/ 33 h 976"/>
                <a:gd name="T20" fmla="*/ 61 w 1247"/>
                <a:gd name="T21" fmla="*/ 31 h 976"/>
                <a:gd name="T22" fmla="*/ 55 w 1247"/>
                <a:gd name="T23" fmla="*/ 34 h 976"/>
                <a:gd name="T24" fmla="*/ 55 w 1247"/>
                <a:gd name="T25" fmla="*/ 37 h 976"/>
                <a:gd name="T26" fmla="*/ 51 w 1247"/>
                <a:gd name="T27" fmla="*/ 39 h 976"/>
                <a:gd name="T28" fmla="*/ 44 w 1247"/>
                <a:gd name="T29" fmla="*/ 39 h 976"/>
                <a:gd name="T30" fmla="*/ 40 w 1247"/>
                <a:gd name="T31" fmla="*/ 37 h 976"/>
                <a:gd name="T32" fmla="*/ 39 w 1247"/>
                <a:gd name="T33" fmla="*/ 32 h 976"/>
                <a:gd name="T34" fmla="*/ 39 w 1247"/>
                <a:gd name="T35" fmla="*/ 26 h 976"/>
                <a:gd name="T36" fmla="*/ 40 w 1247"/>
                <a:gd name="T37" fmla="*/ 22 h 976"/>
                <a:gd name="T38" fmla="*/ 42 w 1247"/>
                <a:gd name="T39" fmla="*/ 19 h 976"/>
                <a:gd name="T40" fmla="*/ 41 w 1247"/>
                <a:gd name="T41" fmla="*/ 18 h 976"/>
                <a:gd name="T42" fmla="*/ 38 w 1247"/>
                <a:gd name="T43" fmla="*/ 17 h 976"/>
                <a:gd name="T44" fmla="*/ 37 w 1247"/>
                <a:gd name="T45" fmla="*/ 15 h 976"/>
                <a:gd name="T46" fmla="*/ 37 w 1247"/>
                <a:gd name="T47" fmla="*/ 13 h 976"/>
                <a:gd name="T48" fmla="*/ 34 w 1247"/>
                <a:gd name="T49" fmla="*/ 8 h 976"/>
                <a:gd name="T50" fmla="*/ 33 w 1247"/>
                <a:gd name="T51" fmla="*/ 8 h 976"/>
                <a:gd name="T52" fmla="*/ 27 w 1247"/>
                <a:gd name="T53" fmla="*/ 8 h 976"/>
                <a:gd name="T54" fmla="*/ 25 w 1247"/>
                <a:gd name="T55" fmla="*/ 4 h 976"/>
                <a:gd name="T56" fmla="*/ 21 w 1247"/>
                <a:gd name="T57" fmla="*/ 2 h 976"/>
                <a:gd name="T58" fmla="*/ 20 w 1247"/>
                <a:gd name="T59" fmla="*/ 4 h 976"/>
                <a:gd name="T60" fmla="*/ 6 w 1247"/>
                <a:gd name="T61" fmla="*/ 0 h 976"/>
                <a:gd name="T62" fmla="*/ 0 w 1247"/>
                <a:gd name="T63" fmla="*/ 1 h 976"/>
                <a:gd name="T64" fmla="*/ 0 w 1247"/>
                <a:gd name="T65" fmla="*/ 4 h 976"/>
                <a:gd name="T66" fmla="*/ 0 w 1247"/>
                <a:gd name="T67" fmla="*/ 6 h 976"/>
                <a:gd name="T68" fmla="*/ 2 w 1247"/>
                <a:gd name="T69" fmla="*/ 9 h 976"/>
                <a:gd name="T70" fmla="*/ 3 w 1247"/>
                <a:gd name="T71" fmla="*/ 14 h 976"/>
                <a:gd name="T72" fmla="*/ 0 w 1247"/>
                <a:gd name="T73" fmla="*/ 13 h 976"/>
                <a:gd name="T74" fmla="*/ 2 w 1247"/>
                <a:gd name="T75" fmla="*/ 15 h 976"/>
                <a:gd name="T76" fmla="*/ 5 w 1247"/>
                <a:gd name="T77" fmla="*/ 18 h 976"/>
                <a:gd name="T78" fmla="*/ 7 w 1247"/>
                <a:gd name="T79" fmla="*/ 24 h 976"/>
                <a:gd name="T80" fmla="*/ 11 w 1247"/>
                <a:gd name="T81" fmla="*/ 26 h 976"/>
                <a:gd name="T82" fmla="*/ 9 w 1247"/>
                <a:gd name="T83" fmla="*/ 23 h 976"/>
                <a:gd name="T84" fmla="*/ 9 w 1247"/>
                <a:gd name="T85" fmla="*/ 20 h 976"/>
                <a:gd name="T86" fmla="*/ 7 w 1247"/>
                <a:gd name="T87" fmla="*/ 16 h 976"/>
                <a:gd name="T88" fmla="*/ 6 w 1247"/>
                <a:gd name="T89" fmla="*/ 12 h 976"/>
                <a:gd name="T90" fmla="*/ 3 w 1247"/>
                <a:gd name="T91" fmla="*/ 7 h 976"/>
                <a:gd name="T92" fmla="*/ 4 w 1247"/>
                <a:gd name="T93" fmla="*/ 2 h 976"/>
                <a:gd name="T94" fmla="*/ 7 w 1247"/>
                <a:gd name="T95" fmla="*/ 4 h 976"/>
                <a:gd name="T96" fmla="*/ 8 w 1247"/>
                <a:gd name="T97" fmla="*/ 9 h 976"/>
                <a:gd name="T98" fmla="*/ 11 w 1247"/>
                <a:gd name="T99" fmla="*/ 15 h 976"/>
                <a:gd name="T100" fmla="*/ 13 w 1247"/>
                <a:gd name="T101" fmla="*/ 16 h 976"/>
                <a:gd name="T102" fmla="*/ 13 w 1247"/>
                <a:gd name="T103" fmla="*/ 19 h 976"/>
                <a:gd name="T104" fmla="*/ 15 w 1247"/>
                <a:gd name="T105" fmla="*/ 22 h 976"/>
                <a:gd name="T106" fmla="*/ 16 w 1247"/>
                <a:gd name="T107" fmla="*/ 23 h 976"/>
                <a:gd name="T108" fmla="*/ 19 w 1247"/>
                <a:gd name="T109" fmla="*/ 30 h 976"/>
                <a:gd name="T110" fmla="*/ 19 w 1247"/>
                <a:gd name="T111" fmla="*/ 34 h 976"/>
                <a:gd name="T112" fmla="*/ 22 w 1247"/>
                <a:gd name="T113" fmla="*/ 38 h 976"/>
                <a:gd name="T114" fmla="*/ 29 w 1247"/>
                <a:gd name="T115" fmla="*/ 44 h 976"/>
                <a:gd name="T116" fmla="*/ 36 w 1247"/>
                <a:gd name="T117" fmla="*/ 47 h 976"/>
                <a:gd name="T118" fmla="*/ 44 w 1247"/>
                <a:gd name="T119" fmla="*/ 46 h 976"/>
                <a:gd name="T120" fmla="*/ 49 w 1247"/>
                <a:gd name="T121" fmla="*/ 50 h 9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47"/>
                <a:gd name="T184" fmla="*/ 0 h 976"/>
                <a:gd name="T185" fmla="*/ 1247 w 1247"/>
                <a:gd name="T186" fmla="*/ 976 h 9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47" h="976">
                  <a:moveTo>
                    <a:pt x="947" y="960"/>
                  </a:moveTo>
                  <a:cubicBezTo>
                    <a:pt x="947" y="944"/>
                    <a:pt x="947" y="922"/>
                    <a:pt x="947" y="922"/>
                  </a:cubicBezTo>
                  <a:cubicBezTo>
                    <a:pt x="968" y="891"/>
                    <a:pt x="968" y="891"/>
                    <a:pt x="968" y="891"/>
                  </a:cubicBezTo>
                  <a:cubicBezTo>
                    <a:pt x="1027" y="892"/>
                    <a:pt x="1027" y="892"/>
                    <a:pt x="1027" y="892"/>
                  </a:cubicBezTo>
                  <a:cubicBezTo>
                    <a:pt x="1027" y="881"/>
                    <a:pt x="1027" y="881"/>
                    <a:pt x="1027" y="881"/>
                  </a:cubicBezTo>
                  <a:cubicBezTo>
                    <a:pt x="1027" y="881"/>
                    <a:pt x="1036" y="884"/>
                    <a:pt x="1036" y="874"/>
                  </a:cubicBezTo>
                  <a:cubicBezTo>
                    <a:pt x="1036" y="864"/>
                    <a:pt x="1024" y="868"/>
                    <a:pt x="1024" y="868"/>
                  </a:cubicBezTo>
                  <a:cubicBezTo>
                    <a:pt x="1020" y="852"/>
                    <a:pt x="1020" y="852"/>
                    <a:pt x="1020" y="852"/>
                  </a:cubicBezTo>
                  <a:cubicBezTo>
                    <a:pt x="1020" y="852"/>
                    <a:pt x="1018" y="853"/>
                    <a:pt x="1008" y="851"/>
                  </a:cubicBezTo>
                  <a:cubicBezTo>
                    <a:pt x="998" y="849"/>
                    <a:pt x="997" y="833"/>
                    <a:pt x="997" y="833"/>
                  </a:cubicBezTo>
                  <a:cubicBezTo>
                    <a:pt x="987" y="829"/>
                    <a:pt x="987" y="829"/>
                    <a:pt x="987" y="829"/>
                  </a:cubicBezTo>
                  <a:cubicBezTo>
                    <a:pt x="987" y="829"/>
                    <a:pt x="1013" y="831"/>
                    <a:pt x="1015" y="825"/>
                  </a:cubicBezTo>
                  <a:cubicBezTo>
                    <a:pt x="1017" y="819"/>
                    <a:pt x="1014" y="795"/>
                    <a:pt x="1014" y="795"/>
                  </a:cubicBezTo>
                  <a:cubicBezTo>
                    <a:pt x="1101" y="796"/>
                    <a:pt x="1101" y="796"/>
                    <a:pt x="1101" y="796"/>
                  </a:cubicBezTo>
                  <a:cubicBezTo>
                    <a:pt x="1101" y="796"/>
                    <a:pt x="1103" y="786"/>
                    <a:pt x="1108" y="786"/>
                  </a:cubicBezTo>
                  <a:cubicBezTo>
                    <a:pt x="1113" y="786"/>
                    <a:pt x="1107" y="794"/>
                    <a:pt x="1118" y="793"/>
                  </a:cubicBezTo>
                  <a:cubicBezTo>
                    <a:pt x="1129" y="792"/>
                    <a:pt x="1136" y="760"/>
                    <a:pt x="1136" y="760"/>
                  </a:cubicBezTo>
                  <a:cubicBezTo>
                    <a:pt x="1139" y="771"/>
                    <a:pt x="1139" y="771"/>
                    <a:pt x="1139" y="771"/>
                  </a:cubicBezTo>
                  <a:cubicBezTo>
                    <a:pt x="1150" y="761"/>
                    <a:pt x="1150" y="761"/>
                    <a:pt x="1150" y="761"/>
                  </a:cubicBezTo>
                  <a:cubicBezTo>
                    <a:pt x="1164" y="745"/>
                    <a:pt x="1164" y="745"/>
                    <a:pt x="1164" y="745"/>
                  </a:cubicBezTo>
                  <a:cubicBezTo>
                    <a:pt x="1164" y="745"/>
                    <a:pt x="1158" y="764"/>
                    <a:pt x="1162" y="767"/>
                  </a:cubicBezTo>
                  <a:cubicBezTo>
                    <a:pt x="1166" y="770"/>
                    <a:pt x="1173" y="770"/>
                    <a:pt x="1173" y="770"/>
                  </a:cubicBezTo>
                  <a:cubicBezTo>
                    <a:pt x="1188" y="725"/>
                    <a:pt x="1188" y="725"/>
                    <a:pt x="1188" y="725"/>
                  </a:cubicBezTo>
                  <a:cubicBezTo>
                    <a:pt x="1182" y="717"/>
                    <a:pt x="1182" y="717"/>
                    <a:pt x="1182" y="717"/>
                  </a:cubicBezTo>
                  <a:cubicBezTo>
                    <a:pt x="1195" y="713"/>
                    <a:pt x="1195" y="713"/>
                    <a:pt x="1195" y="713"/>
                  </a:cubicBezTo>
                  <a:cubicBezTo>
                    <a:pt x="1196" y="705"/>
                    <a:pt x="1196" y="705"/>
                    <a:pt x="1196" y="705"/>
                  </a:cubicBezTo>
                  <a:cubicBezTo>
                    <a:pt x="1184" y="701"/>
                    <a:pt x="1184" y="701"/>
                    <a:pt x="1184" y="701"/>
                  </a:cubicBezTo>
                  <a:cubicBezTo>
                    <a:pt x="1196" y="688"/>
                    <a:pt x="1196" y="688"/>
                    <a:pt x="1196" y="688"/>
                  </a:cubicBezTo>
                  <a:cubicBezTo>
                    <a:pt x="1200" y="672"/>
                    <a:pt x="1200" y="672"/>
                    <a:pt x="1200" y="672"/>
                  </a:cubicBezTo>
                  <a:cubicBezTo>
                    <a:pt x="1200" y="672"/>
                    <a:pt x="1230" y="641"/>
                    <a:pt x="1234" y="632"/>
                  </a:cubicBezTo>
                  <a:cubicBezTo>
                    <a:pt x="1238" y="623"/>
                    <a:pt x="1247" y="600"/>
                    <a:pt x="1236" y="597"/>
                  </a:cubicBezTo>
                  <a:cubicBezTo>
                    <a:pt x="1225" y="594"/>
                    <a:pt x="1203" y="601"/>
                    <a:pt x="1203" y="601"/>
                  </a:cubicBezTo>
                  <a:cubicBezTo>
                    <a:pt x="1203" y="601"/>
                    <a:pt x="1179" y="594"/>
                    <a:pt x="1172" y="594"/>
                  </a:cubicBezTo>
                  <a:cubicBezTo>
                    <a:pt x="1165" y="594"/>
                    <a:pt x="1137" y="602"/>
                    <a:pt x="1123" y="606"/>
                  </a:cubicBezTo>
                  <a:cubicBezTo>
                    <a:pt x="1109" y="610"/>
                    <a:pt x="1084" y="606"/>
                    <a:pt x="1078" y="612"/>
                  </a:cubicBezTo>
                  <a:cubicBezTo>
                    <a:pt x="1072" y="618"/>
                    <a:pt x="1061" y="639"/>
                    <a:pt x="1060" y="655"/>
                  </a:cubicBezTo>
                  <a:cubicBezTo>
                    <a:pt x="1059" y="671"/>
                    <a:pt x="1059" y="686"/>
                    <a:pt x="1059" y="686"/>
                  </a:cubicBezTo>
                  <a:cubicBezTo>
                    <a:pt x="1049" y="690"/>
                    <a:pt x="1049" y="690"/>
                    <a:pt x="1049" y="690"/>
                  </a:cubicBezTo>
                  <a:cubicBezTo>
                    <a:pt x="1049" y="690"/>
                    <a:pt x="1049" y="710"/>
                    <a:pt x="1043" y="716"/>
                  </a:cubicBezTo>
                  <a:cubicBezTo>
                    <a:pt x="1037" y="722"/>
                    <a:pt x="1016" y="728"/>
                    <a:pt x="1011" y="737"/>
                  </a:cubicBezTo>
                  <a:cubicBezTo>
                    <a:pt x="1006" y="746"/>
                    <a:pt x="1009" y="765"/>
                    <a:pt x="996" y="766"/>
                  </a:cubicBezTo>
                  <a:cubicBezTo>
                    <a:pt x="983" y="767"/>
                    <a:pt x="990" y="749"/>
                    <a:pt x="974" y="749"/>
                  </a:cubicBezTo>
                  <a:cubicBezTo>
                    <a:pt x="958" y="749"/>
                    <a:pt x="932" y="761"/>
                    <a:pt x="912" y="761"/>
                  </a:cubicBezTo>
                  <a:cubicBezTo>
                    <a:pt x="892" y="761"/>
                    <a:pt x="864" y="784"/>
                    <a:pt x="855" y="780"/>
                  </a:cubicBezTo>
                  <a:cubicBezTo>
                    <a:pt x="846" y="776"/>
                    <a:pt x="847" y="755"/>
                    <a:pt x="836" y="753"/>
                  </a:cubicBezTo>
                  <a:cubicBezTo>
                    <a:pt x="825" y="751"/>
                    <a:pt x="797" y="748"/>
                    <a:pt x="797" y="748"/>
                  </a:cubicBezTo>
                  <a:cubicBezTo>
                    <a:pt x="797" y="748"/>
                    <a:pt x="795" y="731"/>
                    <a:pt x="790" y="724"/>
                  </a:cubicBezTo>
                  <a:cubicBezTo>
                    <a:pt x="785" y="717"/>
                    <a:pt x="777" y="708"/>
                    <a:pt x="777" y="708"/>
                  </a:cubicBezTo>
                  <a:cubicBezTo>
                    <a:pt x="777" y="685"/>
                    <a:pt x="777" y="685"/>
                    <a:pt x="777" y="685"/>
                  </a:cubicBezTo>
                  <a:cubicBezTo>
                    <a:pt x="751" y="644"/>
                    <a:pt x="751" y="644"/>
                    <a:pt x="751" y="644"/>
                  </a:cubicBezTo>
                  <a:cubicBezTo>
                    <a:pt x="750" y="616"/>
                    <a:pt x="750" y="616"/>
                    <a:pt x="750" y="616"/>
                  </a:cubicBezTo>
                  <a:cubicBezTo>
                    <a:pt x="739" y="596"/>
                    <a:pt x="739" y="596"/>
                    <a:pt x="739" y="596"/>
                  </a:cubicBezTo>
                  <a:cubicBezTo>
                    <a:pt x="736" y="539"/>
                    <a:pt x="736" y="539"/>
                    <a:pt x="736" y="539"/>
                  </a:cubicBezTo>
                  <a:cubicBezTo>
                    <a:pt x="736" y="539"/>
                    <a:pt x="752" y="518"/>
                    <a:pt x="752" y="507"/>
                  </a:cubicBezTo>
                  <a:cubicBezTo>
                    <a:pt x="752" y="496"/>
                    <a:pt x="754" y="466"/>
                    <a:pt x="754" y="466"/>
                  </a:cubicBezTo>
                  <a:cubicBezTo>
                    <a:pt x="752" y="439"/>
                    <a:pt x="752" y="439"/>
                    <a:pt x="752" y="439"/>
                  </a:cubicBezTo>
                  <a:cubicBezTo>
                    <a:pt x="768" y="434"/>
                    <a:pt x="768" y="434"/>
                    <a:pt x="768" y="434"/>
                  </a:cubicBezTo>
                  <a:cubicBezTo>
                    <a:pt x="768" y="434"/>
                    <a:pt x="767" y="394"/>
                    <a:pt x="775" y="392"/>
                  </a:cubicBezTo>
                  <a:cubicBezTo>
                    <a:pt x="783" y="390"/>
                    <a:pt x="791" y="401"/>
                    <a:pt x="793" y="392"/>
                  </a:cubicBezTo>
                  <a:cubicBezTo>
                    <a:pt x="795" y="383"/>
                    <a:pt x="806" y="364"/>
                    <a:pt x="806" y="364"/>
                  </a:cubicBezTo>
                  <a:cubicBezTo>
                    <a:pt x="806" y="363"/>
                    <a:pt x="806" y="363"/>
                    <a:pt x="806" y="363"/>
                  </a:cubicBezTo>
                  <a:cubicBezTo>
                    <a:pt x="803" y="364"/>
                    <a:pt x="799" y="365"/>
                    <a:pt x="794" y="365"/>
                  </a:cubicBezTo>
                  <a:cubicBezTo>
                    <a:pt x="783" y="365"/>
                    <a:pt x="785" y="355"/>
                    <a:pt x="780" y="355"/>
                  </a:cubicBezTo>
                  <a:cubicBezTo>
                    <a:pt x="775" y="355"/>
                    <a:pt x="756" y="355"/>
                    <a:pt x="756" y="355"/>
                  </a:cubicBezTo>
                  <a:cubicBezTo>
                    <a:pt x="750" y="344"/>
                    <a:pt x="750" y="344"/>
                    <a:pt x="750" y="344"/>
                  </a:cubicBezTo>
                  <a:cubicBezTo>
                    <a:pt x="750" y="344"/>
                    <a:pt x="720" y="343"/>
                    <a:pt x="720" y="332"/>
                  </a:cubicBezTo>
                  <a:cubicBezTo>
                    <a:pt x="720" y="321"/>
                    <a:pt x="722" y="313"/>
                    <a:pt x="722" y="313"/>
                  </a:cubicBezTo>
                  <a:cubicBezTo>
                    <a:pt x="714" y="307"/>
                    <a:pt x="714" y="307"/>
                    <a:pt x="714" y="307"/>
                  </a:cubicBezTo>
                  <a:cubicBezTo>
                    <a:pt x="714" y="280"/>
                    <a:pt x="714" y="280"/>
                    <a:pt x="714" y="280"/>
                  </a:cubicBezTo>
                  <a:cubicBezTo>
                    <a:pt x="714" y="280"/>
                    <a:pt x="724" y="277"/>
                    <a:pt x="717" y="270"/>
                  </a:cubicBezTo>
                  <a:cubicBezTo>
                    <a:pt x="710" y="263"/>
                    <a:pt x="701" y="262"/>
                    <a:pt x="701" y="254"/>
                  </a:cubicBezTo>
                  <a:cubicBezTo>
                    <a:pt x="701" y="247"/>
                    <a:pt x="700" y="241"/>
                    <a:pt x="700" y="241"/>
                  </a:cubicBezTo>
                  <a:cubicBezTo>
                    <a:pt x="700" y="241"/>
                    <a:pt x="689" y="234"/>
                    <a:pt x="689" y="225"/>
                  </a:cubicBezTo>
                  <a:cubicBezTo>
                    <a:pt x="689" y="216"/>
                    <a:pt x="697" y="201"/>
                    <a:pt x="689" y="193"/>
                  </a:cubicBezTo>
                  <a:cubicBezTo>
                    <a:pt x="681" y="185"/>
                    <a:pt x="661" y="154"/>
                    <a:pt x="661" y="154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22" y="148"/>
                    <a:pt x="622" y="148"/>
                    <a:pt x="622" y="148"/>
                  </a:cubicBezTo>
                  <a:cubicBezTo>
                    <a:pt x="621" y="154"/>
                    <a:pt x="621" y="154"/>
                    <a:pt x="621" y="154"/>
                  </a:cubicBezTo>
                  <a:cubicBezTo>
                    <a:pt x="621" y="154"/>
                    <a:pt x="609" y="153"/>
                    <a:pt x="605" y="157"/>
                  </a:cubicBezTo>
                  <a:cubicBezTo>
                    <a:pt x="601" y="161"/>
                    <a:pt x="588" y="195"/>
                    <a:pt x="569" y="195"/>
                  </a:cubicBezTo>
                  <a:cubicBezTo>
                    <a:pt x="550" y="195"/>
                    <a:pt x="519" y="161"/>
                    <a:pt x="519" y="161"/>
                  </a:cubicBezTo>
                  <a:cubicBezTo>
                    <a:pt x="519" y="161"/>
                    <a:pt x="529" y="119"/>
                    <a:pt x="519" y="109"/>
                  </a:cubicBezTo>
                  <a:cubicBezTo>
                    <a:pt x="508" y="98"/>
                    <a:pt x="497" y="97"/>
                    <a:pt x="497" y="97"/>
                  </a:cubicBezTo>
                  <a:cubicBezTo>
                    <a:pt x="491" y="76"/>
                    <a:pt x="491" y="76"/>
                    <a:pt x="491" y="76"/>
                  </a:cubicBezTo>
                  <a:cubicBezTo>
                    <a:pt x="473" y="68"/>
                    <a:pt x="473" y="68"/>
                    <a:pt x="473" y="68"/>
                  </a:cubicBezTo>
                  <a:cubicBezTo>
                    <a:pt x="473" y="68"/>
                    <a:pt x="478" y="60"/>
                    <a:pt x="463" y="45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90" y="45"/>
                    <a:pt x="383" y="49"/>
                    <a:pt x="383" y="55"/>
                  </a:cubicBezTo>
                  <a:cubicBezTo>
                    <a:pt x="383" y="61"/>
                    <a:pt x="385" y="65"/>
                    <a:pt x="382" y="69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96" y="10"/>
                    <a:pt x="106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12"/>
                    <a:pt x="0" y="20"/>
                    <a:pt x="0" y="25"/>
                  </a:cubicBezTo>
                  <a:cubicBezTo>
                    <a:pt x="0" y="36"/>
                    <a:pt x="13" y="54"/>
                    <a:pt x="13" y="54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1" y="162"/>
                    <a:pt x="20" y="171"/>
                  </a:cubicBezTo>
                  <a:cubicBezTo>
                    <a:pt x="29" y="180"/>
                    <a:pt x="42" y="176"/>
                    <a:pt x="42" y="176"/>
                  </a:cubicBezTo>
                  <a:cubicBezTo>
                    <a:pt x="42" y="176"/>
                    <a:pt x="66" y="219"/>
                    <a:pt x="66" y="227"/>
                  </a:cubicBezTo>
                  <a:cubicBezTo>
                    <a:pt x="66" y="235"/>
                    <a:pt x="47" y="260"/>
                    <a:pt x="47" y="260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0" y="276"/>
                    <a:pt x="50" y="276"/>
                    <a:pt x="50" y="276"/>
                  </a:cubicBezTo>
                  <a:cubicBezTo>
                    <a:pt x="41" y="264"/>
                    <a:pt x="41" y="264"/>
                    <a:pt x="41" y="264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43" y="296"/>
                    <a:pt x="43" y="296"/>
                    <a:pt x="43" y="296"/>
                  </a:cubicBezTo>
                  <a:cubicBezTo>
                    <a:pt x="43" y="296"/>
                    <a:pt x="60" y="319"/>
                    <a:pt x="65" y="317"/>
                  </a:cubicBezTo>
                  <a:cubicBezTo>
                    <a:pt x="70" y="315"/>
                    <a:pt x="85" y="305"/>
                    <a:pt x="85" y="305"/>
                  </a:cubicBezTo>
                  <a:cubicBezTo>
                    <a:pt x="85" y="305"/>
                    <a:pt x="84" y="328"/>
                    <a:pt x="91" y="337"/>
                  </a:cubicBezTo>
                  <a:cubicBezTo>
                    <a:pt x="98" y="346"/>
                    <a:pt x="113" y="358"/>
                    <a:pt x="113" y="368"/>
                  </a:cubicBezTo>
                  <a:cubicBezTo>
                    <a:pt x="113" y="378"/>
                    <a:pt x="96" y="398"/>
                    <a:pt x="102" y="412"/>
                  </a:cubicBezTo>
                  <a:cubicBezTo>
                    <a:pt x="108" y="426"/>
                    <a:pt x="128" y="442"/>
                    <a:pt x="142" y="459"/>
                  </a:cubicBezTo>
                  <a:cubicBezTo>
                    <a:pt x="156" y="476"/>
                    <a:pt x="175" y="497"/>
                    <a:pt x="175" y="497"/>
                  </a:cubicBezTo>
                  <a:cubicBezTo>
                    <a:pt x="175" y="497"/>
                    <a:pt x="162" y="524"/>
                    <a:pt x="178" y="525"/>
                  </a:cubicBezTo>
                  <a:cubicBezTo>
                    <a:pt x="194" y="526"/>
                    <a:pt x="210" y="506"/>
                    <a:pt x="210" y="506"/>
                  </a:cubicBezTo>
                  <a:cubicBezTo>
                    <a:pt x="206" y="493"/>
                    <a:pt x="206" y="493"/>
                    <a:pt x="206" y="493"/>
                  </a:cubicBezTo>
                  <a:cubicBezTo>
                    <a:pt x="206" y="493"/>
                    <a:pt x="198" y="457"/>
                    <a:pt x="190" y="453"/>
                  </a:cubicBezTo>
                  <a:cubicBezTo>
                    <a:pt x="182" y="449"/>
                    <a:pt x="172" y="452"/>
                    <a:pt x="172" y="452"/>
                  </a:cubicBezTo>
                  <a:cubicBezTo>
                    <a:pt x="160" y="435"/>
                    <a:pt x="160" y="435"/>
                    <a:pt x="160" y="435"/>
                  </a:cubicBezTo>
                  <a:cubicBezTo>
                    <a:pt x="160" y="435"/>
                    <a:pt x="164" y="422"/>
                    <a:pt x="162" y="414"/>
                  </a:cubicBezTo>
                  <a:cubicBezTo>
                    <a:pt x="160" y="406"/>
                    <a:pt x="162" y="387"/>
                    <a:pt x="162" y="387"/>
                  </a:cubicBezTo>
                  <a:cubicBezTo>
                    <a:pt x="150" y="365"/>
                    <a:pt x="150" y="365"/>
                    <a:pt x="150" y="365"/>
                  </a:cubicBezTo>
                  <a:cubicBezTo>
                    <a:pt x="150" y="365"/>
                    <a:pt x="160" y="341"/>
                    <a:pt x="156" y="329"/>
                  </a:cubicBezTo>
                  <a:cubicBezTo>
                    <a:pt x="152" y="317"/>
                    <a:pt x="131" y="319"/>
                    <a:pt x="131" y="319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227"/>
                    <a:pt x="102" y="207"/>
                    <a:pt x="97" y="201"/>
                  </a:cubicBezTo>
                  <a:cubicBezTo>
                    <a:pt x="92" y="195"/>
                    <a:pt x="89" y="170"/>
                    <a:pt x="89" y="170"/>
                  </a:cubicBezTo>
                  <a:cubicBezTo>
                    <a:pt x="89" y="170"/>
                    <a:pt x="63" y="132"/>
                    <a:pt x="66" y="128"/>
                  </a:cubicBezTo>
                  <a:cubicBezTo>
                    <a:pt x="69" y="124"/>
                    <a:pt x="79" y="107"/>
                    <a:pt x="75" y="95"/>
                  </a:cubicBezTo>
                  <a:cubicBezTo>
                    <a:pt x="71" y="83"/>
                    <a:pt x="85" y="67"/>
                    <a:pt x="85" y="67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104" y="62"/>
                    <a:pt x="113" y="62"/>
                  </a:cubicBezTo>
                  <a:cubicBezTo>
                    <a:pt x="122" y="62"/>
                    <a:pt x="134" y="58"/>
                    <a:pt x="134" y="58"/>
                  </a:cubicBezTo>
                  <a:cubicBezTo>
                    <a:pt x="134" y="58"/>
                    <a:pt x="131" y="69"/>
                    <a:pt x="138" y="73"/>
                  </a:cubicBezTo>
                  <a:cubicBezTo>
                    <a:pt x="145" y="77"/>
                    <a:pt x="155" y="77"/>
                    <a:pt x="155" y="77"/>
                  </a:cubicBezTo>
                  <a:cubicBezTo>
                    <a:pt x="155" y="77"/>
                    <a:pt x="152" y="88"/>
                    <a:pt x="152" y="106"/>
                  </a:cubicBezTo>
                  <a:cubicBezTo>
                    <a:pt x="152" y="124"/>
                    <a:pt x="160" y="180"/>
                    <a:pt x="160" y="180"/>
                  </a:cubicBezTo>
                  <a:cubicBezTo>
                    <a:pt x="160" y="180"/>
                    <a:pt x="181" y="255"/>
                    <a:pt x="189" y="257"/>
                  </a:cubicBezTo>
                  <a:cubicBezTo>
                    <a:pt x="197" y="259"/>
                    <a:pt x="217" y="257"/>
                    <a:pt x="217" y="257"/>
                  </a:cubicBezTo>
                  <a:cubicBezTo>
                    <a:pt x="217" y="257"/>
                    <a:pt x="199" y="268"/>
                    <a:pt x="208" y="284"/>
                  </a:cubicBezTo>
                  <a:cubicBezTo>
                    <a:pt x="217" y="300"/>
                    <a:pt x="234" y="302"/>
                    <a:pt x="234" y="302"/>
                  </a:cubicBezTo>
                  <a:cubicBezTo>
                    <a:pt x="236" y="317"/>
                    <a:pt x="236" y="317"/>
                    <a:pt x="236" y="317"/>
                  </a:cubicBezTo>
                  <a:cubicBezTo>
                    <a:pt x="257" y="318"/>
                    <a:pt x="257" y="318"/>
                    <a:pt x="257" y="318"/>
                  </a:cubicBezTo>
                  <a:cubicBezTo>
                    <a:pt x="260" y="346"/>
                    <a:pt x="260" y="346"/>
                    <a:pt x="260" y="346"/>
                  </a:cubicBezTo>
                  <a:cubicBezTo>
                    <a:pt x="260" y="346"/>
                    <a:pt x="228" y="359"/>
                    <a:pt x="238" y="374"/>
                  </a:cubicBezTo>
                  <a:cubicBezTo>
                    <a:pt x="248" y="389"/>
                    <a:pt x="255" y="375"/>
                    <a:pt x="255" y="375"/>
                  </a:cubicBezTo>
                  <a:cubicBezTo>
                    <a:pt x="255" y="375"/>
                    <a:pt x="264" y="395"/>
                    <a:pt x="270" y="397"/>
                  </a:cubicBezTo>
                  <a:cubicBezTo>
                    <a:pt x="276" y="399"/>
                    <a:pt x="294" y="401"/>
                    <a:pt x="294" y="404"/>
                  </a:cubicBezTo>
                  <a:cubicBezTo>
                    <a:pt x="294" y="407"/>
                    <a:pt x="294" y="418"/>
                    <a:pt x="294" y="418"/>
                  </a:cubicBezTo>
                  <a:cubicBezTo>
                    <a:pt x="294" y="418"/>
                    <a:pt x="279" y="437"/>
                    <a:pt x="290" y="438"/>
                  </a:cubicBezTo>
                  <a:cubicBezTo>
                    <a:pt x="301" y="439"/>
                    <a:pt x="313" y="437"/>
                    <a:pt x="313" y="437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456"/>
                    <a:pt x="335" y="481"/>
                    <a:pt x="345" y="495"/>
                  </a:cubicBezTo>
                  <a:cubicBezTo>
                    <a:pt x="355" y="509"/>
                    <a:pt x="373" y="538"/>
                    <a:pt x="373" y="547"/>
                  </a:cubicBezTo>
                  <a:cubicBezTo>
                    <a:pt x="373" y="556"/>
                    <a:pt x="370" y="562"/>
                    <a:pt x="371" y="575"/>
                  </a:cubicBezTo>
                  <a:cubicBezTo>
                    <a:pt x="372" y="588"/>
                    <a:pt x="386" y="595"/>
                    <a:pt x="384" y="606"/>
                  </a:cubicBezTo>
                  <a:cubicBezTo>
                    <a:pt x="382" y="617"/>
                    <a:pt x="364" y="625"/>
                    <a:pt x="364" y="632"/>
                  </a:cubicBezTo>
                  <a:cubicBezTo>
                    <a:pt x="364" y="639"/>
                    <a:pt x="375" y="645"/>
                    <a:pt x="375" y="645"/>
                  </a:cubicBezTo>
                  <a:cubicBezTo>
                    <a:pt x="375" y="645"/>
                    <a:pt x="351" y="642"/>
                    <a:pt x="351" y="659"/>
                  </a:cubicBezTo>
                  <a:cubicBezTo>
                    <a:pt x="351" y="676"/>
                    <a:pt x="350" y="717"/>
                    <a:pt x="373" y="719"/>
                  </a:cubicBezTo>
                  <a:cubicBezTo>
                    <a:pt x="396" y="721"/>
                    <a:pt x="416" y="727"/>
                    <a:pt x="423" y="740"/>
                  </a:cubicBezTo>
                  <a:cubicBezTo>
                    <a:pt x="430" y="753"/>
                    <a:pt x="437" y="779"/>
                    <a:pt x="453" y="781"/>
                  </a:cubicBezTo>
                  <a:cubicBezTo>
                    <a:pt x="469" y="783"/>
                    <a:pt x="496" y="777"/>
                    <a:pt x="507" y="788"/>
                  </a:cubicBezTo>
                  <a:cubicBezTo>
                    <a:pt x="518" y="799"/>
                    <a:pt x="525" y="825"/>
                    <a:pt x="556" y="838"/>
                  </a:cubicBezTo>
                  <a:cubicBezTo>
                    <a:pt x="587" y="851"/>
                    <a:pt x="632" y="851"/>
                    <a:pt x="639" y="861"/>
                  </a:cubicBezTo>
                  <a:cubicBezTo>
                    <a:pt x="646" y="871"/>
                    <a:pt x="649" y="881"/>
                    <a:pt x="659" y="881"/>
                  </a:cubicBezTo>
                  <a:cubicBezTo>
                    <a:pt x="669" y="881"/>
                    <a:pt x="677" y="899"/>
                    <a:pt x="677" y="899"/>
                  </a:cubicBezTo>
                  <a:cubicBezTo>
                    <a:pt x="677" y="899"/>
                    <a:pt x="720" y="894"/>
                    <a:pt x="722" y="897"/>
                  </a:cubicBezTo>
                  <a:cubicBezTo>
                    <a:pt x="724" y="900"/>
                    <a:pt x="731" y="921"/>
                    <a:pt x="745" y="917"/>
                  </a:cubicBezTo>
                  <a:cubicBezTo>
                    <a:pt x="759" y="913"/>
                    <a:pt x="829" y="875"/>
                    <a:pt x="840" y="878"/>
                  </a:cubicBezTo>
                  <a:cubicBezTo>
                    <a:pt x="851" y="881"/>
                    <a:pt x="921" y="938"/>
                    <a:pt x="924" y="946"/>
                  </a:cubicBezTo>
                  <a:cubicBezTo>
                    <a:pt x="926" y="951"/>
                    <a:pt x="927" y="964"/>
                    <a:pt x="933" y="974"/>
                  </a:cubicBezTo>
                  <a:cubicBezTo>
                    <a:pt x="933" y="974"/>
                    <a:pt x="947" y="976"/>
                    <a:pt x="947" y="96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0" name="Freeform 68">
              <a:extLst>
                <a:ext uri="{FF2B5EF4-FFF2-40B4-BE49-F238E27FC236}">
                  <a16:creationId xmlns:a16="http://schemas.microsoft.com/office/drawing/2014/main" id="{4D7E8D72-74E3-A4D2-222C-B7F8CBCB0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655" y="3612450"/>
              <a:ext cx="167676" cy="94508"/>
            </a:xfrm>
            <a:custGeom>
              <a:avLst/>
              <a:gdLst>
                <a:gd name="T0" fmla="*/ 5 w 296"/>
                <a:gd name="T1" fmla="*/ 9 h 166"/>
                <a:gd name="T2" fmla="*/ 5 w 296"/>
                <a:gd name="T3" fmla="*/ 8 h 166"/>
                <a:gd name="T4" fmla="*/ 6 w 296"/>
                <a:gd name="T5" fmla="*/ 8 h 166"/>
                <a:gd name="T6" fmla="*/ 6 w 296"/>
                <a:gd name="T7" fmla="*/ 6 h 166"/>
                <a:gd name="T8" fmla="*/ 7 w 296"/>
                <a:gd name="T9" fmla="*/ 6 h 166"/>
                <a:gd name="T10" fmla="*/ 7 w 296"/>
                <a:gd name="T11" fmla="*/ 6 h 166"/>
                <a:gd name="T12" fmla="*/ 8 w 296"/>
                <a:gd name="T13" fmla="*/ 6 h 166"/>
                <a:gd name="T14" fmla="*/ 10 w 296"/>
                <a:gd name="T15" fmla="*/ 5 h 166"/>
                <a:gd name="T16" fmla="*/ 10 w 296"/>
                <a:gd name="T17" fmla="*/ 4 h 166"/>
                <a:gd name="T18" fmla="*/ 10 w 296"/>
                <a:gd name="T19" fmla="*/ 4 h 166"/>
                <a:gd name="T20" fmla="*/ 11 w 296"/>
                <a:gd name="T21" fmla="*/ 3 h 166"/>
                <a:gd name="T22" fmla="*/ 12 w 296"/>
                <a:gd name="T23" fmla="*/ 4 h 166"/>
                <a:gd name="T24" fmla="*/ 13 w 296"/>
                <a:gd name="T25" fmla="*/ 3 h 166"/>
                <a:gd name="T26" fmla="*/ 13 w 296"/>
                <a:gd name="T27" fmla="*/ 3 h 166"/>
                <a:gd name="T28" fmla="*/ 14 w 296"/>
                <a:gd name="T29" fmla="*/ 3 h 166"/>
                <a:gd name="T30" fmla="*/ 15 w 296"/>
                <a:gd name="T31" fmla="*/ 3 h 166"/>
                <a:gd name="T32" fmla="*/ 14 w 296"/>
                <a:gd name="T33" fmla="*/ 2 h 166"/>
                <a:gd name="T34" fmla="*/ 14 w 296"/>
                <a:gd name="T35" fmla="*/ 2 h 166"/>
                <a:gd name="T36" fmla="*/ 13 w 296"/>
                <a:gd name="T37" fmla="*/ 1 h 166"/>
                <a:gd name="T38" fmla="*/ 12 w 296"/>
                <a:gd name="T39" fmla="*/ 1 h 166"/>
                <a:gd name="T40" fmla="*/ 11 w 296"/>
                <a:gd name="T41" fmla="*/ 0 h 166"/>
                <a:gd name="T42" fmla="*/ 10 w 296"/>
                <a:gd name="T43" fmla="*/ 0 h 166"/>
                <a:gd name="T44" fmla="*/ 9 w 296"/>
                <a:gd name="T45" fmla="*/ 0 h 166"/>
                <a:gd name="T46" fmla="*/ 7 w 296"/>
                <a:gd name="T47" fmla="*/ 1 h 166"/>
                <a:gd name="T48" fmla="*/ 6 w 296"/>
                <a:gd name="T49" fmla="*/ 1 h 166"/>
                <a:gd name="T50" fmla="*/ 6 w 296"/>
                <a:gd name="T51" fmla="*/ 0 h 166"/>
                <a:gd name="T52" fmla="*/ 4 w 296"/>
                <a:gd name="T53" fmla="*/ 1 h 166"/>
                <a:gd name="T54" fmla="*/ 4 w 296"/>
                <a:gd name="T55" fmla="*/ 0 h 166"/>
                <a:gd name="T56" fmla="*/ 3 w 296"/>
                <a:gd name="T57" fmla="*/ 1 h 166"/>
                <a:gd name="T58" fmla="*/ 2 w 296"/>
                <a:gd name="T59" fmla="*/ 2 h 166"/>
                <a:gd name="T60" fmla="*/ 0 w 296"/>
                <a:gd name="T61" fmla="*/ 3 h 166"/>
                <a:gd name="T62" fmla="*/ 0 w 296"/>
                <a:gd name="T63" fmla="*/ 4 h 166"/>
                <a:gd name="T64" fmla="*/ 0 w 296"/>
                <a:gd name="T65" fmla="*/ 4 h 166"/>
                <a:gd name="T66" fmla="*/ 1 w 296"/>
                <a:gd name="T67" fmla="*/ 5 h 166"/>
                <a:gd name="T68" fmla="*/ 1 w 296"/>
                <a:gd name="T69" fmla="*/ 5 h 166"/>
                <a:gd name="T70" fmla="*/ 2 w 296"/>
                <a:gd name="T71" fmla="*/ 6 h 166"/>
                <a:gd name="T72" fmla="*/ 3 w 296"/>
                <a:gd name="T73" fmla="*/ 6 h 166"/>
                <a:gd name="T74" fmla="*/ 3 w 296"/>
                <a:gd name="T75" fmla="*/ 6 h 166"/>
                <a:gd name="T76" fmla="*/ 3 w 296"/>
                <a:gd name="T77" fmla="*/ 7 h 166"/>
                <a:gd name="T78" fmla="*/ 4 w 296"/>
                <a:gd name="T79" fmla="*/ 8 h 166"/>
                <a:gd name="T80" fmla="*/ 4 w 296"/>
                <a:gd name="T81" fmla="*/ 9 h 166"/>
                <a:gd name="T82" fmla="*/ 5 w 296"/>
                <a:gd name="T83" fmla="*/ 9 h 1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6"/>
                <a:gd name="T127" fmla="*/ 0 h 166"/>
                <a:gd name="T128" fmla="*/ 296 w 296"/>
                <a:gd name="T129" fmla="*/ 166 h 1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6" h="166">
                  <a:moveTo>
                    <a:pt x="103" y="162"/>
                  </a:moveTo>
                  <a:cubicBezTo>
                    <a:pt x="109" y="160"/>
                    <a:pt x="105" y="151"/>
                    <a:pt x="105" y="151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100" y="122"/>
                    <a:pt x="115" y="122"/>
                  </a:cubicBezTo>
                  <a:cubicBezTo>
                    <a:pt x="130" y="122"/>
                    <a:pt x="135" y="123"/>
                    <a:pt x="135" y="123"/>
                  </a:cubicBezTo>
                  <a:cubicBezTo>
                    <a:pt x="135" y="123"/>
                    <a:pt x="140" y="108"/>
                    <a:pt x="148" y="109"/>
                  </a:cubicBezTo>
                  <a:cubicBezTo>
                    <a:pt x="156" y="110"/>
                    <a:pt x="147" y="118"/>
                    <a:pt x="162" y="118"/>
                  </a:cubicBezTo>
                  <a:cubicBezTo>
                    <a:pt x="177" y="118"/>
                    <a:pt x="189" y="95"/>
                    <a:pt x="189" y="95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3" y="84"/>
                    <a:pt x="204" y="64"/>
                    <a:pt x="213" y="65"/>
                  </a:cubicBezTo>
                  <a:cubicBezTo>
                    <a:pt x="222" y="66"/>
                    <a:pt x="228" y="77"/>
                    <a:pt x="238" y="76"/>
                  </a:cubicBezTo>
                  <a:cubicBezTo>
                    <a:pt x="248" y="75"/>
                    <a:pt x="247" y="66"/>
                    <a:pt x="251" y="66"/>
                  </a:cubicBezTo>
                  <a:cubicBezTo>
                    <a:pt x="255" y="66"/>
                    <a:pt x="262" y="66"/>
                    <a:pt x="262" y="66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2" y="61"/>
                    <a:pt x="296" y="62"/>
                    <a:pt x="294" y="55"/>
                  </a:cubicBezTo>
                  <a:cubicBezTo>
                    <a:pt x="292" y="48"/>
                    <a:pt x="283" y="41"/>
                    <a:pt x="283" y="41"/>
                  </a:cubicBezTo>
                  <a:cubicBezTo>
                    <a:pt x="268" y="35"/>
                    <a:pt x="268" y="35"/>
                    <a:pt x="268" y="35"/>
                  </a:cubicBezTo>
                  <a:cubicBezTo>
                    <a:pt x="268" y="35"/>
                    <a:pt x="257" y="27"/>
                    <a:pt x="248" y="18"/>
                  </a:cubicBezTo>
                  <a:cubicBezTo>
                    <a:pt x="239" y="9"/>
                    <a:pt x="230" y="13"/>
                    <a:pt x="230" y="13"/>
                  </a:cubicBezTo>
                  <a:cubicBezTo>
                    <a:pt x="230" y="13"/>
                    <a:pt x="226" y="1"/>
                    <a:pt x="214" y="1"/>
                  </a:cubicBezTo>
                  <a:cubicBezTo>
                    <a:pt x="202" y="1"/>
                    <a:pt x="192" y="9"/>
                    <a:pt x="192" y="9"/>
                  </a:cubicBezTo>
                  <a:cubicBezTo>
                    <a:pt x="192" y="9"/>
                    <a:pt x="178" y="0"/>
                    <a:pt x="171" y="0"/>
                  </a:cubicBezTo>
                  <a:cubicBezTo>
                    <a:pt x="164" y="0"/>
                    <a:pt x="148" y="18"/>
                    <a:pt x="148" y="18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12" y="11"/>
                    <a:pt x="109" y="11"/>
                  </a:cubicBezTo>
                  <a:cubicBezTo>
                    <a:pt x="106" y="11"/>
                    <a:pt x="89" y="16"/>
                    <a:pt x="89" y="16"/>
                  </a:cubicBezTo>
                  <a:cubicBezTo>
                    <a:pt x="89" y="16"/>
                    <a:pt x="84" y="2"/>
                    <a:pt x="81" y="2"/>
                  </a:cubicBezTo>
                  <a:cubicBezTo>
                    <a:pt x="78" y="2"/>
                    <a:pt x="59" y="15"/>
                    <a:pt x="59" y="15"/>
                  </a:cubicBezTo>
                  <a:cubicBezTo>
                    <a:pt x="59" y="15"/>
                    <a:pt x="54" y="26"/>
                    <a:pt x="39" y="34"/>
                  </a:cubicBezTo>
                  <a:cubicBezTo>
                    <a:pt x="24" y="42"/>
                    <a:pt x="11" y="58"/>
                    <a:pt x="11" y="58"/>
                  </a:cubicBezTo>
                  <a:cubicBezTo>
                    <a:pt x="11" y="58"/>
                    <a:pt x="12" y="70"/>
                    <a:pt x="9" y="79"/>
                  </a:cubicBezTo>
                  <a:cubicBezTo>
                    <a:pt x="8" y="82"/>
                    <a:pt x="4" y="85"/>
                    <a:pt x="0" y="86"/>
                  </a:cubicBezTo>
                  <a:cubicBezTo>
                    <a:pt x="2" y="91"/>
                    <a:pt x="6" y="102"/>
                    <a:pt x="13" y="102"/>
                  </a:cubicBezTo>
                  <a:cubicBezTo>
                    <a:pt x="22" y="102"/>
                    <a:pt x="28" y="102"/>
                    <a:pt x="28" y="102"/>
                  </a:cubicBezTo>
                  <a:cubicBezTo>
                    <a:pt x="28" y="102"/>
                    <a:pt x="27" y="120"/>
                    <a:pt x="36" y="118"/>
                  </a:cubicBezTo>
                  <a:cubicBezTo>
                    <a:pt x="45" y="116"/>
                    <a:pt x="47" y="111"/>
                    <a:pt x="52" y="112"/>
                  </a:cubicBezTo>
                  <a:cubicBezTo>
                    <a:pt x="57" y="113"/>
                    <a:pt x="67" y="114"/>
                    <a:pt x="67" y="114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92" y="158"/>
                    <a:pt x="89" y="166"/>
                    <a:pt x="89" y="166"/>
                  </a:cubicBezTo>
                  <a:cubicBezTo>
                    <a:pt x="89" y="166"/>
                    <a:pt x="97" y="164"/>
                    <a:pt x="103" y="16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1" name="Freeform 69">
              <a:extLst>
                <a:ext uri="{FF2B5EF4-FFF2-40B4-BE49-F238E27FC236}">
                  <a16:creationId xmlns:a16="http://schemas.microsoft.com/office/drawing/2014/main" id="{A7084204-0DA5-1123-0223-D2F1289F1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0040" y="3807564"/>
              <a:ext cx="158530" cy="80790"/>
            </a:xfrm>
            <a:custGeom>
              <a:avLst/>
              <a:gdLst>
                <a:gd name="T0" fmla="*/ 11 w 279"/>
                <a:gd name="T1" fmla="*/ 3 h 141"/>
                <a:gd name="T2" fmla="*/ 12 w 279"/>
                <a:gd name="T3" fmla="*/ 3 h 141"/>
                <a:gd name="T4" fmla="*/ 12 w 279"/>
                <a:gd name="T5" fmla="*/ 3 h 141"/>
                <a:gd name="T6" fmla="*/ 13 w 279"/>
                <a:gd name="T7" fmla="*/ 4 h 141"/>
                <a:gd name="T8" fmla="*/ 12 w 279"/>
                <a:gd name="T9" fmla="*/ 4 h 141"/>
                <a:gd name="T10" fmla="*/ 12 w 279"/>
                <a:gd name="T11" fmla="*/ 6 h 141"/>
                <a:gd name="T12" fmla="*/ 13 w 279"/>
                <a:gd name="T13" fmla="*/ 7 h 141"/>
                <a:gd name="T14" fmla="*/ 13 w 279"/>
                <a:gd name="T15" fmla="*/ 7 h 141"/>
                <a:gd name="T16" fmla="*/ 13 w 279"/>
                <a:gd name="T17" fmla="*/ 6 h 141"/>
                <a:gd name="T18" fmla="*/ 14 w 279"/>
                <a:gd name="T19" fmla="*/ 6 h 141"/>
                <a:gd name="T20" fmla="*/ 15 w 279"/>
                <a:gd name="T21" fmla="*/ 5 h 141"/>
                <a:gd name="T22" fmla="*/ 14 w 279"/>
                <a:gd name="T23" fmla="*/ 4 h 141"/>
                <a:gd name="T24" fmla="*/ 14 w 279"/>
                <a:gd name="T25" fmla="*/ 3 h 141"/>
                <a:gd name="T26" fmla="*/ 13 w 279"/>
                <a:gd name="T27" fmla="*/ 2 h 141"/>
                <a:gd name="T28" fmla="*/ 12 w 279"/>
                <a:gd name="T29" fmla="*/ 1 h 141"/>
                <a:gd name="T30" fmla="*/ 10 w 279"/>
                <a:gd name="T31" fmla="*/ 1 h 141"/>
                <a:gd name="T32" fmla="*/ 10 w 279"/>
                <a:gd name="T33" fmla="*/ 0 h 141"/>
                <a:gd name="T34" fmla="*/ 9 w 279"/>
                <a:gd name="T35" fmla="*/ 0 h 141"/>
                <a:gd name="T36" fmla="*/ 7 w 279"/>
                <a:gd name="T37" fmla="*/ 2 h 141"/>
                <a:gd name="T38" fmla="*/ 7 w 279"/>
                <a:gd name="T39" fmla="*/ 1 h 141"/>
                <a:gd name="T40" fmla="*/ 5 w 279"/>
                <a:gd name="T41" fmla="*/ 3 h 141"/>
                <a:gd name="T42" fmla="*/ 4 w 279"/>
                <a:gd name="T43" fmla="*/ 2 h 141"/>
                <a:gd name="T44" fmla="*/ 3 w 279"/>
                <a:gd name="T45" fmla="*/ 2 h 141"/>
                <a:gd name="T46" fmla="*/ 3 w 279"/>
                <a:gd name="T47" fmla="*/ 2 h 141"/>
                <a:gd name="T48" fmla="*/ 2 w 279"/>
                <a:gd name="T49" fmla="*/ 2 h 141"/>
                <a:gd name="T50" fmla="*/ 2 w 279"/>
                <a:gd name="T51" fmla="*/ 1 h 141"/>
                <a:gd name="T52" fmla="*/ 1 w 279"/>
                <a:gd name="T53" fmla="*/ 0 h 141"/>
                <a:gd name="T54" fmla="*/ 0 w 279"/>
                <a:gd name="T55" fmla="*/ 1 h 141"/>
                <a:gd name="T56" fmla="*/ 0 w 279"/>
                <a:gd name="T57" fmla="*/ 2 h 141"/>
                <a:gd name="T58" fmla="*/ 1 w 279"/>
                <a:gd name="T59" fmla="*/ 2 h 141"/>
                <a:gd name="T60" fmla="*/ 0 w 279"/>
                <a:gd name="T61" fmla="*/ 3 h 141"/>
                <a:gd name="T62" fmla="*/ 0 w 279"/>
                <a:gd name="T63" fmla="*/ 3 h 141"/>
                <a:gd name="T64" fmla="*/ 0 w 279"/>
                <a:gd name="T65" fmla="*/ 4 h 141"/>
                <a:gd name="T66" fmla="*/ 0 w 279"/>
                <a:gd name="T67" fmla="*/ 4 h 141"/>
                <a:gd name="T68" fmla="*/ 2 w 279"/>
                <a:gd name="T69" fmla="*/ 4 h 141"/>
                <a:gd name="T70" fmla="*/ 2 w 279"/>
                <a:gd name="T71" fmla="*/ 4 h 141"/>
                <a:gd name="T72" fmla="*/ 3 w 279"/>
                <a:gd name="T73" fmla="*/ 4 h 141"/>
                <a:gd name="T74" fmla="*/ 3 w 279"/>
                <a:gd name="T75" fmla="*/ 6 h 141"/>
                <a:gd name="T76" fmla="*/ 4 w 279"/>
                <a:gd name="T77" fmla="*/ 5 h 141"/>
                <a:gd name="T78" fmla="*/ 4 w 279"/>
                <a:gd name="T79" fmla="*/ 5 h 141"/>
                <a:gd name="T80" fmla="*/ 5 w 279"/>
                <a:gd name="T81" fmla="*/ 5 h 141"/>
                <a:gd name="T82" fmla="*/ 6 w 279"/>
                <a:gd name="T83" fmla="*/ 7 h 141"/>
                <a:gd name="T84" fmla="*/ 7 w 279"/>
                <a:gd name="T85" fmla="*/ 6 h 141"/>
                <a:gd name="T86" fmla="*/ 6 w 279"/>
                <a:gd name="T87" fmla="*/ 4 h 141"/>
                <a:gd name="T88" fmla="*/ 8 w 279"/>
                <a:gd name="T89" fmla="*/ 3 h 141"/>
                <a:gd name="T90" fmla="*/ 9 w 279"/>
                <a:gd name="T91" fmla="*/ 2 h 141"/>
                <a:gd name="T92" fmla="*/ 11 w 279"/>
                <a:gd name="T93" fmla="*/ 3 h 14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79"/>
                <a:gd name="T142" fmla="*/ 0 h 141"/>
                <a:gd name="T143" fmla="*/ 279 w 279"/>
                <a:gd name="T144" fmla="*/ 141 h 14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79" h="141">
                  <a:moveTo>
                    <a:pt x="209" y="47"/>
                  </a:moveTo>
                  <a:cubicBezTo>
                    <a:pt x="215" y="51"/>
                    <a:pt x="224" y="66"/>
                    <a:pt x="224" y="66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54" y="81"/>
                    <a:pt x="254" y="81"/>
                    <a:pt x="254" y="81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2" y="71"/>
                    <a:pt x="229" y="100"/>
                    <a:pt x="229" y="106"/>
                  </a:cubicBezTo>
                  <a:cubicBezTo>
                    <a:pt x="229" y="111"/>
                    <a:pt x="240" y="124"/>
                    <a:pt x="243" y="128"/>
                  </a:cubicBezTo>
                  <a:cubicBezTo>
                    <a:pt x="243" y="128"/>
                    <a:pt x="243" y="128"/>
                    <a:pt x="243" y="12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253" y="107"/>
                    <a:pt x="260" y="117"/>
                    <a:pt x="269" y="109"/>
                  </a:cubicBezTo>
                  <a:cubicBezTo>
                    <a:pt x="279" y="101"/>
                    <a:pt x="279" y="84"/>
                    <a:pt x="279" y="84"/>
                  </a:cubicBezTo>
                  <a:cubicBezTo>
                    <a:pt x="279" y="84"/>
                    <a:pt x="266" y="77"/>
                    <a:pt x="266" y="70"/>
                  </a:cubicBezTo>
                  <a:cubicBezTo>
                    <a:pt x="266" y="64"/>
                    <a:pt x="269" y="59"/>
                    <a:pt x="270" y="58"/>
                  </a:cubicBezTo>
                  <a:cubicBezTo>
                    <a:pt x="255" y="46"/>
                    <a:pt x="255" y="46"/>
                    <a:pt x="255" y="46"/>
                  </a:cubicBezTo>
                  <a:cubicBezTo>
                    <a:pt x="255" y="46"/>
                    <a:pt x="251" y="24"/>
                    <a:pt x="236" y="18"/>
                  </a:cubicBezTo>
                  <a:cubicBezTo>
                    <a:pt x="221" y="12"/>
                    <a:pt x="196" y="13"/>
                    <a:pt x="196" y="13"/>
                  </a:cubicBezTo>
                  <a:cubicBezTo>
                    <a:pt x="195" y="4"/>
                    <a:pt x="195" y="4"/>
                    <a:pt x="195" y="4"/>
                  </a:cubicBezTo>
                  <a:cubicBezTo>
                    <a:pt x="195" y="4"/>
                    <a:pt x="169" y="0"/>
                    <a:pt x="163" y="7"/>
                  </a:cubicBezTo>
                  <a:cubicBezTo>
                    <a:pt x="157" y="14"/>
                    <a:pt x="144" y="27"/>
                    <a:pt x="144" y="27"/>
                  </a:cubicBezTo>
                  <a:cubicBezTo>
                    <a:pt x="144" y="27"/>
                    <a:pt x="134" y="18"/>
                    <a:pt x="126" y="25"/>
                  </a:cubicBezTo>
                  <a:cubicBezTo>
                    <a:pt x="118" y="32"/>
                    <a:pt x="104" y="50"/>
                    <a:pt x="94" y="50"/>
                  </a:cubicBezTo>
                  <a:cubicBezTo>
                    <a:pt x="84" y="50"/>
                    <a:pt x="75" y="43"/>
                    <a:pt x="75" y="43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45" y="44"/>
                    <a:pt x="40" y="35"/>
                  </a:cubicBezTo>
                  <a:cubicBezTo>
                    <a:pt x="35" y="26"/>
                    <a:pt x="42" y="16"/>
                    <a:pt x="35" y="10"/>
                  </a:cubicBezTo>
                  <a:cubicBezTo>
                    <a:pt x="33" y="8"/>
                    <a:pt x="30" y="7"/>
                    <a:pt x="27" y="5"/>
                  </a:cubicBezTo>
                  <a:cubicBezTo>
                    <a:pt x="23" y="6"/>
                    <a:pt x="16" y="9"/>
                    <a:pt x="10" y="11"/>
                  </a:cubicBezTo>
                  <a:cubicBezTo>
                    <a:pt x="0" y="14"/>
                    <a:pt x="10" y="33"/>
                    <a:pt x="10" y="33"/>
                  </a:cubicBezTo>
                  <a:cubicBezTo>
                    <a:pt x="10" y="33"/>
                    <a:pt x="24" y="35"/>
                    <a:pt x="24" y="40"/>
                  </a:cubicBezTo>
                  <a:cubicBezTo>
                    <a:pt x="24" y="45"/>
                    <a:pt x="11" y="51"/>
                    <a:pt x="11" y="5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59" y="102"/>
                    <a:pt x="67" y="107"/>
                  </a:cubicBezTo>
                  <a:cubicBezTo>
                    <a:pt x="75" y="112"/>
                    <a:pt x="86" y="102"/>
                    <a:pt x="86" y="102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101" y="141"/>
                    <a:pt x="115" y="134"/>
                  </a:cubicBezTo>
                  <a:cubicBezTo>
                    <a:pt x="129" y="127"/>
                    <a:pt x="143" y="118"/>
                    <a:pt x="143" y="118"/>
                  </a:cubicBezTo>
                  <a:cubicBezTo>
                    <a:pt x="143" y="118"/>
                    <a:pt x="105" y="91"/>
                    <a:pt x="116" y="81"/>
                  </a:cubicBezTo>
                  <a:cubicBezTo>
                    <a:pt x="127" y="71"/>
                    <a:pt x="138" y="70"/>
                    <a:pt x="147" y="62"/>
                  </a:cubicBezTo>
                  <a:cubicBezTo>
                    <a:pt x="156" y="54"/>
                    <a:pt x="167" y="34"/>
                    <a:pt x="177" y="36"/>
                  </a:cubicBezTo>
                  <a:cubicBezTo>
                    <a:pt x="187" y="38"/>
                    <a:pt x="203" y="43"/>
                    <a:pt x="209" y="4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3F84B7AE-BB7A-B804-A775-35780ABBC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8764" y="3649034"/>
              <a:ext cx="126520" cy="126520"/>
            </a:xfrm>
            <a:custGeom>
              <a:avLst/>
              <a:gdLst>
                <a:gd name="T0" fmla="*/ 7 w 220"/>
                <a:gd name="T1" fmla="*/ 10 h 223"/>
                <a:gd name="T2" fmla="*/ 7 w 220"/>
                <a:gd name="T3" fmla="*/ 10 h 223"/>
                <a:gd name="T4" fmla="*/ 7 w 220"/>
                <a:gd name="T5" fmla="*/ 10 h 223"/>
                <a:gd name="T6" fmla="*/ 7 w 220"/>
                <a:gd name="T7" fmla="*/ 10 h 223"/>
                <a:gd name="T8" fmla="*/ 12 w 220"/>
                <a:gd name="T9" fmla="*/ 1 h 223"/>
                <a:gd name="T10" fmla="*/ 11 w 220"/>
                <a:gd name="T11" fmla="*/ 0 h 223"/>
                <a:gd name="T12" fmla="*/ 10 w 220"/>
                <a:gd name="T13" fmla="*/ 0 h 223"/>
                <a:gd name="T14" fmla="*/ 10 w 220"/>
                <a:gd name="T15" fmla="*/ 0 h 223"/>
                <a:gd name="T16" fmla="*/ 9 w 220"/>
                <a:gd name="T17" fmla="*/ 0 h 223"/>
                <a:gd name="T18" fmla="*/ 8 w 220"/>
                <a:gd name="T19" fmla="*/ 0 h 223"/>
                <a:gd name="T20" fmla="*/ 7 w 220"/>
                <a:gd name="T21" fmla="*/ 1 h 223"/>
                <a:gd name="T22" fmla="*/ 6 w 220"/>
                <a:gd name="T23" fmla="*/ 1 h 223"/>
                <a:gd name="T24" fmla="*/ 6 w 220"/>
                <a:gd name="T25" fmla="*/ 1 h 223"/>
                <a:gd name="T26" fmla="*/ 5 w 220"/>
                <a:gd name="T27" fmla="*/ 3 h 223"/>
                <a:gd name="T28" fmla="*/ 4 w 220"/>
                <a:gd name="T29" fmla="*/ 2 h 223"/>
                <a:gd name="T30" fmla="*/ 3 w 220"/>
                <a:gd name="T31" fmla="*/ 3 h 223"/>
                <a:gd name="T32" fmla="*/ 2 w 220"/>
                <a:gd name="T33" fmla="*/ 3 h 223"/>
                <a:gd name="T34" fmla="*/ 2 w 220"/>
                <a:gd name="T35" fmla="*/ 4 h 223"/>
                <a:gd name="T36" fmla="*/ 2 w 220"/>
                <a:gd name="T37" fmla="*/ 4 h 223"/>
                <a:gd name="T38" fmla="*/ 2 w 220"/>
                <a:gd name="T39" fmla="*/ 5 h 223"/>
                <a:gd name="T40" fmla="*/ 1 w 220"/>
                <a:gd name="T41" fmla="*/ 5 h 223"/>
                <a:gd name="T42" fmla="*/ 0 w 220"/>
                <a:gd name="T43" fmla="*/ 5 h 223"/>
                <a:gd name="T44" fmla="*/ 2 w 220"/>
                <a:gd name="T45" fmla="*/ 7 h 223"/>
                <a:gd name="T46" fmla="*/ 3 w 220"/>
                <a:gd name="T47" fmla="*/ 9 h 223"/>
                <a:gd name="T48" fmla="*/ 4 w 220"/>
                <a:gd name="T49" fmla="*/ 10 h 223"/>
                <a:gd name="T50" fmla="*/ 5 w 220"/>
                <a:gd name="T51" fmla="*/ 10 h 223"/>
                <a:gd name="T52" fmla="*/ 5 w 220"/>
                <a:gd name="T53" fmla="*/ 10 h 223"/>
                <a:gd name="T54" fmla="*/ 5 w 220"/>
                <a:gd name="T55" fmla="*/ 10 h 223"/>
                <a:gd name="T56" fmla="*/ 5 w 220"/>
                <a:gd name="T57" fmla="*/ 9 h 223"/>
                <a:gd name="T58" fmla="*/ 5 w 220"/>
                <a:gd name="T59" fmla="*/ 9 h 223"/>
                <a:gd name="T60" fmla="*/ 4 w 220"/>
                <a:gd name="T61" fmla="*/ 9 h 223"/>
                <a:gd name="T62" fmla="*/ 4 w 220"/>
                <a:gd name="T63" fmla="*/ 7 h 223"/>
                <a:gd name="T64" fmla="*/ 6 w 220"/>
                <a:gd name="T65" fmla="*/ 10 h 223"/>
                <a:gd name="T66" fmla="*/ 7 w 220"/>
                <a:gd name="T67" fmla="*/ 10 h 223"/>
                <a:gd name="T68" fmla="*/ 7 w 220"/>
                <a:gd name="T69" fmla="*/ 10 h 223"/>
                <a:gd name="T70" fmla="*/ 8 w 220"/>
                <a:gd name="T71" fmla="*/ 11 h 223"/>
                <a:gd name="T72" fmla="*/ 9 w 220"/>
                <a:gd name="T73" fmla="*/ 12 h 223"/>
                <a:gd name="T74" fmla="*/ 10 w 220"/>
                <a:gd name="T75" fmla="*/ 12 h 223"/>
                <a:gd name="T76" fmla="*/ 9 w 220"/>
                <a:gd name="T77" fmla="*/ 10 h 223"/>
                <a:gd name="T78" fmla="*/ 10 w 220"/>
                <a:gd name="T79" fmla="*/ 9 h 223"/>
                <a:gd name="T80" fmla="*/ 9 w 220"/>
                <a:gd name="T81" fmla="*/ 8 h 223"/>
                <a:gd name="T82" fmla="*/ 10 w 220"/>
                <a:gd name="T83" fmla="*/ 6 h 223"/>
                <a:gd name="T84" fmla="*/ 10 w 220"/>
                <a:gd name="T85" fmla="*/ 7 h 223"/>
                <a:gd name="T86" fmla="*/ 11 w 220"/>
                <a:gd name="T87" fmla="*/ 4 h 223"/>
                <a:gd name="T88" fmla="*/ 11 w 220"/>
                <a:gd name="T89" fmla="*/ 2 h 223"/>
                <a:gd name="T90" fmla="*/ 12 w 220"/>
                <a:gd name="T91" fmla="*/ 1 h 22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0"/>
                <a:gd name="T139" fmla="*/ 0 h 223"/>
                <a:gd name="T140" fmla="*/ 220 w 220"/>
                <a:gd name="T141" fmla="*/ 223 h 22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0" h="223">
                  <a:moveTo>
                    <a:pt x="128" y="204"/>
                  </a:move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lose/>
                  <a:moveTo>
                    <a:pt x="218" y="15"/>
                  </a:moveTo>
                  <a:cubicBezTo>
                    <a:pt x="216" y="10"/>
                    <a:pt x="210" y="5"/>
                    <a:pt x="211" y="1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2" y="2"/>
                    <a:pt x="185" y="2"/>
                    <a:pt x="181" y="2"/>
                  </a:cubicBezTo>
                  <a:cubicBezTo>
                    <a:pt x="177" y="2"/>
                    <a:pt x="178" y="11"/>
                    <a:pt x="168" y="12"/>
                  </a:cubicBezTo>
                  <a:cubicBezTo>
                    <a:pt x="158" y="13"/>
                    <a:pt x="152" y="2"/>
                    <a:pt x="143" y="1"/>
                  </a:cubicBezTo>
                  <a:cubicBezTo>
                    <a:pt x="134" y="0"/>
                    <a:pt x="133" y="20"/>
                    <a:pt x="133" y="20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1"/>
                    <a:pt x="107" y="54"/>
                    <a:pt x="92" y="54"/>
                  </a:cubicBezTo>
                  <a:cubicBezTo>
                    <a:pt x="77" y="54"/>
                    <a:pt x="86" y="46"/>
                    <a:pt x="78" y="45"/>
                  </a:cubicBezTo>
                  <a:cubicBezTo>
                    <a:pt x="70" y="44"/>
                    <a:pt x="65" y="59"/>
                    <a:pt x="65" y="59"/>
                  </a:cubicBezTo>
                  <a:cubicBezTo>
                    <a:pt x="65" y="59"/>
                    <a:pt x="60" y="58"/>
                    <a:pt x="45" y="58"/>
                  </a:cubicBezTo>
                  <a:cubicBezTo>
                    <a:pt x="30" y="58"/>
                    <a:pt x="44" y="85"/>
                    <a:pt x="44" y="85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9" y="96"/>
                    <a:pt x="33" y="98"/>
                  </a:cubicBezTo>
                  <a:cubicBezTo>
                    <a:pt x="27" y="100"/>
                    <a:pt x="19" y="102"/>
                    <a:pt x="19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6"/>
                    <a:pt x="40" y="167"/>
                    <a:pt x="50" y="175"/>
                  </a:cubicBezTo>
                  <a:cubicBezTo>
                    <a:pt x="59" y="182"/>
                    <a:pt x="77" y="196"/>
                    <a:pt x="80" y="199"/>
                  </a:cubicBezTo>
                  <a:cubicBezTo>
                    <a:pt x="83" y="198"/>
                    <a:pt x="89" y="197"/>
                    <a:pt x="92" y="198"/>
                  </a:cubicBezTo>
                  <a:cubicBezTo>
                    <a:pt x="92" y="197"/>
                    <a:pt x="92" y="197"/>
                    <a:pt x="92" y="197"/>
                  </a:cubicBezTo>
                  <a:cubicBezTo>
                    <a:pt x="89" y="195"/>
                    <a:pt x="78" y="191"/>
                    <a:pt x="81" y="187"/>
                  </a:cubicBezTo>
                  <a:cubicBezTo>
                    <a:pt x="84" y="183"/>
                    <a:pt x="99" y="188"/>
                    <a:pt x="95" y="181"/>
                  </a:cubicBezTo>
                  <a:cubicBezTo>
                    <a:pt x="91" y="175"/>
                    <a:pt x="90" y="175"/>
                    <a:pt x="90" y="175"/>
                  </a:cubicBezTo>
                  <a:cubicBezTo>
                    <a:pt x="90" y="175"/>
                    <a:pt x="79" y="179"/>
                    <a:pt x="79" y="177"/>
                  </a:cubicBezTo>
                  <a:cubicBezTo>
                    <a:pt x="78" y="175"/>
                    <a:pt x="72" y="147"/>
                    <a:pt x="79" y="149"/>
                  </a:cubicBezTo>
                  <a:cubicBezTo>
                    <a:pt x="86" y="151"/>
                    <a:pt x="119" y="177"/>
                    <a:pt x="123" y="185"/>
                  </a:cubicBezTo>
                  <a:cubicBezTo>
                    <a:pt x="126" y="189"/>
                    <a:pt x="127" y="197"/>
                    <a:pt x="128" y="204"/>
                  </a:cubicBezTo>
                  <a:cubicBezTo>
                    <a:pt x="129" y="204"/>
                    <a:pt x="131" y="204"/>
                    <a:pt x="132" y="204"/>
                  </a:cubicBezTo>
                  <a:cubicBezTo>
                    <a:pt x="145" y="205"/>
                    <a:pt x="150" y="211"/>
                    <a:pt x="150" y="211"/>
                  </a:cubicBezTo>
                  <a:cubicBezTo>
                    <a:pt x="150" y="211"/>
                    <a:pt x="150" y="223"/>
                    <a:pt x="162" y="223"/>
                  </a:cubicBezTo>
                  <a:cubicBezTo>
                    <a:pt x="168" y="223"/>
                    <a:pt x="176" y="222"/>
                    <a:pt x="183" y="220"/>
                  </a:cubicBezTo>
                  <a:cubicBezTo>
                    <a:pt x="180" y="218"/>
                    <a:pt x="170" y="205"/>
                    <a:pt x="170" y="192"/>
                  </a:cubicBezTo>
                  <a:cubicBezTo>
                    <a:pt x="170" y="177"/>
                    <a:pt x="182" y="181"/>
                    <a:pt x="182" y="172"/>
                  </a:cubicBezTo>
                  <a:cubicBezTo>
                    <a:pt x="182" y="163"/>
                    <a:pt x="177" y="151"/>
                    <a:pt x="177" y="151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4" y="74"/>
                    <a:pt x="194" y="74"/>
                    <a:pt x="194" y="74"/>
                  </a:cubicBezTo>
                  <a:cubicBezTo>
                    <a:pt x="194" y="74"/>
                    <a:pt x="200" y="53"/>
                    <a:pt x="209" y="44"/>
                  </a:cubicBezTo>
                  <a:cubicBezTo>
                    <a:pt x="218" y="35"/>
                    <a:pt x="220" y="20"/>
                    <a:pt x="218" y="1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3" name="Freeform 71">
              <a:extLst>
                <a:ext uri="{FF2B5EF4-FFF2-40B4-BE49-F238E27FC236}">
                  <a16:creationId xmlns:a16="http://schemas.microsoft.com/office/drawing/2014/main" id="{F16541A5-CF33-145C-801C-C893DD6F8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3823" y="3760309"/>
              <a:ext cx="92985" cy="88411"/>
            </a:xfrm>
            <a:custGeom>
              <a:avLst/>
              <a:gdLst>
                <a:gd name="T0" fmla="*/ 8 w 162"/>
                <a:gd name="T1" fmla="*/ 7 h 152"/>
                <a:gd name="T2" fmla="*/ 9 w 162"/>
                <a:gd name="T3" fmla="*/ 7 h 152"/>
                <a:gd name="T4" fmla="*/ 8 w 162"/>
                <a:gd name="T5" fmla="*/ 6 h 152"/>
                <a:gd name="T6" fmla="*/ 8 w 162"/>
                <a:gd name="T7" fmla="*/ 5 h 152"/>
                <a:gd name="T8" fmla="*/ 9 w 162"/>
                <a:gd name="T9" fmla="*/ 5 h 152"/>
                <a:gd name="T10" fmla="*/ 8 w 162"/>
                <a:gd name="T11" fmla="*/ 4 h 152"/>
                <a:gd name="T12" fmla="*/ 7 w 162"/>
                <a:gd name="T13" fmla="*/ 2 h 152"/>
                <a:gd name="T14" fmla="*/ 6 w 162"/>
                <a:gd name="T15" fmla="*/ 1 h 152"/>
                <a:gd name="T16" fmla="*/ 6 w 162"/>
                <a:gd name="T17" fmla="*/ 1 h 152"/>
                <a:gd name="T18" fmla="*/ 6 w 162"/>
                <a:gd name="T19" fmla="*/ 1 h 152"/>
                <a:gd name="T20" fmla="*/ 5 w 162"/>
                <a:gd name="T21" fmla="*/ 2 h 152"/>
                <a:gd name="T22" fmla="*/ 5 w 162"/>
                <a:gd name="T23" fmla="*/ 1 h 152"/>
                <a:gd name="T24" fmla="*/ 4 w 162"/>
                <a:gd name="T25" fmla="*/ 0 h 152"/>
                <a:gd name="T26" fmla="*/ 3 w 162"/>
                <a:gd name="T27" fmla="*/ 1 h 152"/>
                <a:gd name="T28" fmla="*/ 2 w 162"/>
                <a:gd name="T29" fmla="*/ 0 h 152"/>
                <a:gd name="T30" fmla="*/ 1 w 162"/>
                <a:gd name="T31" fmla="*/ 0 h 152"/>
                <a:gd name="T32" fmla="*/ 1 w 162"/>
                <a:gd name="T33" fmla="*/ 0 h 152"/>
                <a:gd name="T34" fmla="*/ 1 w 162"/>
                <a:gd name="T35" fmla="*/ 1 h 152"/>
                <a:gd name="T36" fmla="*/ 1 w 162"/>
                <a:gd name="T37" fmla="*/ 2 h 152"/>
                <a:gd name="T38" fmla="*/ 0 w 162"/>
                <a:gd name="T39" fmla="*/ 3 h 152"/>
                <a:gd name="T40" fmla="*/ 2 w 162"/>
                <a:gd name="T41" fmla="*/ 4 h 152"/>
                <a:gd name="T42" fmla="*/ 3 w 162"/>
                <a:gd name="T43" fmla="*/ 5 h 152"/>
                <a:gd name="T44" fmla="*/ 3 w 162"/>
                <a:gd name="T45" fmla="*/ 4 h 152"/>
                <a:gd name="T46" fmla="*/ 2 w 162"/>
                <a:gd name="T47" fmla="*/ 3 h 152"/>
                <a:gd name="T48" fmla="*/ 3 w 162"/>
                <a:gd name="T49" fmla="*/ 4 h 152"/>
                <a:gd name="T50" fmla="*/ 4 w 162"/>
                <a:gd name="T51" fmla="*/ 5 h 152"/>
                <a:gd name="T52" fmla="*/ 5 w 162"/>
                <a:gd name="T53" fmla="*/ 5 h 152"/>
                <a:gd name="T54" fmla="*/ 6 w 162"/>
                <a:gd name="T55" fmla="*/ 7 h 152"/>
                <a:gd name="T56" fmla="*/ 6 w 162"/>
                <a:gd name="T57" fmla="*/ 8 h 152"/>
                <a:gd name="T58" fmla="*/ 7 w 162"/>
                <a:gd name="T59" fmla="*/ 8 h 152"/>
                <a:gd name="T60" fmla="*/ 6 w 162"/>
                <a:gd name="T61" fmla="*/ 7 h 152"/>
                <a:gd name="T62" fmla="*/ 8 w 162"/>
                <a:gd name="T63" fmla="*/ 8 h 152"/>
                <a:gd name="T64" fmla="*/ 8 w 162"/>
                <a:gd name="T65" fmla="*/ 8 h 152"/>
                <a:gd name="T66" fmla="*/ 8 w 162"/>
                <a:gd name="T67" fmla="*/ 7 h 15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2"/>
                <a:gd name="T103" fmla="*/ 0 h 152"/>
                <a:gd name="T104" fmla="*/ 162 w 162"/>
                <a:gd name="T105" fmla="*/ 152 h 15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2" h="152">
                  <a:moveTo>
                    <a:pt x="146" y="133"/>
                  </a:moveTo>
                  <a:cubicBezTo>
                    <a:pt x="146" y="133"/>
                    <a:pt x="159" y="127"/>
                    <a:pt x="159" y="122"/>
                  </a:cubicBezTo>
                  <a:cubicBezTo>
                    <a:pt x="159" y="117"/>
                    <a:pt x="145" y="115"/>
                    <a:pt x="145" y="115"/>
                  </a:cubicBezTo>
                  <a:cubicBezTo>
                    <a:pt x="145" y="115"/>
                    <a:pt x="135" y="96"/>
                    <a:pt x="145" y="93"/>
                  </a:cubicBezTo>
                  <a:cubicBezTo>
                    <a:pt x="151" y="91"/>
                    <a:pt x="158" y="88"/>
                    <a:pt x="162" y="87"/>
                  </a:cubicBezTo>
                  <a:cubicBezTo>
                    <a:pt x="154" y="82"/>
                    <a:pt x="143" y="75"/>
                    <a:pt x="140" y="66"/>
                  </a:cubicBezTo>
                  <a:cubicBezTo>
                    <a:pt x="136" y="53"/>
                    <a:pt x="124" y="39"/>
                    <a:pt x="124" y="39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2" y="24"/>
                    <a:pt x="122" y="24"/>
                    <a:pt x="122" y="2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15" y="25"/>
                    <a:pt x="107" y="26"/>
                    <a:pt x="101" y="26"/>
                  </a:cubicBezTo>
                  <a:cubicBezTo>
                    <a:pt x="89" y="26"/>
                    <a:pt x="89" y="14"/>
                    <a:pt x="89" y="14"/>
                  </a:cubicBezTo>
                  <a:cubicBezTo>
                    <a:pt x="89" y="14"/>
                    <a:pt x="84" y="8"/>
                    <a:pt x="71" y="7"/>
                  </a:cubicBezTo>
                  <a:cubicBezTo>
                    <a:pt x="58" y="6"/>
                    <a:pt x="59" y="12"/>
                    <a:pt x="59" y="12"/>
                  </a:cubicBezTo>
                  <a:cubicBezTo>
                    <a:pt x="59" y="12"/>
                    <a:pt x="39" y="3"/>
                    <a:pt x="33" y="1"/>
                  </a:cubicBezTo>
                  <a:cubicBezTo>
                    <a:pt x="29" y="0"/>
                    <a:pt x="23" y="1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26" y="28"/>
                    <a:pt x="20" y="32"/>
                  </a:cubicBezTo>
                  <a:cubicBezTo>
                    <a:pt x="14" y="36"/>
                    <a:pt x="0" y="46"/>
                    <a:pt x="9" y="60"/>
                  </a:cubicBezTo>
                  <a:cubicBezTo>
                    <a:pt x="18" y="74"/>
                    <a:pt x="33" y="72"/>
                    <a:pt x="33" y="72"/>
                  </a:cubicBezTo>
                  <a:cubicBezTo>
                    <a:pt x="33" y="72"/>
                    <a:pt x="50" y="92"/>
                    <a:pt x="53" y="85"/>
                  </a:cubicBezTo>
                  <a:cubicBezTo>
                    <a:pt x="56" y="78"/>
                    <a:pt x="51" y="67"/>
                    <a:pt x="51" y="67"/>
                  </a:cubicBezTo>
                  <a:cubicBezTo>
                    <a:pt x="51" y="67"/>
                    <a:pt x="24" y="49"/>
                    <a:pt x="33" y="49"/>
                  </a:cubicBezTo>
                  <a:cubicBezTo>
                    <a:pt x="42" y="49"/>
                    <a:pt x="67" y="70"/>
                    <a:pt x="67" y="70"/>
                  </a:cubicBezTo>
                  <a:cubicBezTo>
                    <a:pt x="67" y="70"/>
                    <a:pt x="64" y="89"/>
                    <a:pt x="68" y="89"/>
                  </a:cubicBezTo>
                  <a:cubicBezTo>
                    <a:pt x="72" y="89"/>
                    <a:pt x="95" y="94"/>
                    <a:pt x="95" y="94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21"/>
                    <a:pt x="99" y="129"/>
                    <a:pt x="108" y="138"/>
                  </a:cubicBezTo>
                  <a:cubicBezTo>
                    <a:pt x="117" y="147"/>
                    <a:pt x="131" y="150"/>
                    <a:pt x="131" y="150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45" y="147"/>
                    <a:pt x="145" y="147"/>
                    <a:pt x="145" y="147"/>
                  </a:cubicBezTo>
                  <a:lnTo>
                    <a:pt x="146" y="133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321A6726-9E40-06DD-8204-81BF52223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663" y="2534751"/>
              <a:ext cx="164627" cy="147860"/>
            </a:xfrm>
            <a:custGeom>
              <a:avLst/>
              <a:gdLst>
                <a:gd name="T0" fmla="*/ 9 w 291"/>
                <a:gd name="T1" fmla="*/ 1 h 260"/>
                <a:gd name="T2" fmla="*/ 12 w 291"/>
                <a:gd name="T3" fmla="*/ 0 h 260"/>
                <a:gd name="T4" fmla="*/ 12 w 291"/>
                <a:gd name="T5" fmla="*/ 1 h 260"/>
                <a:gd name="T6" fmla="*/ 11 w 291"/>
                <a:gd name="T7" fmla="*/ 1 h 260"/>
                <a:gd name="T8" fmla="*/ 10 w 291"/>
                <a:gd name="T9" fmla="*/ 3 h 260"/>
                <a:gd name="T10" fmla="*/ 9 w 291"/>
                <a:gd name="T11" fmla="*/ 4 h 260"/>
                <a:gd name="T12" fmla="*/ 7 w 291"/>
                <a:gd name="T13" fmla="*/ 5 h 260"/>
                <a:gd name="T14" fmla="*/ 7 w 291"/>
                <a:gd name="T15" fmla="*/ 6 h 260"/>
                <a:gd name="T16" fmla="*/ 8 w 291"/>
                <a:gd name="T17" fmla="*/ 6 h 260"/>
                <a:gd name="T18" fmla="*/ 9 w 291"/>
                <a:gd name="T19" fmla="*/ 4 h 260"/>
                <a:gd name="T20" fmla="*/ 10 w 291"/>
                <a:gd name="T21" fmla="*/ 4 h 260"/>
                <a:gd name="T22" fmla="*/ 11 w 291"/>
                <a:gd name="T23" fmla="*/ 5 h 260"/>
                <a:gd name="T24" fmla="*/ 10 w 291"/>
                <a:gd name="T25" fmla="*/ 6 h 260"/>
                <a:gd name="T26" fmla="*/ 11 w 291"/>
                <a:gd name="T27" fmla="*/ 6 h 260"/>
                <a:gd name="T28" fmla="*/ 12 w 291"/>
                <a:gd name="T29" fmla="*/ 7 h 260"/>
                <a:gd name="T30" fmla="*/ 13 w 291"/>
                <a:gd name="T31" fmla="*/ 6 h 260"/>
                <a:gd name="T32" fmla="*/ 14 w 291"/>
                <a:gd name="T33" fmla="*/ 6 h 260"/>
                <a:gd name="T34" fmla="*/ 13 w 291"/>
                <a:gd name="T35" fmla="*/ 7 h 260"/>
                <a:gd name="T36" fmla="*/ 14 w 291"/>
                <a:gd name="T37" fmla="*/ 7 h 260"/>
                <a:gd name="T38" fmla="*/ 12 w 291"/>
                <a:gd name="T39" fmla="*/ 10 h 260"/>
                <a:gd name="T40" fmla="*/ 14 w 291"/>
                <a:gd name="T41" fmla="*/ 10 h 260"/>
                <a:gd name="T42" fmla="*/ 13 w 291"/>
                <a:gd name="T43" fmla="*/ 11 h 260"/>
                <a:gd name="T44" fmla="*/ 13 w 291"/>
                <a:gd name="T45" fmla="*/ 11 h 260"/>
                <a:gd name="T46" fmla="*/ 14 w 291"/>
                <a:gd name="T47" fmla="*/ 10 h 260"/>
                <a:gd name="T48" fmla="*/ 15 w 291"/>
                <a:gd name="T49" fmla="*/ 12 h 260"/>
                <a:gd name="T50" fmla="*/ 13 w 291"/>
                <a:gd name="T51" fmla="*/ 13 h 260"/>
                <a:gd name="T52" fmla="*/ 11 w 291"/>
                <a:gd name="T53" fmla="*/ 13 h 260"/>
                <a:gd name="T54" fmla="*/ 12 w 291"/>
                <a:gd name="T55" fmla="*/ 13 h 260"/>
                <a:gd name="T56" fmla="*/ 11 w 291"/>
                <a:gd name="T57" fmla="*/ 13 h 260"/>
                <a:gd name="T58" fmla="*/ 10 w 291"/>
                <a:gd name="T59" fmla="*/ 12 h 260"/>
                <a:gd name="T60" fmla="*/ 8 w 291"/>
                <a:gd name="T61" fmla="*/ 13 h 260"/>
                <a:gd name="T62" fmla="*/ 7 w 291"/>
                <a:gd name="T63" fmla="*/ 12 h 260"/>
                <a:gd name="T64" fmla="*/ 7 w 291"/>
                <a:gd name="T65" fmla="*/ 12 h 260"/>
                <a:gd name="T66" fmla="*/ 8 w 291"/>
                <a:gd name="T67" fmla="*/ 12 h 260"/>
                <a:gd name="T68" fmla="*/ 8 w 291"/>
                <a:gd name="T69" fmla="*/ 11 h 260"/>
                <a:gd name="T70" fmla="*/ 3 w 291"/>
                <a:gd name="T71" fmla="*/ 10 h 260"/>
                <a:gd name="T72" fmla="*/ 0 w 291"/>
                <a:gd name="T73" fmla="*/ 10 h 260"/>
                <a:gd name="T74" fmla="*/ 2 w 291"/>
                <a:gd name="T75" fmla="*/ 10 h 260"/>
                <a:gd name="T76" fmla="*/ 0 w 291"/>
                <a:gd name="T77" fmla="*/ 9 h 260"/>
                <a:gd name="T78" fmla="*/ 3 w 291"/>
                <a:gd name="T79" fmla="*/ 8 h 260"/>
                <a:gd name="T80" fmla="*/ 5 w 291"/>
                <a:gd name="T81" fmla="*/ 5 h 260"/>
                <a:gd name="T82" fmla="*/ 7 w 291"/>
                <a:gd name="T83" fmla="*/ 3 h 260"/>
                <a:gd name="T84" fmla="*/ 9 w 291"/>
                <a:gd name="T85" fmla="*/ 1 h 2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1"/>
                <a:gd name="T130" fmla="*/ 0 h 260"/>
                <a:gd name="T131" fmla="*/ 291 w 291"/>
                <a:gd name="T132" fmla="*/ 260 h 2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1" h="260">
                  <a:moveTo>
                    <a:pt x="180" y="17"/>
                  </a:moveTo>
                  <a:cubicBezTo>
                    <a:pt x="180" y="17"/>
                    <a:pt x="209" y="0"/>
                    <a:pt x="226" y="5"/>
                  </a:cubicBezTo>
                  <a:cubicBezTo>
                    <a:pt x="244" y="10"/>
                    <a:pt x="229" y="20"/>
                    <a:pt x="229" y="20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5" y="29"/>
                    <a:pt x="210" y="49"/>
                    <a:pt x="198" y="60"/>
                  </a:cubicBezTo>
                  <a:cubicBezTo>
                    <a:pt x="186" y="71"/>
                    <a:pt x="171" y="72"/>
                    <a:pt x="171" y="7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5" y="119"/>
                    <a:pt x="145" y="119"/>
                    <a:pt x="145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80" y="76"/>
                    <a:pt x="180" y="76"/>
                    <a:pt x="180" y="76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2" y="115"/>
                    <a:pt x="202" y="115"/>
                    <a:pt x="202" y="115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75" y="120"/>
                    <a:pt x="275" y="120"/>
                    <a:pt x="275" y="120"/>
                  </a:cubicBezTo>
                  <a:cubicBezTo>
                    <a:pt x="275" y="120"/>
                    <a:pt x="265" y="135"/>
                    <a:pt x="256" y="138"/>
                  </a:cubicBezTo>
                  <a:cubicBezTo>
                    <a:pt x="248" y="141"/>
                    <a:pt x="274" y="144"/>
                    <a:pt x="280" y="144"/>
                  </a:cubicBezTo>
                  <a:cubicBezTo>
                    <a:pt x="286" y="145"/>
                    <a:pt x="242" y="197"/>
                    <a:pt x="242" y="197"/>
                  </a:cubicBezTo>
                  <a:cubicBezTo>
                    <a:pt x="266" y="198"/>
                    <a:pt x="266" y="198"/>
                    <a:pt x="266" y="198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64" y="213"/>
                    <a:pt x="264" y="213"/>
                    <a:pt x="264" y="213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32" y="240"/>
                    <a:pt x="232" y="240"/>
                    <a:pt x="232" y="240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1" y="236"/>
                    <a:pt x="131" y="236"/>
                    <a:pt x="131" y="23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59" y="228"/>
                    <a:pt x="168" y="217"/>
                    <a:pt x="152" y="217"/>
                  </a:cubicBezTo>
                  <a:cubicBezTo>
                    <a:pt x="136" y="216"/>
                    <a:pt x="64" y="199"/>
                    <a:pt x="64" y="199"/>
                  </a:cubicBezTo>
                  <a:cubicBezTo>
                    <a:pt x="64" y="199"/>
                    <a:pt x="24" y="213"/>
                    <a:pt x="12" y="201"/>
                  </a:cubicBezTo>
                  <a:cubicBezTo>
                    <a:pt x="0" y="189"/>
                    <a:pt x="34" y="186"/>
                    <a:pt x="34" y="186"/>
                  </a:cubicBezTo>
                  <a:cubicBezTo>
                    <a:pt x="34" y="186"/>
                    <a:pt x="6" y="183"/>
                    <a:pt x="8" y="176"/>
                  </a:cubicBezTo>
                  <a:cubicBezTo>
                    <a:pt x="10" y="170"/>
                    <a:pt x="50" y="153"/>
                    <a:pt x="50" y="153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43" y="65"/>
                    <a:pt x="143" y="65"/>
                    <a:pt x="143" y="65"/>
                  </a:cubicBezTo>
                  <a:lnTo>
                    <a:pt x="180" y="1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5" name="Freeform 76">
              <a:extLst>
                <a:ext uri="{FF2B5EF4-FFF2-40B4-BE49-F238E27FC236}">
                  <a16:creationId xmlns:a16="http://schemas.microsoft.com/office/drawing/2014/main" id="{2150813A-B2E1-542F-FEBF-98D2F45C1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086" y="1716185"/>
              <a:ext cx="1071603" cy="579245"/>
            </a:xfrm>
            <a:custGeom>
              <a:avLst/>
              <a:gdLst>
                <a:gd name="T0" fmla="*/ 83 w 1891"/>
                <a:gd name="T1" fmla="*/ 3 h 1019"/>
                <a:gd name="T2" fmla="*/ 70 w 1891"/>
                <a:gd name="T3" fmla="*/ 3 h 1019"/>
                <a:gd name="T4" fmla="*/ 79 w 1891"/>
                <a:gd name="T5" fmla="*/ 1 h 1019"/>
                <a:gd name="T6" fmla="*/ 64 w 1891"/>
                <a:gd name="T7" fmla="*/ 0 h 1019"/>
                <a:gd name="T8" fmla="*/ 49 w 1891"/>
                <a:gd name="T9" fmla="*/ 1 h 1019"/>
                <a:gd name="T10" fmla="*/ 49 w 1891"/>
                <a:gd name="T11" fmla="*/ 3 h 1019"/>
                <a:gd name="T12" fmla="*/ 36 w 1891"/>
                <a:gd name="T13" fmla="*/ 3 h 1019"/>
                <a:gd name="T14" fmla="*/ 23 w 1891"/>
                <a:gd name="T15" fmla="*/ 4 h 1019"/>
                <a:gd name="T16" fmla="*/ 16 w 1891"/>
                <a:gd name="T17" fmla="*/ 7 h 1019"/>
                <a:gd name="T18" fmla="*/ 3 w 1891"/>
                <a:gd name="T19" fmla="*/ 11 h 1019"/>
                <a:gd name="T20" fmla="*/ 9 w 1891"/>
                <a:gd name="T21" fmla="*/ 12 h 1019"/>
                <a:gd name="T22" fmla="*/ 4 w 1891"/>
                <a:gd name="T23" fmla="*/ 13 h 1019"/>
                <a:gd name="T24" fmla="*/ 8 w 1891"/>
                <a:gd name="T25" fmla="*/ 14 h 1019"/>
                <a:gd name="T26" fmla="*/ 19 w 1891"/>
                <a:gd name="T27" fmla="*/ 15 h 1019"/>
                <a:gd name="T28" fmla="*/ 20 w 1891"/>
                <a:gd name="T29" fmla="*/ 19 h 1019"/>
                <a:gd name="T30" fmla="*/ 19 w 1891"/>
                <a:gd name="T31" fmla="*/ 23 h 1019"/>
                <a:gd name="T32" fmla="*/ 22 w 1891"/>
                <a:gd name="T33" fmla="*/ 24 h 1019"/>
                <a:gd name="T34" fmla="*/ 23 w 1891"/>
                <a:gd name="T35" fmla="*/ 26 h 1019"/>
                <a:gd name="T36" fmla="*/ 20 w 1891"/>
                <a:gd name="T37" fmla="*/ 27 h 1019"/>
                <a:gd name="T38" fmla="*/ 24 w 1891"/>
                <a:gd name="T39" fmla="*/ 29 h 1019"/>
                <a:gd name="T40" fmla="*/ 22 w 1891"/>
                <a:gd name="T41" fmla="*/ 31 h 1019"/>
                <a:gd name="T42" fmla="*/ 19 w 1891"/>
                <a:gd name="T43" fmla="*/ 31 h 1019"/>
                <a:gd name="T44" fmla="*/ 20 w 1891"/>
                <a:gd name="T45" fmla="*/ 33 h 1019"/>
                <a:gd name="T46" fmla="*/ 14 w 1891"/>
                <a:gd name="T47" fmla="*/ 35 h 1019"/>
                <a:gd name="T48" fmla="*/ 13 w 1891"/>
                <a:gd name="T49" fmla="*/ 37 h 1019"/>
                <a:gd name="T50" fmla="*/ 16 w 1891"/>
                <a:gd name="T51" fmla="*/ 40 h 1019"/>
                <a:gd name="T52" fmla="*/ 18 w 1891"/>
                <a:gd name="T53" fmla="*/ 40 h 1019"/>
                <a:gd name="T54" fmla="*/ 14 w 1891"/>
                <a:gd name="T55" fmla="*/ 43 h 1019"/>
                <a:gd name="T56" fmla="*/ 16 w 1891"/>
                <a:gd name="T57" fmla="*/ 45 h 1019"/>
                <a:gd name="T58" fmla="*/ 17 w 1891"/>
                <a:gd name="T59" fmla="*/ 49 h 1019"/>
                <a:gd name="T60" fmla="*/ 22 w 1891"/>
                <a:gd name="T61" fmla="*/ 49 h 1019"/>
                <a:gd name="T62" fmla="*/ 23 w 1891"/>
                <a:gd name="T63" fmla="*/ 52 h 1019"/>
                <a:gd name="T64" fmla="*/ 28 w 1891"/>
                <a:gd name="T65" fmla="*/ 50 h 1019"/>
                <a:gd name="T66" fmla="*/ 30 w 1891"/>
                <a:gd name="T67" fmla="*/ 48 h 1019"/>
                <a:gd name="T68" fmla="*/ 31 w 1891"/>
                <a:gd name="T69" fmla="*/ 45 h 1019"/>
                <a:gd name="T70" fmla="*/ 35 w 1891"/>
                <a:gd name="T71" fmla="*/ 44 h 1019"/>
                <a:gd name="T72" fmla="*/ 35 w 1891"/>
                <a:gd name="T73" fmla="*/ 40 h 1019"/>
                <a:gd name="T74" fmla="*/ 41 w 1891"/>
                <a:gd name="T75" fmla="*/ 38 h 1019"/>
                <a:gd name="T76" fmla="*/ 43 w 1891"/>
                <a:gd name="T77" fmla="*/ 37 h 1019"/>
                <a:gd name="T78" fmla="*/ 54 w 1891"/>
                <a:gd name="T79" fmla="*/ 31 h 1019"/>
                <a:gd name="T80" fmla="*/ 67 w 1891"/>
                <a:gd name="T81" fmla="*/ 30 h 1019"/>
                <a:gd name="T82" fmla="*/ 72 w 1891"/>
                <a:gd name="T83" fmla="*/ 28 h 1019"/>
                <a:gd name="T84" fmla="*/ 68 w 1891"/>
                <a:gd name="T85" fmla="*/ 26 h 1019"/>
                <a:gd name="T86" fmla="*/ 68 w 1891"/>
                <a:gd name="T87" fmla="*/ 25 h 1019"/>
                <a:gd name="T88" fmla="*/ 67 w 1891"/>
                <a:gd name="T89" fmla="*/ 24 h 1019"/>
                <a:gd name="T90" fmla="*/ 75 w 1891"/>
                <a:gd name="T91" fmla="*/ 26 h 1019"/>
                <a:gd name="T92" fmla="*/ 73 w 1891"/>
                <a:gd name="T93" fmla="*/ 23 h 1019"/>
                <a:gd name="T94" fmla="*/ 67 w 1891"/>
                <a:gd name="T95" fmla="*/ 21 h 1019"/>
                <a:gd name="T96" fmla="*/ 75 w 1891"/>
                <a:gd name="T97" fmla="*/ 22 h 1019"/>
                <a:gd name="T98" fmla="*/ 77 w 1891"/>
                <a:gd name="T99" fmla="*/ 20 h 1019"/>
                <a:gd name="T100" fmla="*/ 80 w 1891"/>
                <a:gd name="T101" fmla="*/ 18 h 1019"/>
                <a:gd name="T102" fmla="*/ 77 w 1891"/>
                <a:gd name="T103" fmla="*/ 16 h 1019"/>
                <a:gd name="T104" fmla="*/ 78 w 1891"/>
                <a:gd name="T105" fmla="*/ 13 h 1019"/>
                <a:gd name="T106" fmla="*/ 83 w 1891"/>
                <a:gd name="T107" fmla="*/ 11 h 1019"/>
                <a:gd name="T108" fmla="*/ 85 w 1891"/>
                <a:gd name="T109" fmla="*/ 8 h 1019"/>
                <a:gd name="T110" fmla="*/ 85 w 1891"/>
                <a:gd name="T111" fmla="*/ 6 h 1019"/>
                <a:gd name="T112" fmla="*/ 92 w 1891"/>
                <a:gd name="T113" fmla="*/ 5 h 101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91"/>
                <a:gd name="T172" fmla="*/ 0 h 1019"/>
                <a:gd name="T173" fmla="*/ 1891 w 1891"/>
                <a:gd name="T174" fmla="*/ 1019 h 101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91" h="1019">
                  <a:moveTo>
                    <a:pt x="1845" y="57"/>
                  </a:moveTo>
                  <a:cubicBezTo>
                    <a:pt x="1825" y="57"/>
                    <a:pt x="1757" y="51"/>
                    <a:pt x="1752" y="57"/>
                  </a:cubicBezTo>
                  <a:cubicBezTo>
                    <a:pt x="1747" y="63"/>
                    <a:pt x="1722" y="69"/>
                    <a:pt x="1711" y="69"/>
                  </a:cubicBezTo>
                  <a:cubicBezTo>
                    <a:pt x="1700" y="69"/>
                    <a:pt x="1655" y="60"/>
                    <a:pt x="1647" y="64"/>
                  </a:cubicBezTo>
                  <a:cubicBezTo>
                    <a:pt x="1639" y="68"/>
                    <a:pt x="1587" y="83"/>
                    <a:pt x="1581" y="86"/>
                  </a:cubicBezTo>
                  <a:cubicBezTo>
                    <a:pt x="1575" y="89"/>
                    <a:pt x="1523" y="101"/>
                    <a:pt x="1532" y="94"/>
                  </a:cubicBezTo>
                  <a:cubicBezTo>
                    <a:pt x="1541" y="87"/>
                    <a:pt x="1615" y="71"/>
                    <a:pt x="1610" y="61"/>
                  </a:cubicBezTo>
                  <a:cubicBezTo>
                    <a:pt x="1605" y="51"/>
                    <a:pt x="1576" y="48"/>
                    <a:pt x="1565" y="52"/>
                  </a:cubicBezTo>
                  <a:cubicBezTo>
                    <a:pt x="1554" y="56"/>
                    <a:pt x="1536" y="63"/>
                    <a:pt x="1536" y="63"/>
                  </a:cubicBezTo>
                  <a:cubicBezTo>
                    <a:pt x="1457" y="73"/>
                    <a:pt x="1457" y="73"/>
                    <a:pt x="1457" y="73"/>
                  </a:cubicBezTo>
                  <a:cubicBezTo>
                    <a:pt x="1457" y="73"/>
                    <a:pt x="1531" y="55"/>
                    <a:pt x="1513" y="54"/>
                  </a:cubicBezTo>
                  <a:cubicBezTo>
                    <a:pt x="1495" y="53"/>
                    <a:pt x="1427" y="52"/>
                    <a:pt x="1427" y="52"/>
                  </a:cubicBezTo>
                  <a:cubicBezTo>
                    <a:pt x="1403" y="57"/>
                    <a:pt x="1403" y="57"/>
                    <a:pt x="1403" y="57"/>
                  </a:cubicBezTo>
                  <a:cubicBezTo>
                    <a:pt x="1358" y="53"/>
                    <a:pt x="1358" y="53"/>
                    <a:pt x="1358" y="53"/>
                  </a:cubicBezTo>
                  <a:cubicBezTo>
                    <a:pt x="1358" y="53"/>
                    <a:pt x="1307" y="68"/>
                    <a:pt x="1309" y="61"/>
                  </a:cubicBezTo>
                  <a:cubicBezTo>
                    <a:pt x="1311" y="54"/>
                    <a:pt x="1371" y="47"/>
                    <a:pt x="1392" y="47"/>
                  </a:cubicBezTo>
                  <a:cubicBezTo>
                    <a:pt x="1413" y="47"/>
                    <a:pt x="1548" y="45"/>
                    <a:pt x="1557" y="45"/>
                  </a:cubicBezTo>
                  <a:cubicBezTo>
                    <a:pt x="1566" y="45"/>
                    <a:pt x="1645" y="43"/>
                    <a:pt x="1636" y="35"/>
                  </a:cubicBezTo>
                  <a:cubicBezTo>
                    <a:pt x="1627" y="27"/>
                    <a:pt x="1577" y="24"/>
                    <a:pt x="1558" y="27"/>
                  </a:cubicBezTo>
                  <a:cubicBezTo>
                    <a:pt x="1539" y="30"/>
                    <a:pt x="1526" y="29"/>
                    <a:pt x="1526" y="29"/>
                  </a:cubicBezTo>
                  <a:cubicBezTo>
                    <a:pt x="1526" y="29"/>
                    <a:pt x="1551" y="18"/>
                    <a:pt x="1535" y="17"/>
                  </a:cubicBezTo>
                  <a:cubicBezTo>
                    <a:pt x="1519" y="16"/>
                    <a:pt x="1492" y="19"/>
                    <a:pt x="1492" y="19"/>
                  </a:cubicBezTo>
                  <a:cubicBezTo>
                    <a:pt x="1492" y="19"/>
                    <a:pt x="1462" y="18"/>
                    <a:pt x="1455" y="16"/>
                  </a:cubicBezTo>
                  <a:cubicBezTo>
                    <a:pt x="1448" y="14"/>
                    <a:pt x="1483" y="17"/>
                    <a:pt x="1490" y="10"/>
                  </a:cubicBezTo>
                  <a:cubicBezTo>
                    <a:pt x="1497" y="3"/>
                    <a:pt x="1454" y="5"/>
                    <a:pt x="1432" y="5"/>
                  </a:cubicBezTo>
                  <a:cubicBezTo>
                    <a:pt x="1410" y="5"/>
                    <a:pt x="1355" y="8"/>
                    <a:pt x="1355" y="8"/>
                  </a:cubicBezTo>
                  <a:cubicBezTo>
                    <a:pt x="1355" y="8"/>
                    <a:pt x="1315" y="4"/>
                    <a:pt x="1292" y="2"/>
                  </a:cubicBezTo>
                  <a:cubicBezTo>
                    <a:pt x="1269" y="0"/>
                    <a:pt x="1246" y="5"/>
                    <a:pt x="1237" y="6"/>
                  </a:cubicBezTo>
                  <a:cubicBezTo>
                    <a:pt x="1228" y="7"/>
                    <a:pt x="1210" y="7"/>
                    <a:pt x="1188" y="6"/>
                  </a:cubicBezTo>
                  <a:cubicBezTo>
                    <a:pt x="1166" y="5"/>
                    <a:pt x="1144" y="5"/>
                    <a:pt x="1146" y="10"/>
                  </a:cubicBezTo>
                  <a:cubicBezTo>
                    <a:pt x="1148" y="15"/>
                    <a:pt x="1177" y="16"/>
                    <a:pt x="1177" y="16"/>
                  </a:cubicBezTo>
                  <a:cubicBezTo>
                    <a:pt x="1177" y="16"/>
                    <a:pt x="1142" y="21"/>
                    <a:pt x="1129" y="20"/>
                  </a:cubicBezTo>
                  <a:cubicBezTo>
                    <a:pt x="1116" y="19"/>
                    <a:pt x="1061" y="13"/>
                    <a:pt x="1047" y="11"/>
                  </a:cubicBezTo>
                  <a:cubicBezTo>
                    <a:pt x="1033" y="9"/>
                    <a:pt x="995" y="13"/>
                    <a:pt x="990" y="13"/>
                  </a:cubicBezTo>
                  <a:cubicBezTo>
                    <a:pt x="985" y="13"/>
                    <a:pt x="935" y="19"/>
                    <a:pt x="956" y="24"/>
                  </a:cubicBezTo>
                  <a:cubicBezTo>
                    <a:pt x="977" y="29"/>
                    <a:pt x="1046" y="31"/>
                    <a:pt x="1046" y="31"/>
                  </a:cubicBezTo>
                  <a:cubicBezTo>
                    <a:pt x="1103" y="38"/>
                    <a:pt x="1103" y="38"/>
                    <a:pt x="1103" y="38"/>
                  </a:cubicBezTo>
                  <a:cubicBezTo>
                    <a:pt x="1103" y="38"/>
                    <a:pt x="1048" y="40"/>
                    <a:pt x="1040" y="40"/>
                  </a:cubicBezTo>
                  <a:cubicBezTo>
                    <a:pt x="1032" y="40"/>
                    <a:pt x="984" y="27"/>
                    <a:pt x="985" y="31"/>
                  </a:cubicBezTo>
                  <a:cubicBezTo>
                    <a:pt x="986" y="35"/>
                    <a:pt x="1006" y="38"/>
                    <a:pt x="1006" y="38"/>
                  </a:cubicBezTo>
                  <a:cubicBezTo>
                    <a:pt x="975" y="41"/>
                    <a:pt x="975" y="41"/>
                    <a:pt x="975" y="41"/>
                  </a:cubicBezTo>
                  <a:cubicBezTo>
                    <a:pt x="975" y="41"/>
                    <a:pt x="958" y="55"/>
                    <a:pt x="962" y="59"/>
                  </a:cubicBezTo>
                  <a:cubicBezTo>
                    <a:pt x="966" y="63"/>
                    <a:pt x="938" y="64"/>
                    <a:pt x="925" y="56"/>
                  </a:cubicBezTo>
                  <a:cubicBezTo>
                    <a:pt x="912" y="48"/>
                    <a:pt x="885" y="42"/>
                    <a:pt x="859" y="40"/>
                  </a:cubicBezTo>
                  <a:cubicBezTo>
                    <a:pt x="833" y="38"/>
                    <a:pt x="804" y="38"/>
                    <a:pt x="804" y="38"/>
                  </a:cubicBezTo>
                  <a:cubicBezTo>
                    <a:pt x="806" y="58"/>
                    <a:pt x="806" y="58"/>
                    <a:pt x="806" y="58"/>
                  </a:cubicBezTo>
                  <a:cubicBezTo>
                    <a:pt x="806" y="58"/>
                    <a:pt x="786" y="61"/>
                    <a:pt x="773" y="59"/>
                  </a:cubicBezTo>
                  <a:cubicBezTo>
                    <a:pt x="760" y="57"/>
                    <a:pt x="736" y="49"/>
                    <a:pt x="728" y="51"/>
                  </a:cubicBezTo>
                  <a:cubicBezTo>
                    <a:pt x="720" y="53"/>
                    <a:pt x="702" y="62"/>
                    <a:pt x="702" y="62"/>
                  </a:cubicBezTo>
                  <a:cubicBezTo>
                    <a:pt x="702" y="62"/>
                    <a:pt x="713" y="44"/>
                    <a:pt x="700" y="44"/>
                  </a:cubicBezTo>
                  <a:cubicBezTo>
                    <a:pt x="687" y="44"/>
                    <a:pt x="616" y="45"/>
                    <a:pt x="597" y="48"/>
                  </a:cubicBezTo>
                  <a:cubicBezTo>
                    <a:pt x="578" y="51"/>
                    <a:pt x="545" y="44"/>
                    <a:pt x="550" y="49"/>
                  </a:cubicBezTo>
                  <a:cubicBezTo>
                    <a:pt x="555" y="54"/>
                    <a:pt x="590" y="71"/>
                    <a:pt x="590" y="71"/>
                  </a:cubicBezTo>
                  <a:cubicBezTo>
                    <a:pt x="590" y="71"/>
                    <a:pt x="536" y="54"/>
                    <a:pt x="527" y="54"/>
                  </a:cubicBezTo>
                  <a:cubicBezTo>
                    <a:pt x="518" y="54"/>
                    <a:pt x="491" y="49"/>
                    <a:pt x="487" y="59"/>
                  </a:cubicBezTo>
                  <a:cubicBezTo>
                    <a:pt x="483" y="69"/>
                    <a:pt x="465" y="80"/>
                    <a:pt x="452" y="80"/>
                  </a:cubicBezTo>
                  <a:cubicBezTo>
                    <a:pt x="439" y="80"/>
                    <a:pt x="402" y="80"/>
                    <a:pt x="402" y="80"/>
                  </a:cubicBezTo>
                  <a:cubicBezTo>
                    <a:pt x="402" y="80"/>
                    <a:pt x="328" y="94"/>
                    <a:pt x="324" y="95"/>
                  </a:cubicBezTo>
                  <a:cubicBezTo>
                    <a:pt x="320" y="96"/>
                    <a:pt x="248" y="106"/>
                    <a:pt x="259" y="113"/>
                  </a:cubicBezTo>
                  <a:cubicBezTo>
                    <a:pt x="270" y="120"/>
                    <a:pt x="310" y="122"/>
                    <a:pt x="315" y="121"/>
                  </a:cubicBezTo>
                  <a:cubicBezTo>
                    <a:pt x="320" y="120"/>
                    <a:pt x="335" y="118"/>
                    <a:pt x="335" y="118"/>
                  </a:cubicBezTo>
                  <a:cubicBezTo>
                    <a:pt x="311" y="128"/>
                    <a:pt x="311" y="128"/>
                    <a:pt x="311" y="128"/>
                  </a:cubicBezTo>
                  <a:cubicBezTo>
                    <a:pt x="300" y="139"/>
                    <a:pt x="300" y="139"/>
                    <a:pt x="300" y="139"/>
                  </a:cubicBezTo>
                  <a:cubicBezTo>
                    <a:pt x="300" y="139"/>
                    <a:pt x="253" y="157"/>
                    <a:pt x="236" y="157"/>
                  </a:cubicBezTo>
                  <a:cubicBezTo>
                    <a:pt x="219" y="157"/>
                    <a:pt x="151" y="157"/>
                    <a:pt x="137" y="169"/>
                  </a:cubicBezTo>
                  <a:cubicBezTo>
                    <a:pt x="123" y="181"/>
                    <a:pt x="112" y="167"/>
                    <a:pt x="112" y="167"/>
                  </a:cubicBezTo>
                  <a:cubicBezTo>
                    <a:pt x="90" y="176"/>
                    <a:pt x="90" y="176"/>
                    <a:pt x="90" y="176"/>
                  </a:cubicBezTo>
                  <a:cubicBezTo>
                    <a:pt x="57" y="175"/>
                    <a:pt x="57" y="175"/>
                    <a:pt x="57" y="175"/>
                  </a:cubicBezTo>
                  <a:cubicBezTo>
                    <a:pt x="57" y="175"/>
                    <a:pt x="0" y="181"/>
                    <a:pt x="14" y="191"/>
                  </a:cubicBezTo>
                  <a:cubicBezTo>
                    <a:pt x="28" y="201"/>
                    <a:pt x="51" y="212"/>
                    <a:pt x="51" y="21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71" y="204"/>
                    <a:pt x="73" y="216"/>
                    <a:pt x="83" y="219"/>
                  </a:cubicBezTo>
                  <a:cubicBezTo>
                    <a:pt x="93" y="222"/>
                    <a:pt x="116" y="209"/>
                    <a:pt x="116" y="209"/>
                  </a:cubicBezTo>
                  <a:cubicBezTo>
                    <a:pt x="116" y="209"/>
                    <a:pt x="112" y="220"/>
                    <a:pt x="122" y="220"/>
                  </a:cubicBezTo>
                  <a:cubicBezTo>
                    <a:pt x="132" y="220"/>
                    <a:pt x="169" y="204"/>
                    <a:pt x="176" y="209"/>
                  </a:cubicBezTo>
                  <a:cubicBezTo>
                    <a:pt x="183" y="214"/>
                    <a:pt x="181" y="220"/>
                    <a:pt x="181" y="220"/>
                  </a:cubicBezTo>
                  <a:cubicBezTo>
                    <a:pt x="170" y="221"/>
                    <a:pt x="170" y="221"/>
                    <a:pt x="170" y="221"/>
                  </a:cubicBezTo>
                  <a:cubicBezTo>
                    <a:pt x="170" y="221"/>
                    <a:pt x="162" y="232"/>
                    <a:pt x="155" y="232"/>
                  </a:cubicBezTo>
                  <a:cubicBezTo>
                    <a:pt x="148" y="232"/>
                    <a:pt x="152" y="226"/>
                    <a:pt x="141" y="226"/>
                  </a:cubicBezTo>
                  <a:cubicBezTo>
                    <a:pt x="130" y="226"/>
                    <a:pt x="96" y="231"/>
                    <a:pt x="96" y="231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31" y="208"/>
                    <a:pt x="20" y="227"/>
                  </a:cubicBezTo>
                  <a:cubicBezTo>
                    <a:pt x="9" y="246"/>
                    <a:pt x="36" y="252"/>
                    <a:pt x="44" y="251"/>
                  </a:cubicBezTo>
                  <a:cubicBezTo>
                    <a:pt x="52" y="250"/>
                    <a:pt x="79" y="251"/>
                    <a:pt x="79" y="251"/>
                  </a:cubicBezTo>
                  <a:cubicBezTo>
                    <a:pt x="79" y="251"/>
                    <a:pt x="36" y="254"/>
                    <a:pt x="41" y="261"/>
                  </a:cubicBezTo>
                  <a:cubicBezTo>
                    <a:pt x="46" y="268"/>
                    <a:pt x="74" y="274"/>
                    <a:pt x="74" y="274"/>
                  </a:cubicBezTo>
                  <a:cubicBezTo>
                    <a:pt x="98" y="277"/>
                    <a:pt x="98" y="277"/>
                    <a:pt x="98" y="277"/>
                  </a:cubicBezTo>
                  <a:cubicBezTo>
                    <a:pt x="98" y="277"/>
                    <a:pt x="99" y="267"/>
                    <a:pt x="106" y="266"/>
                  </a:cubicBezTo>
                  <a:cubicBezTo>
                    <a:pt x="113" y="265"/>
                    <a:pt x="121" y="276"/>
                    <a:pt x="121" y="276"/>
                  </a:cubicBezTo>
                  <a:cubicBezTo>
                    <a:pt x="144" y="267"/>
                    <a:pt x="144" y="267"/>
                    <a:pt x="144" y="267"/>
                  </a:cubicBezTo>
                  <a:cubicBezTo>
                    <a:pt x="144" y="267"/>
                    <a:pt x="148" y="277"/>
                    <a:pt x="151" y="277"/>
                  </a:cubicBezTo>
                  <a:cubicBezTo>
                    <a:pt x="154" y="277"/>
                    <a:pt x="184" y="263"/>
                    <a:pt x="193" y="265"/>
                  </a:cubicBezTo>
                  <a:cubicBezTo>
                    <a:pt x="202" y="267"/>
                    <a:pt x="209" y="271"/>
                    <a:pt x="214" y="271"/>
                  </a:cubicBezTo>
                  <a:cubicBezTo>
                    <a:pt x="219" y="271"/>
                    <a:pt x="230" y="262"/>
                    <a:pt x="236" y="262"/>
                  </a:cubicBezTo>
                  <a:cubicBezTo>
                    <a:pt x="242" y="262"/>
                    <a:pt x="259" y="273"/>
                    <a:pt x="259" y="273"/>
                  </a:cubicBezTo>
                  <a:cubicBezTo>
                    <a:pt x="259" y="273"/>
                    <a:pt x="291" y="268"/>
                    <a:pt x="313" y="274"/>
                  </a:cubicBezTo>
                  <a:cubicBezTo>
                    <a:pt x="335" y="280"/>
                    <a:pt x="339" y="291"/>
                    <a:pt x="339" y="291"/>
                  </a:cubicBezTo>
                  <a:cubicBezTo>
                    <a:pt x="339" y="291"/>
                    <a:pt x="361" y="286"/>
                    <a:pt x="361" y="291"/>
                  </a:cubicBezTo>
                  <a:cubicBezTo>
                    <a:pt x="361" y="296"/>
                    <a:pt x="351" y="306"/>
                    <a:pt x="351" y="306"/>
                  </a:cubicBezTo>
                  <a:cubicBezTo>
                    <a:pt x="357" y="315"/>
                    <a:pt x="357" y="315"/>
                    <a:pt x="357" y="315"/>
                  </a:cubicBezTo>
                  <a:cubicBezTo>
                    <a:pt x="357" y="315"/>
                    <a:pt x="390" y="321"/>
                    <a:pt x="390" y="330"/>
                  </a:cubicBezTo>
                  <a:cubicBezTo>
                    <a:pt x="390" y="339"/>
                    <a:pt x="374" y="343"/>
                    <a:pt x="374" y="343"/>
                  </a:cubicBezTo>
                  <a:cubicBezTo>
                    <a:pt x="383" y="359"/>
                    <a:pt x="383" y="359"/>
                    <a:pt x="383" y="359"/>
                  </a:cubicBezTo>
                  <a:cubicBezTo>
                    <a:pt x="399" y="369"/>
                    <a:pt x="399" y="369"/>
                    <a:pt x="399" y="369"/>
                  </a:cubicBezTo>
                  <a:cubicBezTo>
                    <a:pt x="385" y="374"/>
                    <a:pt x="385" y="374"/>
                    <a:pt x="385" y="374"/>
                  </a:cubicBezTo>
                  <a:cubicBezTo>
                    <a:pt x="395" y="387"/>
                    <a:pt x="395" y="387"/>
                    <a:pt x="395" y="387"/>
                  </a:cubicBezTo>
                  <a:cubicBezTo>
                    <a:pt x="395" y="387"/>
                    <a:pt x="383" y="386"/>
                    <a:pt x="383" y="395"/>
                  </a:cubicBezTo>
                  <a:cubicBezTo>
                    <a:pt x="383" y="404"/>
                    <a:pt x="405" y="407"/>
                    <a:pt x="402" y="412"/>
                  </a:cubicBezTo>
                  <a:cubicBezTo>
                    <a:pt x="399" y="417"/>
                    <a:pt x="380" y="426"/>
                    <a:pt x="380" y="426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88" y="433"/>
                    <a:pt x="347" y="438"/>
                    <a:pt x="348" y="441"/>
                  </a:cubicBezTo>
                  <a:cubicBezTo>
                    <a:pt x="349" y="444"/>
                    <a:pt x="357" y="446"/>
                    <a:pt x="370" y="445"/>
                  </a:cubicBezTo>
                  <a:cubicBezTo>
                    <a:pt x="383" y="444"/>
                    <a:pt x="367" y="455"/>
                    <a:pt x="367" y="455"/>
                  </a:cubicBezTo>
                  <a:cubicBezTo>
                    <a:pt x="367" y="455"/>
                    <a:pt x="316" y="456"/>
                    <a:pt x="328" y="465"/>
                  </a:cubicBezTo>
                  <a:cubicBezTo>
                    <a:pt x="340" y="474"/>
                    <a:pt x="353" y="479"/>
                    <a:pt x="369" y="478"/>
                  </a:cubicBezTo>
                  <a:cubicBezTo>
                    <a:pt x="385" y="477"/>
                    <a:pt x="389" y="467"/>
                    <a:pt x="389" y="467"/>
                  </a:cubicBezTo>
                  <a:cubicBezTo>
                    <a:pt x="389" y="467"/>
                    <a:pt x="416" y="469"/>
                    <a:pt x="414" y="460"/>
                  </a:cubicBezTo>
                  <a:cubicBezTo>
                    <a:pt x="412" y="451"/>
                    <a:pt x="419" y="439"/>
                    <a:pt x="419" y="439"/>
                  </a:cubicBezTo>
                  <a:cubicBezTo>
                    <a:pt x="421" y="458"/>
                    <a:pt x="421" y="458"/>
                    <a:pt x="421" y="458"/>
                  </a:cubicBezTo>
                  <a:cubicBezTo>
                    <a:pt x="438" y="447"/>
                    <a:pt x="438" y="447"/>
                    <a:pt x="438" y="447"/>
                  </a:cubicBezTo>
                  <a:cubicBezTo>
                    <a:pt x="438" y="447"/>
                    <a:pt x="430" y="453"/>
                    <a:pt x="434" y="458"/>
                  </a:cubicBezTo>
                  <a:cubicBezTo>
                    <a:pt x="438" y="463"/>
                    <a:pt x="463" y="465"/>
                    <a:pt x="463" y="465"/>
                  </a:cubicBezTo>
                  <a:cubicBezTo>
                    <a:pt x="454" y="471"/>
                    <a:pt x="454" y="471"/>
                    <a:pt x="454" y="471"/>
                  </a:cubicBezTo>
                  <a:cubicBezTo>
                    <a:pt x="454" y="471"/>
                    <a:pt x="448" y="484"/>
                    <a:pt x="457" y="487"/>
                  </a:cubicBezTo>
                  <a:cubicBezTo>
                    <a:pt x="466" y="490"/>
                    <a:pt x="479" y="504"/>
                    <a:pt x="473" y="510"/>
                  </a:cubicBezTo>
                  <a:cubicBezTo>
                    <a:pt x="467" y="516"/>
                    <a:pt x="456" y="513"/>
                    <a:pt x="456" y="513"/>
                  </a:cubicBezTo>
                  <a:cubicBezTo>
                    <a:pt x="456" y="519"/>
                    <a:pt x="456" y="519"/>
                    <a:pt x="456" y="519"/>
                  </a:cubicBezTo>
                  <a:cubicBezTo>
                    <a:pt x="456" y="519"/>
                    <a:pt x="441" y="518"/>
                    <a:pt x="432" y="517"/>
                  </a:cubicBezTo>
                  <a:cubicBezTo>
                    <a:pt x="423" y="516"/>
                    <a:pt x="415" y="506"/>
                    <a:pt x="415" y="506"/>
                  </a:cubicBezTo>
                  <a:cubicBezTo>
                    <a:pt x="375" y="505"/>
                    <a:pt x="375" y="505"/>
                    <a:pt x="375" y="505"/>
                  </a:cubicBezTo>
                  <a:cubicBezTo>
                    <a:pt x="375" y="505"/>
                    <a:pt x="351" y="483"/>
                    <a:pt x="345" y="505"/>
                  </a:cubicBezTo>
                  <a:cubicBezTo>
                    <a:pt x="343" y="514"/>
                    <a:pt x="355" y="520"/>
                    <a:pt x="362" y="521"/>
                  </a:cubicBezTo>
                  <a:cubicBezTo>
                    <a:pt x="369" y="522"/>
                    <a:pt x="374" y="518"/>
                    <a:pt x="383" y="522"/>
                  </a:cubicBezTo>
                  <a:cubicBezTo>
                    <a:pt x="392" y="526"/>
                    <a:pt x="400" y="540"/>
                    <a:pt x="415" y="540"/>
                  </a:cubicBezTo>
                  <a:cubicBezTo>
                    <a:pt x="430" y="540"/>
                    <a:pt x="441" y="534"/>
                    <a:pt x="441" y="534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70" y="533"/>
                    <a:pt x="470" y="533"/>
                    <a:pt x="470" y="533"/>
                  </a:cubicBezTo>
                  <a:cubicBezTo>
                    <a:pt x="467" y="547"/>
                    <a:pt x="467" y="547"/>
                    <a:pt x="467" y="547"/>
                  </a:cubicBezTo>
                  <a:cubicBezTo>
                    <a:pt x="467" y="547"/>
                    <a:pt x="452" y="540"/>
                    <a:pt x="450" y="547"/>
                  </a:cubicBezTo>
                  <a:cubicBezTo>
                    <a:pt x="448" y="554"/>
                    <a:pt x="459" y="561"/>
                    <a:pt x="459" y="561"/>
                  </a:cubicBezTo>
                  <a:cubicBezTo>
                    <a:pt x="459" y="561"/>
                    <a:pt x="432" y="561"/>
                    <a:pt x="433" y="566"/>
                  </a:cubicBezTo>
                  <a:cubicBezTo>
                    <a:pt x="434" y="571"/>
                    <a:pt x="454" y="572"/>
                    <a:pt x="454" y="572"/>
                  </a:cubicBezTo>
                  <a:cubicBezTo>
                    <a:pt x="454" y="572"/>
                    <a:pt x="451" y="581"/>
                    <a:pt x="446" y="583"/>
                  </a:cubicBezTo>
                  <a:cubicBezTo>
                    <a:pt x="441" y="585"/>
                    <a:pt x="425" y="572"/>
                    <a:pt x="421" y="578"/>
                  </a:cubicBezTo>
                  <a:cubicBezTo>
                    <a:pt x="417" y="584"/>
                    <a:pt x="427" y="592"/>
                    <a:pt x="427" y="592"/>
                  </a:cubicBezTo>
                  <a:cubicBezTo>
                    <a:pt x="411" y="591"/>
                    <a:pt x="411" y="591"/>
                    <a:pt x="411" y="591"/>
                  </a:cubicBezTo>
                  <a:cubicBezTo>
                    <a:pt x="416" y="605"/>
                    <a:pt x="416" y="605"/>
                    <a:pt x="416" y="605"/>
                  </a:cubicBezTo>
                  <a:cubicBezTo>
                    <a:pt x="416" y="605"/>
                    <a:pt x="395" y="606"/>
                    <a:pt x="398" y="616"/>
                  </a:cubicBezTo>
                  <a:cubicBezTo>
                    <a:pt x="401" y="626"/>
                    <a:pt x="420" y="628"/>
                    <a:pt x="420" y="628"/>
                  </a:cubicBezTo>
                  <a:cubicBezTo>
                    <a:pt x="420" y="628"/>
                    <a:pt x="422" y="639"/>
                    <a:pt x="415" y="639"/>
                  </a:cubicBezTo>
                  <a:cubicBezTo>
                    <a:pt x="408" y="639"/>
                    <a:pt x="413" y="647"/>
                    <a:pt x="413" y="647"/>
                  </a:cubicBezTo>
                  <a:cubicBezTo>
                    <a:pt x="413" y="647"/>
                    <a:pt x="411" y="649"/>
                    <a:pt x="408" y="639"/>
                  </a:cubicBezTo>
                  <a:cubicBezTo>
                    <a:pt x="405" y="629"/>
                    <a:pt x="394" y="624"/>
                    <a:pt x="394" y="624"/>
                  </a:cubicBezTo>
                  <a:cubicBezTo>
                    <a:pt x="394" y="624"/>
                    <a:pt x="377" y="593"/>
                    <a:pt x="367" y="595"/>
                  </a:cubicBezTo>
                  <a:cubicBezTo>
                    <a:pt x="357" y="597"/>
                    <a:pt x="331" y="609"/>
                    <a:pt x="345" y="617"/>
                  </a:cubicBezTo>
                  <a:cubicBezTo>
                    <a:pt x="359" y="625"/>
                    <a:pt x="381" y="628"/>
                    <a:pt x="381" y="628"/>
                  </a:cubicBezTo>
                  <a:cubicBezTo>
                    <a:pt x="381" y="628"/>
                    <a:pt x="364" y="630"/>
                    <a:pt x="353" y="630"/>
                  </a:cubicBezTo>
                  <a:cubicBezTo>
                    <a:pt x="342" y="630"/>
                    <a:pt x="328" y="625"/>
                    <a:pt x="320" y="630"/>
                  </a:cubicBezTo>
                  <a:cubicBezTo>
                    <a:pt x="312" y="635"/>
                    <a:pt x="289" y="640"/>
                    <a:pt x="296" y="643"/>
                  </a:cubicBezTo>
                  <a:cubicBezTo>
                    <a:pt x="303" y="646"/>
                    <a:pt x="344" y="639"/>
                    <a:pt x="354" y="640"/>
                  </a:cubicBezTo>
                  <a:cubicBezTo>
                    <a:pt x="364" y="641"/>
                    <a:pt x="388" y="643"/>
                    <a:pt x="388" y="643"/>
                  </a:cubicBezTo>
                  <a:cubicBezTo>
                    <a:pt x="388" y="643"/>
                    <a:pt x="368" y="644"/>
                    <a:pt x="362" y="644"/>
                  </a:cubicBezTo>
                  <a:cubicBezTo>
                    <a:pt x="356" y="644"/>
                    <a:pt x="290" y="649"/>
                    <a:pt x="284" y="654"/>
                  </a:cubicBezTo>
                  <a:cubicBezTo>
                    <a:pt x="278" y="659"/>
                    <a:pt x="278" y="663"/>
                    <a:pt x="294" y="662"/>
                  </a:cubicBezTo>
                  <a:cubicBezTo>
                    <a:pt x="310" y="661"/>
                    <a:pt x="348" y="657"/>
                    <a:pt x="348" y="657"/>
                  </a:cubicBezTo>
                  <a:cubicBezTo>
                    <a:pt x="348" y="657"/>
                    <a:pt x="375" y="656"/>
                    <a:pt x="376" y="659"/>
                  </a:cubicBezTo>
                  <a:cubicBezTo>
                    <a:pt x="377" y="662"/>
                    <a:pt x="330" y="664"/>
                    <a:pt x="330" y="664"/>
                  </a:cubicBezTo>
                  <a:cubicBezTo>
                    <a:pt x="330" y="664"/>
                    <a:pt x="275" y="666"/>
                    <a:pt x="276" y="668"/>
                  </a:cubicBezTo>
                  <a:cubicBezTo>
                    <a:pt x="277" y="670"/>
                    <a:pt x="286" y="675"/>
                    <a:pt x="295" y="675"/>
                  </a:cubicBezTo>
                  <a:cubicBezTo>
                    <a:pt x="304" y="675"/>
                    <a:pt x="318" y="682"/>
                    <a:pt x="318" y="682"/>
                  </a:cubicBezTo>
                  <a:cubicBezTo>
                    <a:pt x="318" y="682"/>
                    <a:pt x="294" y="676"/>
                    <a:pt x="289" y="682"/>
                  </a:cubicBezTo>
                  <a:cubicBezTo>
                    <a:pt x="284" y="688"/>
                    <a:pt x="289" y="690"/>
                    <a:pt x="289" y="690"/>
                  </a:cubicBezTo>
                  <a:cubicBezTo>
                    <a:pt x="289" y="690"/>
                    <a:pt x="258" y="699"/>
                    <a:pt x="262" y="705"/>
                  </a:cubicBezTo>
                  <a:cubicBezTo>
                    <a:pt x="287" y="706"/>
                    <a:pt x="287" y="706"/>
                    <a:pt x="287" y="706"/>
                  </a:cubicBezTo>
                  <a:cubicBezTo>
                    <a:pt x="264" y="716"/>
                    <a:pt x="264" y="716"/>
                    <a:pt x="264" y="716"/>
                  </a:cubicBezTo>
                  <a:cubicBezTo>
                    <a:pt x="264" y="716"/>
                    <a:pt x="263" y="729"/>
                    <a:pt x="273" y="727"/>
                  </a:cubicBezTo>
                  <a:cubicBezTo>
                    <a:pt x="283" y="725"/>
                    <a:pt x="306" y="725"/>
                    <a:pt x="306" y="725"/>
                  </a:cubicBezTo>
                  <a:cubicBezTo>
                    <a:pt x="306" y="725"/>
                    <a:pt x="267" y="736"/>
                    <a:pt x="274" y="744"/>
                  </a:cubicBezTo>
                  <a:cubicBezTo>
                    <a:pt x="281" y="752"/>
                    <a:pt x="304" y="740"/>
                    <a:pt x="304" y="740"/>
                  </a:cubicBezTo>
                  <a:cubicBezTo>
                    <a:pt x="304" y="740"/>
                    <a:pt x="287" y="755"/>
                    <a:pt x="285" y="762"/>
                  </a:cubicBezTo>
                  <a:cubicBezTo>
                    <a:pt x="283" y="769"/>
                    <a:pt x="280" y="775"/>
                    <a:pt x="286" y="775"/>
                  </a:cubicBezTo>
                  <a:cubicBezTo>
                    <a:pt x="292" y="775"/>
                    <a:pt x="303" y="767"/>
                    <a:pt x="303" y="767"/>
                  </a:cubicBezTo>
                  <a:cubicBezTo>
                    <a:pt x="303" y="767"/>
                    <a:pt x="298" y="783"/>
                    <a:pt x="291" y="783"/>
                  </a:cubicBezTo>
                  <a:cubicBezTo>
                    <a:pt x="284" y="783"/>
                    <a:pt x="269" y="792"/>
                    <a:pt x="270" y="802"/>
                  </a:cubicBezTo>
                  <a:cubicBezTo>
                    <a:pt x="271" y="812"/>
                    <a:pt x="294" y="793"/>
                    <a:pt x="294" y="793"/>
                  </a:cubicBezTo>
                  <a:cubicBezTo>
                    <a:pt x="294" y="793"/>
                    <a:pt x="309" y="776"/>
                    <a:pt x="313" y="780"/>
                  </a:cubicBezTo>
                  <a:cubicBezTo>
                    <a:pt x="317" y="784"/>
                    <a:pt x="341" y="774"/>
                    <a:pt x="341" y="774"/>
                  </a:cubicBezTo>
                  <a:cubicBezTo>
                    <a:pt x="338" y="784"/>
                    <a:pt x="338" y="784"/>
                    <a:pt x="338" y="784"/>
                  </a:cubicBezTo>
                  <a:cubicBezTo>
                    <a:pt x="352" y="774"/>
                    <a:pt x="352" y="774"/>
                    <a:pt x="352" y="774"/>
                  </a:cubicBezTo>
                  <a:cubicBezTo>
                    <a:pt x="338" y="791"/>
                    <a:pt x="338" y="791"/>
                    <a:pt x="338" y="791"/>
                  </a:cubicBezTo>
                  <a:cubicBezTo>
                    <a:pt x="360" y="794"/>
                    <a:pt x="360" y="794"/>
                    <a:pt x="360" y="794"/>
                  </a:cubicBezTo>
                  <a:cubicBezTo>
                    <a:pt x="360" y="794"/>
                    <a:pt x="330" y="794"/>
                    <a:pt x="328" y="798"/>
                  </a:cubicBezTo>
                  <a:cubicBezTo>
                    <a:pt x="326" y="802"/>
                    <a:pt x="335" y="804"/>
                    <a:pt x="335" y="804"/>
                  </a:cubicBezTo>
                  <a:cubicBezTo>
                    <a:pt x="335" y="804"/>
                    <a:pt x="312" y="809"/>
                    <a:pt x="306" y="810"/>
                  </a:cubicBezTo>
                  <a:cubicBezTo>
                    <a:pt x="300" y="811"/>
                    <a:pt x="307" y="816"/>
                    <a:pt x="307" y="816"/>
                  </a:cubicBezTo>
                  <a:cubicBezTo>
                    <a:pt x="307" y="816"/>
                    <a:pt x="283" y="821"/>
                    <a:pt x="281" y="826"/>
                  </a:cubicBezTo>
                  <a:cubicBezTo>
                    <a:pt x="279" y="831"/>
                    <a:pt x="305" y="829"/>
                    <a:pt x="305" y="829"/>
                  </a:cubicBezTo>
                  <a:cubicBezTo>
                    <a:pt x="305" y="829"/>
                    <a:pt x="284" y="833"/>
                    <a:pt x="284" y="836"/>
                  </a:cubicBezTo>
                  <a:cubicBezTo>
                    <a:pt x="284" y="839"/>
                    <a:pt x="304" y="844"/>
                    <a:pt x="304" y="844"/>
                  </a:cubicBezTo>
                  <a:cubicBezTo>
                    <a:pt x="304" y="844"/>
                    <a:pt x="287" y="844"/>
                    <a:pt x="286" y="851"/>
                  </a:cubicBezTo>
                  <a:cubicBezTo>
                    <a:pt x="285" y="858"/>
                    <a:pt x="310" y="855"/>
                    <a:pt x="310" y="855"/>
                  </a:cubicBezTo>
                  <a:cubicBezTo>
                    <a:pt x="298" y="870"/>
                    <a:pt x="298" y="870"/>
                    <a:pt x="298" y="870"/>
                  </a:cubicBezTo>
                  <a:cubicBezTo>
                    <a:pt x="317" y="867"/>
                    <a:pt x="317" y="867"/>
                    <a:pt x="317" y="867"/>
                  </a:cubicBezTo>
                  <a:cubicBezTo>
                    <a:pt x="317" y="867"/>
                    <a:pt x="295" y="880"/>
                    <a:pt x="298" y="891"/>
                  </a:cubicBezTo>
                  <a:cubicBezTo>
                    <a:pt x="301" y="902"/>
                    <a:pt x="324" y="900"/>
                    <a:pt x="324" y="900"/>
                  </a:cubicBezTo>
                  <a:cubicBezTo>
                    <a:pt x="313" y="915"/>
                    <a:pt x="313" y="915"/>
                    <a:pt x="313" y="915"/>
                  </a:cubicBezTo>
                  <a:cubicBezTo>
                    <a:pt x="334" y="908"/>
                    <a:pt x="334" y="908"/>
                    <a:pt x="334" y="908"/>
                  </a:cubicBezTo>
                  <a:cubicBezTo>
                    <a:pt x="334" y="908"/>
                    <a:pt x="319" y="920"/>
                    <a:pt x="322" y="925"/>
                  </a:cubicBezTo>
                  <a:cubicBezTo>
                    <a:pt x="325" y="930"/>
                    <a:pt x="344" y="931"/>
                    <a:pt x="344" y="931"/>
                  </a:cubicBezTo>
                  <a:cubicBezTo>
                    <a:pt x="344" y="931"/>
                    <a:pt x="334" y="934"/>
                    <a:pt x="337" y="940"/>
                  </a:cubicBezTo>
                  <a:cubicBezTo>
                    <a:pt x="340" y="946"/>
                    <a:pt x="351" y="943"/>
                    <a:pt x="351" y="943"/>
                  </a:cubicBezTo>
                  <a:cubicBezTo>
                    <a:pt x="351" y="943"/>
                    <a:pt x="336" y="955"/>
                    <a:pt x="339" y="959"/>
                  </a:cubicBezTo>
                  <a:cubicBezTo>
                    <a:pt x="342" y="963"/>
                    <a:pt x="358" y="961"/>
                    <a:pt x="358" y="961"/>
                  </a:cubicBezTo>
                  <a:cubicBezTo>
                    <a:pt x="356" y="969"/>
                    <a:pt x="356" y="969"/>
                    <a:pt x="356" y="969"/>
                  </a:cubicBezTo>
                  <a:cubicBezTo>
                    <a:pt x="382" y="963"/>
                    <a:pt x="382" y="963"/>
                    <a:pt x="382" y="963"/>
                  </a:cubicBezTo>
                  <a:cubicBezTo>
                    <a:pt x="382" y="963"/>
                    <a:pt x="390" y="976"/>
                    <a:pt x="398" y="969"/>
                  </a:cubicBezTo>
                  <a:cubicBezTo>
                    <a:pt x="406" y="962"/>
                    <a:pt x="431" y="946"/>
                    <a:pt x="435" y="948"/>
                  </a:cubicBezTo>
                  <a:cubicBezTo>
                    <a:pt x="439" y="950"/>
                    <a:pt x="428" y="958"/>
                    <a:pt x="428" y="958"/>
                  </a:cubicBezTo>
                  <a:cubicBezTo>
                    <a:pt x="443" y="962"/>
                    <a:pt x="443" y="962"/>
                    <a:pt x="443" y="962"/>
                  </a:cubicBezTo>
                  <a:cubicBezTo>
                    <a:pt x="457" y="955"/>
                    <a:pt x="457" y="955"/>
                    <a:pt x="457" y="955"/>
                  </a:cubicBezTo>
                  <a:cubicBezTo>
                    <a:pt x="457" y="955"/>
                    <a:pt x="436" y="968"/>
                    <a:pt x="431" y="973"/>
                  </a:cubicBezTo>
                  <a:cubicBezTo>
                    <a:pt x="426" y="978"/>
                    <a:pt x="422" y="983"/>
                    <a:pt x="430" y="983"/>
                  </a:cubicBezTo>
                  <a:cubicBezTo>
                    <a:pt x="438" y="983"/>
                    <a:pt x="465" y="978"/>
                    <a:pt x="465" y="978"/>
                  </a:cubicBezTo>
                  <a:cubicBezTo>
                    <a:pt x="465" y="978"/>
                    <a:pt x="434" y="994"/>
                    <a:pt x="443" y="1000"/>
                  </a:cubicBezTo>
                  <a:cubicBezTo>
                    <a:pt x="452" y="1006"/>
                    <a:pt x="471" y="1000"/>
                    <a:pt x="471" y="1000"/>
                  </a:cubicBezTo>
                  <a:cubicBezTo>
                    <a:pt x="471" y="1000"/>
                    <a:pt x="481" y="1019"/>
                    <a:pt x="493" y="1012"/>
                  </a:cubicBezTo>
                  <a:cubicBezTo>
                    <a:pt x="505" y="1005"/>
                    <a:pt x="511" y="998"/>
                    <a:pt x="511" y="998"/>
                  </a:cubicBezTo>
                  <a:cubicBezTo>
                    <a:pt x="511" y="998"/>
                    <a:pt x="506" y="995"/>
                    <a:pt x="502" y="989"/>
                  </a:cubicBezTo>
                  <a:cubicBezTo>
                    <a:pt x="498" y="983"/>
                    <a:pt x="515" y="990"/>
                    <a:pt x="520" y="985"/>
                  </a:cubicBezTo>
                  <a:cubicBezTo>
                    <a:pt x="525" y="980"/>
                    <a:pt x="524" y="964"/>
                    <a:pt x="524" y="964"/>
                  </a:cubicBezTo>
                  <a:cubicBezTo>
                    <a:pt x="524" y="964"/>
                    <a:pt x="546" y="974"/>
                    <a:pt x="545" y="964"/>
                  </a:cubicBezTo>
                  <a:cubicBezTo>
                    <a:pt x="544" y="954"/>
                    <a:pt x="540" y="948"/>
                    <a:pt x="540" y="948"/>
                  </a:cubicBezTo>
                  <a:cubicBezTo>
                    <a:pt x="540" y="948"/>
                    <a:pt x="546" y="957"/>
                    <a:pt x="552" y="958"/>
                  </a:cubicBezTo>
                  <a:cubicBezTo>
                    <a:pt x="557" y="958"/>
                    <a:pt x="562" y="949"/>
                    <a:pt x="559" y="944"/>
                  </a:cubicBezTo>
                  <a:cubicBezTo>
                    <a:pt x="553" y="934"/>
                    <a:pt x="547" y="931"/>
                    <a:pt x="547" y="931"/>
                  </a:cubicBezTo>
                  <a:cubicBezTo>
                    <a:pt x="547" y="931"/>
                    <a:pt x="569" y="937"/>
                    <a:pt x="569" y="933"/>
                  </a:cubicBezTo>
                  <a:cubicBezTo>
                    <a:pt x="569" y="929"/>
                    <a:pt x="564" y="923"/>
                    <a:pt x="564" y="923"/>
                  </a:cubicBezTo>
                  <a:cubicBezTo>
                    <a:pt x="582" y="922"/>
                    <a:pt x="582" y="922"/>
                    <a:pt x="582" y="922"/>
                  </a:cubicBezTo>
                  <a:cubicBezTo>
                    <a:pt x="574" y="908"/>
                    <a:pt x="574" y="908"/>
                    <a:pt x="574" y="908"/>
                  </a:cubicBezTo>
                  <a:cubicBezTo>
                    <a:pt x="585" y="903"/>
                    <a:pt x="585" y="903"/>
                    <a:pt x="585" y="903"/>
                  </a:cubicBezTo>
                  <a:cubicBezTo>
                    <a:pt x="585" y="903"/>
                    <a:pt x="572" y="894"/>
                    <a:pt x="569" y="893"/>
                  </a:cubicBezTo>
                  <a:cubicBezTo>
                    <a:pt x="566" y="892"/>
                    <a:pt x="580" y="887"/>
                    <a:pt x="580" y="887"/>
                  </a:cubicBezTo>
                  <a:cubicBezTo>
                    <a:pt x="566" y="873"/>
                    <a:pt x="566" y="873"/>
                    <a:pt x="566" y="873"/>
                  </a:cubicBezTo>
                  <a:cubicBezTo>
                    <a:pt x="566" y="873"/>
                    <a:pt x="580" y="885"/>
                    <a:pt x="584" y="882"/>
                  </a:cubicBezTo>
                  <a:cubicBezTo>
                    <a:pt x="588" y="879"/>
                    <a:pt x="596" y="873"/>
                    <a:pt x="596" y="873"/>
                  </a:cubicBezTo>
                  <a:cubicBezTo>
                    <a:pt x="596" y="873"/>
                    <a:pt x="612" y="875"/>
                    <a:pt x="615" y="872"/>
                  </a:cubicBezTo>
                  <a:cubicBezTo>
                    <a:pt x="618" y="869"/>
                    <a:pt x="611" y="859"/>
                    <a:pt x="611" y="859"/>
                  </a:cubicBezTo>
                  <a:cubicBezTo>
                    <a:pt x="625" y="858"/>
                    <a:pt x="625" y="858"/>
                    <a:pt x="625" y="858"/>
                  </a:cubicBezTo>
                  <a:cubicBezTo>
                    <a:pt x="630" y="841"/>
                    <a:pt x="630" y="841"/>
                    <a:pt x="630" y="841"/>
                  </a:cubicBezTo>
                  <a:cubicBezTo>
                    <a:pt x="630" y="841"/>
                    <a:pt x="650" y="848"/>
                    <a:pt x="656" y="843"/>
                  </a:cubicBezTo>
                  <a:cubicBezTo>
                    <a:pt x="662" y="838"/>
                    <a:pt x="657" y="829"/>
                    <a:pt x="657" y="829"/>
                  </a:cubicBezTo>
                  <a:cubicBezTo>
                    <a:pt x="657" y="829"/>
                    <a:pt x="664" y="839"/>
                    <a:pt x="671" y="839"/>
                  </a:cubicBezTo>
                  <a:cubicBezTo>
                    <a:pt x="675" y="839"/>
                    <a:pt x="678" y="830"/>
                    <a:pt x="680" y="828"/>
                  </a:cubicBezTo>
                  <a:cubicBezTo>
                    <a:pt x="685" y="821"/>
                    <a:pt x="680" y="811"/>
                    <a:pt x="680" y="811"/>
                  </a:cubicBezTo>
                  <a:cubicBezTo>
                    <a:pt x="655" y="807"/>
                    <a:pt x="655" y="807"/>
                    <a:pt x="655" y="807"/>
                  </a:cubicBezTo>
                  <a:cubicBezTo>
                    <a:pt x="673" y="802"/>
                    <a:pt x="673" y="802"/>
                    <a:pt x="673" y="802"/>
                  </a:cubicBezTo>
                  <a:cubicBezTo>
                    <a:pt x="693" y="794"/>
                    <a:pt x="693" y="794"/>
                    <a:pt x="693" y="794"/>
                  </a:cubicBezTo>
                  <a:cubicBezTo>
                    <a:pt x="694" y="780"/>
                    <a:pt x="694" y="780"/>
                    <a:pt x="694" y="780"/>
                  </a:cubicBezTo>
                  <a:cubicBezTo>
                    <a:pt x="681" y="777"/>
                    <a:pt x="681" y="777"/>
                    <a:pt x="681" y="777"/>
                  </a:cubicBezTo>
                  <a:cubicBezTo>
                    <a:pt x="686" y="765"/>
                    <a:pt x="686" y="765"/>
                    <a:pt x="686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21" y="769"/>
                    <a:pt x="728" y="763"/>
                  </a:cubicBezTo>
                  <a:cubicBezTo>
                    <a:pt x="735" y="757"/>
                    <a:pt x="730" y="745"/>
                    <a:pt x="730" y="745"/>
                  </a:cubicBezTo>
                  <a:cubicBezTo>
                    <a:pt x="752" y="741"/>
                    <a:pt x="752" y="741"/>
                    <a:pt x="752" y="741"/>
                  </a:cubicBezTo>
                  <a:cubicBezTo>
                    <a:pt x="752" y="741"/>
                    <a:pt x="783" y="747"/>
                    <a:pt x="791" y="740"/>
                  </a:cubicBezTo>
                  <a:cubicBezTo>
                    <a:pt x="799" y="733"/>
                    <a:pt x="802" y="726"/>
                    <a:pt x="802" y="726"/>
                  </a:cubicBezTo>
                  <a:cubicBezTo>
                    <a:pt x="811" y="721"/>
                    <a:pt x="811" y="721"/>
                    <a:pt x="811" y="721"/>
                  </a:cubicBezTo>
                  <a:cubicBezTo>
                    <a:pt x="811" y="721"/>
                    <a:pt x="813" y="710"/>
                    <a:pt x="824" y="708"/>
                  </a:cubicBezTo>
                  <a:cubicBezTo>
                    <a:pt x="835" y="706"/>
                    <a:pt x="804" y="740"/>
                    <a:pt x="812" y="740"/>
                  </a:cubicBezTo>
                  <a:cubicBezTo>
                    <a:pt x="820" y="740"/>
                    <a:pt x="828" y="738"/>
                    <a:pt x="828" y="738"/>
                  </a:cubicBezTo>
                  <a:cubicBezTo>
                    <a:pt x="832" y="725"/>
                    <a:pt x="832" y="725"/>
                    <a:pt x="832" y="725"/>
                  </a:cubicBezTo>
                  <a:cubicBezTo>
                    <a:pt x="841" y="727"/>
                    <a:pt x="841" y="727"/>
                    <a:pt x="841" y="727"/>
                  </a:cubicBezTo>
                  <a:cubicBezTo>
                    <a:pt x="849" y="718"/>
                    <a:pt x="849" y="718"/>
                    <a:pt x="849" y="718"/>
                  </a:cubicBezTo>
                  <a:cubicBezTo>
                    <a:pt x="849" y="718"/>
                    <a:pt x="866" y="733"/>
                    <a:pt x="878" y="725"/>
                  </a:cubicBezTo>
                  <a:cubicBezTo>
                    <a:pt x="890" y="717"/>
                    <a:pt x="907" y="704"/>
                    <a:pt x="907" y="704"/>
                  </a:cubicBezTo>
                  <a:cubicBezTo>
                    <a:pt x="907" y="704"/>
                    <a:pt x="923" y="709"/>
                    <a:pt x="950" y="698"/>
                  </a:cubicBezTo>
                  <a:cubicBezTo>
                    <a:pt x="977" y="687"/>
                    <a:pt x="974" y="670"/>
                    <a:pt x="992" y="658"/>
                  </a:cubicBezTo>
                  <a:cubicBezTo>
                    <a:pt x="1010" y="646"/>
                    <a:pt x="1052" y="634"/>
                    <a:pt x="1052" y="634"/>
                  </a:cubicBezTo>
                  <a:cubicBezTo>
                    <a:pt x="1052" y="634"/>
                    <a:pt x="1055" y="625"/>
                    <a:pt x="1054" y="619"/>
                  </a:cubicBezTo>
                  <a:cubicBezTo>
                    <a:pt x="1053" y="613"/>
                    <a:pt x="1046" y="601"/>
                    <a:pt x="1053" y="599"/>
                  </a:cubicBezTo>
                  <a:cubicBezTo>
                    <a:pt x="1060" y="597"/>
                    <a:pt x="1071" y="625"/>
                    <a:pt x="1082" y="625"/>
                  </a:cubicBezTo>
                  <a:cubicBezTo>
                    <a:pt x="1082" y="625"/>
                    <a:pt x="1124" y="624"/>
                    <a:pt x="1135" y="622"/>
                  </a:cubicBezTo>
                  <a:cubicBezTo>
                    <a:pt x="1146" y="620"/>
                    <a:pt x="1167" y="609"/>
                    <a:pt x="1190" y="606"/>
                  </a:cubicBezTo>
                  <a:cubicBezTo>
                    <a:pt x="1213" y="603"/>
                    <a:pt x="1253" y="600"/>
                    <a:pt x="1260" y="598"/>
                  </a:cubicBezTo>
                  <a:cubicBezTo>
                    <a:pt x="1267" y="596"/>
                    <a:pt x="1273" y="589"/>
                    <a:pt x="1273" y="589"/>
                  </a:cubicBezTo>
                  <a:cubicBezTo>
                    <a:pt x="1291" y="589"/>
                    <a:pt x="1291" y="589"/>
                    <a:pt x="1291" y="589"/>
                  </a:cubicBezTo>
                  <a:cubicBezTo>
                    <a:pt x="1300" y="578"/>
                    <a:pt x="1300" y="578"/>
                    <a:pt x="1300" y="578"/>
                  </a:cubicBezTo>
                  <a:cubicBezTo>
                    <a:pt x="1317" y="578"/>
                    <a:pt x="1317" y="578"/>
                    <a:pt x="1317" y="578"/>
                  </a:cubicBezTo>
                  <a:cubicBezTo>
                    <a:pt x="1317" y="578"/>
                    <a:pt x="1335" y="561"/>
                    <a:pt x="1339" y="558"/>
                  </a:cubicBezTo>
                  <a:cubicBezTo>
                    <a:pt x="1343" y="555"/>
                    <a:pt x="1369" y="553"/>
                    <a:pt x="1369" y="553"/>
                  </a:cubicBezTo>
                  <a:cubicBezTo>
                    <a:pt x="1401" y="542"/>
                    <a:pt x="1401" y="542"/>
                    <a:pt x="1401" y="542"/>
                  </a:cubicBezTo>
                  <a:cubicBezTo>
                    <a:pt x="1422" y="537"/>
                    <a:pt x="1422" y="537"/>
                    <a:pt x="1422" y="537"/>
                  </a:cubicBezTo>
                  <a:cubicBezTo>
                    <a:pt x="1427" y="529"/>
                    <a:pt x="1427" y="529"/>
                    <a:pt x="1427" y="529"/>
                  </a:cubicBezTo>
                  <a:cubicBezTo>
                    <a:pt x="1427" y="529"/>
                    <a:pt x="1407" y="531"/>
                    <a:pt x="1395" y="531"/>
                  </a:cubicBezTo>
                  <a:cubicBezTo>
                    <a:pt x="1383" y="531"/>
                    <a:pt x="1375" y="524"/>
                    <a:pt x="1360" y="522"/>
                  </a:cubicBezTo>
                  <a:cubicBezTo>
                    <a:pt x="1345" y="520"/>
                    <a:pt x="1317" y="520"/>
                    <a:pt x="1303" y="524"/>
                  </a:cubicBezTo>
                  <a:cubicBezTo>
                    <a:pt x="1289" y="528"/>
                    <a:pt x="1269" y="528"/>
                    <a:pt x="1269" y="528"/>
                  </a:cubicBezTo>
                  <a:cubicBezTo>
                    <a:pt x="1259" y="537"/>
                    <a:pt x="1259" y="537"/>
                    <a:pt x="1259" y="537"/>
                  </a:cubicBezTo>
                  <a:cubicBezTo>
                    <a:pt x="1259" y="537"/>
                    <a:pt x="1214" y="541"/>
                    <a:pt x="1221" y="535"/>
                  </a:cubicBezTo>
                  <a:cubicBezTo>
                    <a:pt x="1228" y="529"/>
                    <a:pt x="1288" y="520"/>
                    <a:pt x="1288" y="520"/>
                  </a:cubicBezTo>
                  <a:cubicBezTo>
                    <a:pt x="1288" y="520"/>
                    <a:pt x="1348" y="508"/>
                    <a:pt x="1333" y="499"/>
                  </a:cubicBezTo>
                  <a:cubicBezTo>
                    <a:pt x="1318" y="490"/>
                    <a:pt x="1310" y="490"/>
                    <a:pt x="1310" y="490"/>
                  </a:cubicBezTo>
                  <a:cubicBezTo>
                    <a:pt x="1310" y="490"/>
                    <a:pt x="1255" y="508"/>
                    <a:pt x="1249" y="511"/>
                  </a:cubicBezTo>
                  <a:cubicBezTo>
                    <a:pt x="1243" y="514"/>
                    <a:pt x="1217" y="512"/>
                    <a:pt x="1217" y="512"/>
                  </a:cubicBezTo>
                  <a:cubicBezTo>
                    <a:pt x="1241" y="500"/>
                    <a:pt x="1241" y="500"/>
                    <a:pt x="1241" y="500"/>
                  </a:cubicBezTo>
                  <a:cubicBezTo>
                    <a:pt x="1255" y="489"/>
                    <a:pt x="1255" y="489"/>
                    <a:pt x="1255" y="489"/>
                  </a:cubicBezTo>
                  <a:cubicBezTo>
                    <a:pt x="1255" y="489"/>
                    <a:pt x="1279" y="493"/>
                    <a:pt x="1286" y="491"/>
                  </a:cubicBezTo>
                  <a:cubicBezTo>
                    <a:pt x="1293" y="489"/>
                    <a:pt x="1311" y="485"/>
                    <a:pt x="1319" y="485"/>
                  </a:cubicBezTo>
                  <a:cubicBezTo>
                    <a:pt x="1327" y="485"/>
                    <a:pt x="1349" y="483"/>
                    <a:pt x="1337" y="477"/>
                  </a:cubicBezTo>
                  <a:cubicBezTo>
                    <a:pt x="1325" y="471"/>
                    <a:pt x="1287" y="470"/>
                    <a:pt x="1287" y="470"/>
                  </a:cubicBezTo>
                  <a:cubicBezTo>
                    <a:pt x="1255" y="472"/>
                    <a:pt x="1255" y="472"/>
                    <a:pt x="1255" y="472"/>
                  </a:cubicBezTo>
                  <a:cubicBezTo>
                    <a:pt x="1271" y="465"/>
                    <a:pt x="1271" y="465"/>
                    <a:pt x="1271" y="465"/>
                  </a:cubicBezTo>
                  <a:cubicBezTo>
                    <a:pt x="1255" y="455"/>
                    <a:pt x="1255" y="455"/>
                    <a:pt x="1255" y="455"/>
                  </a:cubicBezTo>
                  <a:cubicBezTo>
                    <a:pt x="1255" y="455"/>
                    <a:pt x="1253" y="446"/>
                    <a:pt x="1257" y="446"/>
                  </a:cubicBezTo>
                  <a:cubicBezTo>
                    <a:pt x="1261" y="446"/>
                    <a:pt x="1281" y="463"/>
                    <a:pt x="1294" y="464"/>
                  </a:cubicBezTo>
                  <a:cubicBezTo>
                    <a:pt x="1307" y="465"/>
                    <a:pt x="1348" y="477"/>
                    <a:pt x="1348" y="477"/>
                  </a:cubicBezTo>
                  <a:cubicBezTo>
                    <a:pt x="1348" y="477"/>
                    <a:pt x="1366" y="469"/>
                    <a:pt x="1367" y="478"/>
                  </a:cubicBezTo>
                  <a:cubicBezTo>
                    <a:pt x="1368" y="487"/>
                    <a:pt x="1356" y="501"/>
                    <a:pt x="1377" y="507"/>
                  </a:cubicBezTo>
                  <a:cubicBezTo>
                    <a:pt x="1398" y="513"/>
                    <a:pt x="1421" y="514"/>
                    <a:pt x="1421" y="514"/>
                  </a:cubicBezTo>
                  <a:cubicBezTo>
                    <a:pt x="1421" y="514"/>
                    <a:pt x="1423" y="499"/>
                    <a:pt x="1427" y="502"/>
                  </a:cubicBezTo>
                  <a:cubicBezTo>
                    <a:pt x="1431" y="505"/>
                    <a:pt x="1427" y="520"/>
                    <a:pt x="1436" y="520"/>
                  </a:cubicBezTo>
                  <a:cubicBezTo>
                    <a:pt x="1445" y="520"/>
                    <a:pt x="1457" y="510"/>
                    <a:pt x="1457" y="510"/>
                  </a:cubicBezTo>
                  <a:cubicBezTo>
                    <a:pt x="1457" y="494"/>
                    <a:pt x="1457" y="494"/>
                    <a:pt x="1457" y="494"/>
                  </a:cubicBezTo>
                  <a:cubicBezTo>
                    <a:pt x="1451" y="492"/>
                    <a:pt x="1451" y="492"/>
                    <a:pt x="1451" y="492"/>
                  </a:cubicBezTo>
                  <a:cubicBezTo>
                    <a:pt x="1451" y="492"/>
                    <a:pt x="1465" y="481"/>
                    <a:pt x="1459" y="476"/>
                  </a:cubicBezTo>
                  <a:cubicBezTo>
                    <a:pt x="1453" y="471"/>
                    <a:pt x="1442" y="477"/>
                    <a:pt x="1442" y="477"/>
                  </a:cubicBezTo>
                  <a:cubicBezTo>
                    <a:pt x="1436" y="462"/>
                    <a:pt x="1436" y="462"/>
                    <a:pt x="1436" y="462"/>
                  </a:cubicBezTo>
                  <a:cubicBezTo>
                    <a:pt x="1425" y="459"/>
                    <a:pt x="1425" y="459"/>
                    <a:pt x="1425" y="459"/>
                  </a:cubicBezTo>
                  <a:cubicBezTo>
                    <a:pt x="1428" y="449"/>
                    <a:pt x="1428" y="449"/>
                    <a:pt x="1428" y="449"/>
                  </a:cubicBezTo>
                  <a:cubicBezTo>
                    <a:pt x="1380" y="430"/>
                    <a:pt x="1380" y="430"/>
                    <a:pt x="1380" y="430"/>
                  </a:cubicBezTo>
                  <a:cubicBezTo>
                    <a:pt x="1353" y="437"/>
                    <a:pt x="1353" y="437"/>
                    <a:pt x="1353" y="437"/>
                  </a:cubicBezTo>
                  <a:cubicBezTo>
                    <a:pt x="1347" y="434"/>
                    <a:pt x="1347" y="434"/>
                    <a:pt x="1347" y="434"/>
                  </a:cubicBezTo>
                  <a:cubicBezTo>
                    <a:pt x="1369" y="427"/>
                    <a:pt x="1369" y="427"/>
                    <a:pt x="1369" y="427"/>
                  </a:cubicBezTo>
                  <a:cubicBezTo>
                    <a:pt x="1371" y="424"/>
                    <a:pt x="1371" y="424"/>
                    <a:pt x="1371" y="424"/>
                  </a:cubicBezTo>
                  <a:cubicBezTo>
                    <a:pt x="1371" y="424"/>
                    <a:pt x="1370" y="415"/>
                    <a:pt x="1353" y="415"/>
                  </a:cubicBezTo>
                  <a:cubicBezTo>
                    <a:pt x="1336" y="415"/>
                    <a:pt x="1303" y="412"/>
                    <a:pt x="1303" y="412"/>
                  </a:cubicBezTo>
                  <a:cubicBezTo>
                    <a:pt x="1314" y="398"/>
                    <a:pt x="1314" y="398"/>
                    <a:pt x="1314" y="398"/>
                  </a:cubicBezTo>
                  <a:cubicBezTo>
                    <a:pt x="1314" y="398"/>
                    <a:pt x="1327" y="396"/>
                    <a:pt x="1337" y="400"/>
                  </a:cubicBezTo>
                  <a:cubicBezTo>
                    <a:pt x="1347" y="404"/>
                    <a:pt x="1363" y="393"/>
                    <a:pt x="1363" y="393"/>
                  </a:cubicBezTo>
                  <a:cubicBezTo>
                    <a:pt x="1381" y="390"/>
                    <a:pt x="1381" y="390"/>
                    <a:pt x="1381" y="390"/>
                  </a:cubicBezTo>
                  <a:cubicBezTo>
                    <a:pt x="1413" y="400"/>
                    <a:pt x="1413" y="400"/>
                    <a:pt x="1413" y="400"/>
                  </a:cubicBezTo>
                  <a:cubicBezTo>
                    <a:pt x="1427" y="397"/>
                    <a:pt x="1427" y="397"/>
                    <a:pt x="1427" y="397"/>
                  </a:cubicBezTo>
                  <a:cubicBezTo>
                    <a:pt x="1427" y="397"/>
                    <a:pt x="1453" y="418"/>
                    <a:pt x="1464" y="418"/>
                  </a:cubicBezTo>
                  <a:cubicBezTo>
                    <a:pt x="1475" y="418"/>
                    <a:pt x="1471" y="404"/>
                    <a:pt x="1471" y="404"/>
                  </a:cubicBezTo>
                  <a:cubicBezTo>
                    <a:pt x="1445" y="400"/>
                    <a:pt x="1445" y="400"/>
                    <a:pt x="1445" y="400"/>
                  </a:cubicBezTo>
                  <a:cubicBezTo>
                    <a:pt x="1425" y="390"/>
                    <a:pt x="1425" y="390"/>
                    <a:pt x="1425" y="390"/>
                  </a:cubicBezTo>
                  <a:cubicBezTo>
                    <a:pt x="1394" y="387"/>
                    <a:pt x="1394" y="387"/>
                    <a:pt x="1394" y="387"/>
                  </a:cubicBezTo>
                  <a:cubicBezTo>
                    <a:pt x="1394" y="387"/>
                    <a:pt x="1401" y="378"/>
                    <a:pt x="1408" y="375"/>
                  </a:cubicBezTo>
                  <a:cubicBezTo>
                    <a:pt x="1415" y="372"/>
                    <a:pt x="1432" y="390"/>
                    <a:pt x="1448" y="390"/>
                  </a:cubicBezTo>
                  <a:cubicBezTo>
                    <a:pt x="1464" y="390"/>
                    <a:pt x="1492" y="391"/>
                    <a:pt x="1492" y="391"/>
                  </a:cubicBezTo>
                  <a:cubicBezTo>
                    <a:pt x="1534" y="386"/>
                    <a:pt x="1534" y="386"/>
                    <a:pt x="1534" y="386"/>
                  </a:cubicBezTo>
                  <a:cubicBezTo>
                    <a:pt x="1535" y="368"/>
                    <a:pt x="1535" y="368"/>
                    <a:pt x="1535" y="368"/>
                  </a:cubicBezTo>
                  <a:cubicBezTo>
                    <a:pt x="1506" y="361"/>
                    <a:pt x="1506" y="361"/>
                    <a:pt x="1506" y="361"/>
                  </a:cubicBezTo>
                  <a:cubicBezTo>
                    <a:pt x="1491" y="371"/>
                    <a:pt x="1491" y="371"/>
                    <a:pt x="1491" y="371"/>
                  </a:cubicBezTo>
                  <a:cubicBezTo>
                    <a:pt x="1491" y="371"/>
                    <a:pt x="1477" y="359"/>
                    <a:pt x="1481" y="355"/>
                  </a:cubicBezTo>
                  <a:cubicBezTo>
                    <a:pt x="1485" y="351"/>
                    <a:pt x="1517" y="354"/>
                    <a:pt x="1517" y="354"/>
                  </a:cubicBezTo>
                  <a:cubicBezTo>
                    <a:pt x="1546" y="346"/>
                    <a:pt x="1546" y="346"/>
                    <a:pt x="1546" y="346"/>
                  </a:cubicBezTo>
                  <a:cubicBezTo>
                    <a:pt x="1546" y="346"/>
                    <a:pt x="1563" y="356"/>
                    <a:pt x="1576" y="352"/>
                  </a:cubicBezTo>
                  <a:cubicBezTo>
                    <a:pt x="1589" y="348"/>
                    <a:pt x="1602" y="339"/>
                    <a:pt x="1597" y="337"/>
                  </a:cubicBezTo>
                  <a:cubicBezTo>
                    <a:pt x="1592" y="335"/>
                    <a:pt x="1550" y="334"/>
                    <a:pt x="1546" y="334"/>
                  </a:cubicBezTo>
                  <a:cubicBezTo>
                    <a:pt x="1542" y="334"/>
                    <a:pt x="1550" y="326"/>
                    <a:pt x="1538" y="323"/>
                  </a:cubicBezTo>
                  <a:cubicBezTo>
                    <a:pt x="1526" y="320"/>
                    <a:pt x="1498" y="321"/>
                    <a:pt x="1498" y="321"/>
                  </a:cubicBezTo>
                  <a:cubicBezTo>
                    <a:pt x="1498" y="321"/>
                    <a:pt x="1532" y="320"/>
                    <a:pt x="1535" y="314"/>
                  </a:cubicBezTo>
                  <a:cubicBezTo>
                    <a:pt x="1538" y="308"/>
                    <a:pt x="1499" y="301"/>
                    <a:pt x="1499" y="301"/>
                  </a:cubicBezTo>
                  <a:cubicBezTo>
                    <a:pt x="1499" y="301"/>
                    <a:pt x="1521" y="296"/>
                    <a:pt x="1528" y="299"/>
                  </a:cubicBezTo>
                  <a:cubicBezTo>
                    <a:pt x="1535" y="302"/>
                    <a:pt x="1559" y="310"/>
                    <a:pt x="1565" y="308"/>
                  </a:cubicBezTo>
                  <a:cubicBezTo>
                    <a:pt x="1571" y="306"/>
                    <a:pt x="1573" y="320"/>
                    <a:pt x="1583" y="316"/>
                  </a:cubicBezTo>
                  <a:cubicBezTo>
                    <a:pt x="1593" y="312"/>
                    <a:pt x="1601" y="294"/>
                    <a:pt x="1594" y="289"/>
                  </a:cubicBezTo>
                  <a:cubicBezTo>
                    <a:pt x="1587" y="284"/>
                    <a:pt x="1570" y="272"/>
                    <a:pt x="1570" y="272"/>
                  </a:cubicBezTo>
                  <a:cubicBezTo>
                    <a:pt x="1531" y="264"/>
                    <a:pt x="1531" y="264"/>
                    <a:pt x="1531" y="264"/>
                  </a:cubicBezTo>
                  <a:cubicBezTo>
                    <a:pt x="1531" y="264"/>
                    <a:pt x="1513" y="256"/>
                    <a:pt x="1520" y="250"/>
                  </a:cubicBezTo>
                  <a:cubicBezTo>
                    <a:pt x="1527" y="244"/>
                    <a:pt x="1549" y="249"/>
                    <a:pt x="1549" y="249"/>
                  </a:cubicBezTo>
                  <a:cubicBezTo>
                    <a:pt x="1580" y="242"/>
                    <a:pt x="1580" y="242"/>
                    <a:pt x="1580" y="242"/>
                  </a:cubicBezTo>
                  <a:cubicBezTo>
                    <a:pt x="1580" y="242"/>
                    <a:pt x="1591" y="244"/>
                    <a:pt x="1623" y="246"/>
                  </a:cubicBezTo>
                  <a:cubicBezTo>
                    <a:pt x="1655" y="248"/>
                    <a:pt x="1670" y="225"/>
                    <a:pt x="1647" y="223"/>
                  </a:cubicBezTo>
                  <a:cubicBezTo>
                    <a:pt x="1624" y="221"/>
                    <a:pt x="1590" y="221"/>
                    <a:pt x="1590" y="221"/>
                  </a:cubicBezTo>
                  <a:cubicBezTo>
                    <a:pt x="1589" y="211"/>
                    <a:pt x="1589" y="211"/>
                    <a:pt x="1589" y="211"/>
                  </a:cubicBezTo>
                  <a:cubicBezTo>
                    <a:pt x="1609" y="210"/>
                    <a:pt x="1609" y="210"/>
                    <a:pt x="1609" y="210"/>
                  </a:cubicBezTo>
                  <a:cubicBezTo>
                    <a:pt x="1609" y="210"/>
                    <a:pt x="1603" y="195"/>
                    <a:pt x="1587" y="197"/>
                  </a:cubicBezTo>
                  <a:cubicBezTo>
                    <a:pt x="1571" y="199"/>
                    <a:pt x="1583" y="215"/>
                    <a:pt x="1574" y="216"/>
                  </a:cubicBezTo>
                  <a:cubicBezTo>
                    <a:pt x="1565" y="217"/>
                    <a:pt x="1540" y="204"/>
                    <a:pt x="1549" y="201"/>
                  </a:cubicBezTo>
                  <a:cubicBezTo>
                    <a:pt x="1558" y="198"/>
                    <a:pt x="1582" y="193"/>
                    <a:pt x="1585" y="185"/>
                  </a:cubicBezTo>
                  <a:cubicBezTo>
                    <a:pt x="1588" y="177"/>
                    <a:pt x="1598" y="165"/>
                    <a:pt x="1601" y="164"/>
                  </a:cubicBezTo>
                  <a:cubicBezTo>
                    <a:pt x="1604" y="163"/>
                    <a:pt x="1618" y="170"/>
                    <a:pt x="1627" y="165"/>
                  </a:cubicBezTo>
                  <a:cubicBezTo>
                    <a:pt x="1636" y="160"/>
                    <a:pt x="1649" y="151"/>
                    <a:pt x="1649" y="151"/>
                  </a:cubicBezTo>
                  <a:cubicBezTo>
                    <a:pt x="1639" y="141"/>
                    <a:pt x="1639" y="141"/>
                    <a:pt x="1639" y="141"/>
                  </a:cubicBezTo>
                  <a:cubicBezTo>
                    <a:pt x="1639" y="141"/>
                    <a:pt x="1665" y="128"/>
                    <a:pt x="1671" y="128"/>
                  </a:cubicBezTo>
                  <a:cubicBezTo>
                    <a:pt x="1677" y="128"/>
                    <a:pt x="1687" y="138"/>
                    <a:pt x="1695" y="132"/>
                  </a:cubicBezTo>
                  <a:cubicBezTo>
                    <a:pt x="1703" y="126"/>
                    <a:pt x="1723" y="122"/>
                    <a:pt x="1711" y="119"/>
                  </a:cubicBezTo>
                  <a:cubicBezTo>
                    <a:pt x="1699" y="116"/>
                    <a:pt x="1670" y="119"/>
                    <a:pt x="1670" y="119"/>
                  </a:cubicBezTo>
                  <a:cubicBezTo>
                    <a:pt x="1670" y="119"/>
                    <a:pt x="1615" y="134"/>
                    <a:pt x="1626" y="123"/>
                  </a:cubicBezTo>
                  <a:cubicBezTo>
                    <a:pt x="1637" y="112"/>
                    <a:pt x="1659" y="111"/>
                    <a:pt x="1659" y="111"/>
                  </a:cubicBezTo>
                  <a:cubicBezTo>
                    <a:pt x="1659" y="111"/>
                    <a:pt x="1700" y="113"/>
                    <a:pt x="1721" y="112"/>
                  </a:cubicBezTo>
                  <a:cubicBezTo>
                    <a:pt x="1742" y="111"/>
                    <a:pt x="1758" y="104"/>
                    <a:pt x="1758" y="104"/>
                  </a:cubicBezTo>
                  <a:cubicBezTo>
                    <a:pt x="1758" y="104"/>
                    <a:pt x="1723" y="95"/>
                    <a:pt x="1717" y="98"/>
                  </a:cubicBezTo>
                  <a:cubicBezTo>
                    <a:pt x="1711" y="101"/>
                    <a:pt x="1672" y="102"/>
                    <a:pt x="1672" y="102"/>
                  </a:cubicBezTo>
                  <a:cubicBezTo>
                    <a:pt x="1672" y="102"/>
                    <a:pt x="1625" y="105"/>
                    <a:pt x="1642" y="100"/>
                  </a:cubicBezTo>
                  <a:cubicBezTo>
                    <a:pt x="1659" y="95"/>
                    <a:pt x="1710" y="94"/>
                    <a:pt x="1710" y="94"/>
                  </a:cubicBezTo>
                  <a:cubicBezTo>
                    <a:pt x="1710" y="94"/>
                    <a:pt x="1776" y="95"/>
                    <a:pt x="1787" y="92"/>
                  </a:cubicBezTo>
                  <a:cubicBezTo>
                    <a:pt x="1798" y="89"/>
                    <a:pt x="1807" y="79"/>
                    <a:pt x="1807" y="79"/>
                  </a:cubicBezTo>
                  <a:cubicBezTo>
                    <a:pt x="1807" y="79"/>
                    <a:pt x="1834" y="80"/>
                    <a:pt x="1851" y="78"/>
                  </a:cubicBezTo>
                  <a:cubicBezTo>
                    <a:pt x="1868" y="76"/>
                    <a:pt x="1891" y="67"/>
                    <a:pt x="1891" y="67"/>
                  </a:cubicBezTo>
                  <a:cubicBezTo>
                    <a:pt x="1891" y="67"/>
                    <a:pt x="1865" y="57"/>
                    <a:pt x="1845" y="5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6" name="Freeform 78">
              <a:extLst>
                <a:ext uri="{FF2B5EF4-FFF2-40B4-BE49-F238E27FC236}">
                  <a16:creationId xmlns:a16="http://schemas.microsoft.com/office/drawing/2014/main" id="{F495A79D-A9C1-7779-2EAF-13B72C9AD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5467" y="3391423"/>
              <a:ext cx="280476" cy="106703"/>
            </a:xfrm>
            <a:custGeom>
              <a:avLst/>
              <a:gdLst>
                <a:gd name="T0" fmla="*/ 25 w 493"/>
                <a:gd name="T1" fmla="*/ 8 h 185"/>
                <a:gd name="T2" fmla="*/ 23 w 493"/>
                <a:gd name="T3" fmla="*/ 8 h 185"/>
                <a:gd name="T4" fmla="*/ 22 w 493"/>
                <a:gd name="T5" fmla="*/ 7 h 185"/>
                <a:gd name="T6" fmla="*/ 21 w 493"/>
                <a:gd name="T7" fmla="*/ 7 h 185"/>
                <a:gd name="T8" fmla="*/ 22 w 493"/>
                <a:gd name="T9" fmla="*/ 6 h 185"/>
                <a:gd name="T10" fmla="*/ 20 w 493"/>
                <a:gd name="T11" fmla="*/ 6 h 185"/>
                <a:gd name="T12" fmla="*/ 18 w 493"/>
                <a:gd name="T13" fmla="*/ 5 h 185"/>
                <a:gd name="T14" fmla="*/ 18 w 493"/>
                <a:gd name="T15" fmla="*/ 4 h 185"/>
                <a:gd name="T16" fmla="*/ 18 w 493"/>
                <a:gd name="T17" fmla="*/ 4 h 185"/>
                <a:gd name="T18" fmla="*/ 15 w 493"/>
                <a:gd name="T19" fmla="*/ 2 h 185"/>
                <a:gd name="T20" fmla="*/ 16 w 493"/>
                <a:gd name="T21" fmla="*/ 3 h 185"/>
                <a:gd name="T22" fmla="*/ 13 w 493"/>
                <a:gd name="T23" fmla="*/ 2 h 185"/>
                <a:gd name="T24" fmla="*/ 12 w 493"/>
                <a:gd name="T25" fmla="*/ 1 h 185"/>
                <a:gd name="T26" fmla="*/ 9 w 493"/>
                <a:gd name="T27" fmla="*/ 1 h 185"/>
                <a:gd name="T28" fmla="*/ 6 w 493"/>
                <a:gd name="T29" fmla="*/ 0 h 185"/>
                <a:gd name="T30" fmla="*/ 3 w 493"/>
                <a:gd name="T31" fmla="*/ 2 h 185"/>
                <a:gd name="T32" fmla="*/ 0 w 493"/>
                <a:gd name="T33" fmla="*/ 3 h 185"/>
                <a:gd name="T34" fmla="*/ 3 w 493"/>
                <a:gd name="T35" fmla="*/ 3 h 185"/>
                <a:gd name="T36" fmla="*/ 3 w 493"/>
                <a:gd name="T37" fmla="*/ 2 h 185"/>
                <a:gd name="T38" fmla="*/ 5 w 493"/>
                <a:gd name="T39" fmla="*/ 2 h 185"/>
                <a:gd name="T40" fmla="*/ 6 w 493"/>
                <a:gd name="T41" fmla="*/ 2 h 185"/>
                <a:gd name="T42" fmla="*/ 8 w 493"/>
                <a:gd name="T43" fmla="*/ 2 h 185"/>
                <a:gd name="T44" fmla="*/ 7 w 493"/>
                <a:gd name="T45" fmla="*/ 2 h 185"/>
                <a:gd name="T46" fmla="*/ 7 w 493"/>
                <a:gd name="T47" fmla="*/ 3 h 185"/>
                <a:gd name="T48" fmla="*/ 9 w 493"/>
                <a:gd name="T49" fmla="*/ 3 h 185"/>
                <a:gd name="T50" fmla="*/ 10 w 493"/>
                <a:gd name="T51" fmla="*/ 3 h 185"/>
                <a:gd name="T52" fmla="*/ 12 w 493"/>
                <a:gd name="T53" fmla="*/ 5 h 185"/>
                <a:gd name="T54" fmla="*/ 14 w 493"/>
                <a:gd name="T55" fmla="*/ 4 h 185"/>
                <a:gd name="T56" fmla="*/ 14 w 493"/>
                <a:gd name="T57" fmla="*/ 5 h 185"/>
                <a:gd name="T58" fmla="*/ 16 w 493"/>
                <a:gd name="T59" fmla="*/ 6 h 185"/>
                <a:gd name="T60" fmla="*/ 16 w 493"/>
                <a:gd name="T61" fmla="*/ 7 h 185"/>
                <a:gd name="T62" fmla="*/ 18 w 493"/>
                <a:gd name="T63" fmla="*/ 8 h 185"/>
                <a:gd name="T64" fmla="*/ 16 w 493"/>
                <a:gd name="T65" fmla="*/ 9 h 185"/>
                <a:gd name="T66" fmla="*/ 19 w 493"/>
                <a:gd name="T67" fmla="*/ 9 h 185"/>
                <a:gd name="T68" fmla="*/ 19 w 493"/>
                <a:gd name="T69" fmla="*/ 9 h 185"/>
                <a:gd name="T70" fmla="*/ 19 w 493"/>
                <a:gd name="T71" fmla="*/ 10 h 185"/>
                <a:gd name="T72" fmla="*/ 22 w 493"/>
                <a:gd name="T73" fmla="*/ 9 h 185"/>
                <a:gd name="T74" fmla="*/ 26 w 493"/>
                <a:gd name="T75" fmla="*/ 9 h 185"/>
                <a:gd name="T76" fmla="*/ 25 w 493"/>
                <a:gd name="T77" fmla="*/ 8 h 185"/>
                <a:gd name="T78" fmla="*/ 4 w 493"/>
                <a:gd name="T79" fmla="*/ 5 h 185"/>
                <a:gd name="T80" fmla="*/ 6 w 493"/>
                <a:gd name="T81" fmla="*/ 5 h 185"/>
                <a:gd name="T82" fmla="*/ 4 w 493"/>
                <a:gd name="T83" fmla="*/ 5 h 18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93"/>
                <a:gd name="T127" fmla="*/ 0 h 185"/>
                <a:gd name="T128" fmla="*/ 493 w 493"/>
                <a:gd name="T129" fmla="*/ 185 h 18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93" h="185">
                  <a:moveTo>
                    <a:pt x="475" y="151"/>
                  </a:moveTo>
                  <a:cubicBezTo>
                    <a:pt x="456" y="148"/>
                    <a:pt x="445" y="148"/>
                    <a:pt x="445" y="148"/>
                  </a:cubicBezTo>
                  <a:cubicBezTo>
                    <a:pt x="445" y="148"/>
                    <a:pt x="453" y="131"/>
                    <a:pt x="434" y="129"/>
                  </a:cubicBezTo>
                  <a:cubicBezTo>
                    <a:pt x="416" y="126"/>
                    <a:pt x="399" y="128"/>
                    <a:pt x="399" y="128"/>
                  </a:cubicBezTo>
                  <a:cubicBezTo>
                    <a:pt x="416" y="114"/>
                    <a:pt x="416" y="114"/>
                    <a:pt x="416" y="114"/>
                  </a:cubicBezTo>
                  <a:cubicBezTo>
                    <a:pt x="416" y="114"/>
                    <a:pt x="386" y="106"/>
                    <a:pt x="378" y="106"/>
                  </a:cubicBezTo>
                  <a:cubicBezTo>
                    <a:pt x="370" y="106"/>
                    <a:pt x="349" y="96"/>
                    <a:pt x="349" y="96"/>
                  </a:cubicBezTo>
                  <a:cubicBezTo>
                    <a:pt x="349" y="96"/>
                    <a:pt x="359" y="79"/>
                    <a:pt x="351" y="79"/>
                  </a:cubicBezTo>
                  <a:cubicBezTo>
                    <a:pt x="343" y="79"/>
                    <a:pt x="338" y="77"/>
                    <a:pt x="338" y="77"/>
                  </a:cubicBezTo>
                  <a:cubicBezTo>
                    <a:pt x="338" y="77"/>
                    <a:pt x="298" y="37"/>
                    <a:pt x="290" y="45"/>
                  </a:cubicBezTo>
                  <a:cubicBezTo>
                    <a:pt x="282" y="52"/>
                    <a:pt x="300" y="64"/>
                    <a:pt x="300" y="64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31" y="17"/>
                    <a:pt x="220" y="12"/>
                  </a:cubicBezTo>
                  <a:cubicBezTo>
                    <a:pt x="209" y="7"/>
                    <a:pt x="180" y="12"/>
                    <a:pt x="180" y="12"/>
                  </a:cubicBezTo>
                  <a:cubicBezTo>
                    <a:pt x="180" y="12"/>
                    <a:pt x="156" y="0"/>
                    <a:pt x="118" y="0"/>
                  </a:cubicBezTo>
                  <a:cubicBezTo>
                    <a:pt x="81" y="0"/>
                    <a:pt x="64" y="12"/>
                    <a:pt x="48" y="26"/>
                  </a:cubicBezTo>
                  <a:cubicBezTo>
                    <a:pt x="32" y="41"/>
                    <a:pt x="0" y="51"/>
                    <a:pt x="0" y="51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42" y="27"/>
                    <a:pt x="150" y="34"/>
                  </a:cubicBezTo>
                  <a:cubicBezTo>
                    <a:pt x="158" y="42"/>
                    <a:pt x="126" y="46"/>
                    <a:pt x="126" y="46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4"/>
                    <a:pt x="155" y="61"/>
                    <a:pt x="172" y="66"/>
                  </a:cubicBezTo>
                  <a:cubicBezTo>
                    <a:pt x="188" y="71"/>
                    <a:pt x="188" y="61"/>
                    <a:pt x="188" y="61"/>
                  </a:cubicBezTo>
                  <a:cubicBezTo>
                    <a:pt x="188" y="61"/>
                    <a:pt x="204" y="74"/>
                    <a:pt x="220" y="81"/>
                  </a:cubicBezTo>
                  <a:cubicBezTo>
                    <a:pt x="236" y="89"/>
                    <a:pt x="268" y="79"/>
                    <a:pt x="268" y="79"/>
                  </a:cubicBezTo>
                  <a:cubicBezTo>
                    <a:pt x="263" y="96"/>
                    <a:pt x="263" y="96"/>
                    <a:pt x="263" y="96"/>
                  </a:cubicBezTo>
                  <a:cubicBezTo>
                    <a:pt x="303" y="113"/>
                    <a:pt x="303" y="113"/>
                    <a:pt x="303" y="113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19" y="136"/>
                    <a:pt x="335" y="143"/>
                    <a:pt x="335" y="150"/>
                  </a:cubicBezTo>
                  <a:cubicBezTo>
                    <a:pt x="335" y="158"/>
                    <a:pt x="308" y="165"/>
                    <a:pt x="316" y="172"/>
                  </a:cubicBezTo>
                  <a:cubicBezTo>
                    <a:pt x="324" y="180"/>
                    <a:pt x="348" y="163"/>
                    <a:pt x="356" y="163"/>
                  </a:cubicBezTo>
                  <a:cubicBezTo>
                    <a:pt x="364" y="163"/>
                    <a:pt x="381" y="165"/>
                    <a:pt x="367" y="168"/>
                  </a:cubicBezTo>
                  <a:cubicBezTo>
                    <a:pt x="354" y="170"/>
                    <a:pt x="375" y="180"/>
                    <a:pt x="375" y="180"/>
                  </a:cubicBezTo>
                  <a:cubicBezTo>
                    <a:pt x="375" y="180"/>
                    <a:pt x="397" y="185"/>
                    <a:pt x="426" y="178"/>
                  </a:cubicBezTo>
                  <a:cubicBezTo>
                    <a:pt x="456" y="170"/>
                    <a:pt x="493" y="163"/>
                    <a:pt x="493" y="163"/>
                  </a:cubicBezTo>
                  <a:cubicBezTo>
                    <a:pt x="493" y="163"/>
                    <a:pt x="493" y="153"/>
                    <a:pt x="475" y="151"/>
                  </a:cubicBezTo>
                  <a:close/>
                  <a:moveTo>
                    <a:pt x="78" y="84"/>
                  </a:moveTo>
                  <a:cubicBezTo>
                    <a:pt x="75" y="97"/>
                    <a:pt x="102" y="99"/>
                    <a:pt x="104" y="84"/>
                  </a:cubicBezTo>
                  <a:cubicBezTo>
                    <a:pt x="107" y="70"/>
                    <a:pt x="78" y="84"/>
                    <a:pt x="78" y="8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7" name="Freeform 79">
              <a:extLst>
                <a:ext uri="{FF2B5EF4-FFF2-40B4-BE49-F238E27FC236}">
                  <a16:creationId xmlns:a16="http://schemas.microsoft.com/office/drawing/2014/main" id="{3D01C7E9-43B6-0505-2D2B-1594983D6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9424" y="3539282"/>
              <a:ext cx="62498" cy="22865"/>
            </a:xfrm>
            <a:custGeom>
              <a:avLst/>
              <a:gdLst>
                <a:gd name="T0" fmla="*/ 4 w 108"/>
                <a:gd name="T1" fmla="*/ 2 h 42"/>
                <a:gd name="T2" fmla="*/ 4 w 108"/>
                <a:gd name="T3" fmla="*/ 1 h 42"/>
                <a:gd name="T4" fmla="*/ 6 w 108"/>
                <a:gd name="T5" fmla="*/ 1 h 42"/>
                <a:gd name="T6" fmla="*/ 5 w 108"/>
                <a:gd name="T7" fmla="*/ 0 h 42"/>
                <a:gd name="T8" fmla="*/ 3 w 108"/>
                <a:gd name="T9" fmla="*/ 0 h 42"/>
                <a:gd name="T10" fmla="*/ 1 w 108"/>
                <a:gd name="T11" fmla="*/ 0 h 42"/>
                <a:gd name="T12" fmla="*/ 0 w 108"/>
                <a:gd name="T13" fmla="*/ 0 h 42"/>
                <a:gd name="T14" fmla="*/ 1 w 108"/>
                <a:gd name="T15" fmla="*/ 1 h 42"/>
                <a:gd name="T16" fmla="*/ 2 w 108"/>
                <a:gd name="T17" fmla="*/ 1 h 42"/>
                <a:gd name="T18" fmla="*/ 3 w 108"/>
                <a:gd name="T19" fmla="*/ 2 h 42"/>
                <a:gd name="T20" fmla="*/ 4 w 108"/>
                <a:gd name="T21" fmla="*/ 2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42"/>
                <a:gd name="T35" fmla="*/ 108 w 108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42">
                  <a:moveTo>
                    <a:pt x="72" y="42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95" y="9"/>
                    <a:pt x="85" y="9"/>
                  </a:cubicBezTo>
                  <a:cubicBezTo>
                    <a:pt x="75" y="9"/>
                    <a:pt x="58" y="7"/>
                    <a:pt x="48" y="6"/>
                  </a:cubicBezTo>
                  <a:cubicBezTo>
                    <a:pt x="37" y="4"/>
                    <a:pt x="27" y="0"/>
                    <a:pt x="19" y="4"/>
                  </a:cubicBezTo>
                  <a:cubicBezTo>
                    <a:pt x="11" y="7"/>
                    <a:pt x="0" y="9"/>
                    <a:pt x="0" y="9"/>
                  </a:cubicBezTo>
                  <a:cubicBezTo>
                    <a:pt x="0" y="9"/>
                    <a:pt x="8" y="20"/>
                    <a:pt x="17" y="26"/>
                  </a:cubicBezTo>
                  <a:cubicBezTo>
                    <a:pt x="25" y="32"/>
                    <a:pt x="43" y="32"/>
                    <a:pt x="43" y="32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72" y="42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8" name="Freeform 80">
              <a:extLst>
                <a:ext uri="{FF2B5EF4-FFF2-40B4-BE49-F238E27FC236}">
                  <a16:creationId xmlns:a16="http://schemas.microsoft.com/office/drawing/2014/main" id="{D1BCFC7B-7B4A-3AE2-A976-4C73780E9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766" y="3540807"/>
              <a:ext cx="54876" cy="22865"/>
            </a:xfrm>
            <a:custGeom>
              <a:avLst/>
              <a:gdLst>
                <a:gd name="T0" fmla="*/ 3 w 97"/>
                <a:gd name="T1" fmla="*/ 0 h 40"/>
                <a:gd name="T2" fmla="*/ 1 w 97"/>
                <a:gd name="T3" fmla="*/ 0 h 40"/>
                <a:gd name="T4" fmla="*/ 0 w 97"/>
                <a:gd name="T5" fmla="*/ 2 h 40"/>
                <a:gd name="T6" fmla="*/ 1 w 97"/>
                <a:gd name="T7" fmla="*/ 2 h 40"/>
                <a:gd name="T8" fmla="*/ 1 w 97"/>
                <a:gd name="T9" fmla="*/ 2 h 40"/>
                <a:gd name="T10" fmla="*/ 3 w 97"/>
                <a:gd name="T11" fmla="*/ 2 h 40"/>
                <a:gd name="T12" fmla="*/ 5 w 97"/>
                <a:gd name="T13" fmla="*/ 1 h 40"/>
                <a:gd name="T14" fmla="*/ 3 w 97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7"/>
                <a:gd name="T25" fmla="*/ 0 h 40"/>
                <a:gd name="T26" fmla="*/ 97 w 97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7" h="40">
                  <a:moveTo>
                    <a:pt x="60" y="9"/>
                  </a:moveTo>
                  <a:cubicBezTo>
                    <a:pt x="52" y="9"/>
                    <a:pt x="29" y="0"/>
                    <a:pt x="15" y="0"/>
                  </a:cubicBezTo>
                  <a:cubicBezTo>
                    <a:pt x="0" y="0"/>
                    <a:pt x="2" y="32"/>
                    <a:pt x="2" y="32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48" y="36"/>
                    <a:pt x="64" y="34"/>
                  </a:cubicBezTo>
                  <a:cubicBezTo>
                    <a:pt x="81" y="32"/>
                    <a:pt x="97" y="17"/>
                    <a:pt x="95" y="10"/>
                  </a:cubicBezTo>
                  <a:cubicBezTo>
                    <a:pt x="93" y="2"/>
                    <a:pt x="68" y="10"/>
                    <a:pt x="60" y="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79" name="Freeform 81">
              <a:extLst>
                <a:ext uri="{FF2B5EF4-FFF2-40B4-BE49-F238E27FC236}">
                  <a16:creationId xmlns:a16="http://schemas.microsoft.com/office/drawing/2014/main" id="{1E877F4E-3F2C-B464-F797-530E6D5A5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278" y="2112510"/>
              <a:ext cx="224077" cy="86887"/>
            </a:xfrm>
            <a:custGeom>
              <a:avLst/>
              <a:gdLst>
                <a:gd name="T0" fmla="*/ 11 w 396"/>
                <a:gd name="T1" fmla="*/ 7 h 152"/>
                <a:gd name="T2" fmla="*/ 12 w 396"/>
                <a:gd name="T3" fmla="*/ 7 h 152"/>
                <a:gd name="T4" fmla="*/ 13 w 396"/>
                <a:gd name="T5" fmla="*/ 7 h 152"/>
                <a:gd name="T6" fmla="*/ 17 w 396"/>
                <a:gd name="T7" fmla="*/ 6 h 152"/>
                <a:gd name="T8" fmla="*/ 19 w 396"/>
                <a:gd name="T9" fmla="*/ 4 h 152"/>
                <a:gd name="T10" fmla="*/ 19 w 396"/>
                <a:gd name="T11" fmla="*/ 4 h 152"/>
                <a:gd name="T12" fmla="*/ 18 w 396"/>
                <a:gd name="T13" fmla="*/ 3 h 152"/>
                <a:gd name="T14" fmla="*/ 17 w 396"/>
                <a:gd name="T15" fmla="*/ 2 h 152"/>
                <a:gd name="T16" fmla="*/ 17 w 396"/>
                <a:gd name="T17" fmla="*/ 1 h 152"/>
                <a:gd name="T18" fmla="*/ 17 w 396"/>
                <a:gd name="T19" fmla="*/ 1 h 152"/>
                <a:gd name="T20" fmla="*/ 15 w 396"/>
                <a:gd name="T21" fmla="*/ 1 h 152"/>
                <a:gd name="T22" fmla="*/ 13 w 396"/>
                <a:gd name="T23" fmla="*/ 1 h 152"/>
                <a:gd name="T24" fmla="*/ 12 w 396"/>
                <a:gd name="T25" fmla="*/ 1 h 152"/>
                <a:gd name="T26" fmla="*/ 10 w 396"/>
                <a:gd name="T27" fmla="*/ 1 h 152"/>
                <a:gd name="T28" fmla="*/ 9 w 396"/>
                <a:gd name="T29" fmla="*/ 2 h 152"/>
                <a:gd name="T30" fmla="*/ 9 w 396"/>
                <a:gd name="T31" fmla="*/ 2 h 152"/>
                <a:gd name="T32" fmla="*/ 7 w 396"/>
                <a:gd name="T33" fmla="*/ 3 h 152"/>
                <a:gd name="T34" fmla="*/ 6 w 396"/>
                <a:gd name="T35" fmla="*/ 3 h 152"/>
                <a:gd name="T36" fmla="*/ 5 w 396"/>
                <a:gd name="T37" fmla="*/ 2 h 152"/>
                <a:gd name="T38" fmla="*/ 3 w 396"/>
                <a:gd name="T39" fmla="*/ 0 h 152"/>
                <a:gd name="T40" fmla="*/ 2 w 396"/>
                <a:gd name="T41" fmla="*/ 1 h 152"/>
                <a:gd name="T42" fmla="*/ 2 w 396"/>
                <a:gd name="T43" fmla="*/ 2 h 152"/>
                <a:gd name="T44" fmla="*/ 0 w 396"/>
                <a:gd name="T45" fmla="*/ 3 h 152"/>
                <a:gd name="T46" fmla="*/ 3 w 396"/>
                <a:gd name="T47" fmla="*/ 2 h 152"/>
                <a:gd name="T48" fmla="*/ 3 w 396"/>
                <a:gd name="T49" fmla="*/ 3 h 152"/>
                <a:gd name="T50" fmla="*/ 2 w 396"/>
                <a:gd name="T51" fmla="*/ 4 h 152"/>
                <a:gd name="T52" fmla="*/ 2 w 396"/>
                <a:gd name="T53" fmla="*/ 4 h 152"/>
                <a:gd name="T54" fmla="*/ 4 w 396"/>
                <a:gd name="T55" fmla="*/ 5 h 152"/>
                <a:gd name="T56" fmla="*/ 4 w 396"/>
                <a:gd name="T57" fmla="*/ 6 h 152"/>
                <a:gd name="T58" fmla="*/ 2 w 396"/>
                <a:gd name="T59" fmla="*/ 7 h 152"/>
                <a:gd name="T60" fmla="*/ 5 w 396"/>
                <a:gd name="T61" fmla="*/ 6 h 152"/>
                <a:gd name="T62" fmla="*/ 6 w 396"/>
                <a:gd name="T63" fmla="*/ 7 h 152"/>
                <a:gd name="T64" fmla="*/ 9 w 396"/>
                <a:gd name="T65" fmla="*/ 8 h 1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6"/>
                <a:gd name="T100" fmla="*/ 0 h 152"/>
                <a:gd name="T101" fmla="*/ 396 w 396"/>
                <a:gd name="T102" fmla="*/ 152 h 1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6" h="152">
                  <a:moveTo>
                    <a:pt x="172" y="150"/>
                  </a:moveTo>
                  <a:cubicBezTo>
                    <a:pt x="200" y="143"/>
                    <a:pt x="200" y="149"/>
                    <a:pt x="207" y="144"/>
                  </a:cubicBezTo>
                  <a:cubicBezTo>
                    <a:pt x="214" y="139"/>
                    <a:pt x="211" y="131"/>
                    <a:pt x="211" y="131"/>
                  </a:cubicBezTo>
                  <a:cubicBezTo>
                    <a:pt x="211" y="131"/>
                    <a:pt x="230" y="139"/>
                    <a:pt x="238" y="136"/>
                  </a:cubicBezTo>
                  <a:cubicBezTo>
                    <a:pt x="246" y="133"/>
                    <a:pt x="246" y="126"/>
                    <a:pt x="246" y="126"/>
                  </a:cubicBezTo>
                  <a:cubicBezTo>
                    <a:pt x="246" y="126"/>
                    <a:pt x="257" y="130"/>
                    <a:pt x="262" y="130"/>
                  </a:cubicBezTo>
                  <a:cubicBezTo>
                    <a:pt x="267" y="130"/>
                    <a:pt x="305" y="107"/>
                    <a:pt x="313" y="106"/>
                  </a:cubicBezTo>
                  <a:cubicBezTo>
                    <a:pt x="321" y="105"/>
                    <a:pt x="332" y="112"/>
                    <a:pt x="339" y="105"/>
                  </a:cubicBezTo>
                  <a:cubicBezTo>
                    <a:pt x="346" y="98"/>
                    <a:pt x="347" y="87"/>
                    <a:pt x="347" y="87"/>
                  </a:cubicBezTo>
                  <a:cubicBezTo>
                    <a:pt x="347" y="87"/>
                    <a:pt x="354" y="87"/>
                    <a:pt x="363" y="83"/>
                  </a:cubicBezTo>
                  <a:cubicBezTo>
                    <a:pt x="372" y="79"/>
                    <a:pt x="383" y="69"/>
                    <a:pt x="383" y="69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3" y="68"/>
                    <a:pt x="396" y="57"/>
                    <a:pt x="382" y="50"/>
                  </a:cubicBezTo>
                  <a:cubicBezTo>
                    <a:pt x="368" y="43"/>
                    <a:pt x="356" y="50"/>
                    <a:pt x="356" y="50"/>
                  </a:cubicBezTo>
                  <a:cubicBezTo>
                    <a:pt x="359" y="40"/>
                    <a:pt x="359" y="40"/>
                    <a:pt x="359" y="40"/>
                  </a:cubicBezTo>
                  <a:cubicBezTo>
                    <a:pt x="341" y="41"/>
                    <a:pt x="341" y="41"/>
                    <a:pt x="341" y="41"/>
                  </a:cubicBezTo>
                  <a:cubicBezTo>
                    <a:pt x="351" y="26"/>
                    <a:pt x="351" y="26"/>
                    <a:pt x="351" y="26"/>
                  </a:cubicBezTo>
                  <a:cubicBezTo>
                    <a:pt x="342" y="24"/>
                    <a:pt x="342" y="24"/>
                    <a:pt x="342" y="24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25" y="17"/>
                    <a:pt x="304" y="0"/>
                    <a:pt x="297" y="0"/>
                  </a:cubicBezTo>
                  <a:cubicBezTo>
                    <a:pt x="290" y="0"/>
                    <a:pt x="294" y="16"/>
                    <a:pt x="294" y="16"/>
                  </a:cubicBezTo>
                  <a:cubicBezTo>
                    <a:pt x="280" y="22"/>
                    <a:pt x="280" y="22"/>
                    <a:pt x="280" y="22"/>
                  </a:cubicBezTo>
                  <a:cubicBezTo>
                    <a:pt x="280" y="22"/>
                    <a:pt x="268" y="19"/>
                    <a:pt x="262" y="19"/>
                  </a:cubicBezTo>
                  <a:cubicBezTo>
                    <a:pt x="256" y="19"/>
                    <a:pt x="249" y="29"/>
                    <a:pt x="249" y="29"/>
                  </a:cubicBezTo>
                  <a:cubicBezTo>
                    <a:pt x="249" y="29"/>
                    <a:pt x="233" y="17"/>
                    <a:pt x="227" y="19"/>
                  </a:cubicBezTo>
                  <a:cubicBezTo>
                    <a:pt x="221" y="21"/>
                    <a:pt x="226" y="41"/>
                    <a:pt x="226" y="41"/>
                  </a:cubicBezTo>
                  <a:cubicBezTo>
                    <a:pt x="226" y="41"/>
                    <a:pt x="208" y="16"/>
                    <a:pt x="201" y="16"/>
                  </a:cubicBezTo>
                  <a:cubicBezTo>
                    <a:pt x="194" y="16"/>
                    <a:pt x="198" y="23"/>
                    <a:pt x="198" y="23"/>
                  </a:cubicBezTo>
                  <a:cubicBezTo>
                    <a:pt x="198" y="23"/>
                    <a:pt x="183" y="23"/>
                    <a:pt x="182" y="26"/>
                  </a:cubicBezTo>
                  <a:cubicBezTo>
                    <a:pt x="181" y="29"/>
                    <a:pt x="181" y="38"/>
                    <a:pt x="181" y="38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55" y="18"/>
                    <a:pt x="150" y="22"/>
                  </a:cubicBezTo>
                  <a:cubicBezTo>
                    <a:pt x="145" y="26"/>
                    <a:pt x="150" y="49"/>
                    <a:pt x="145" y="50"/>
                  </a:cubicBezTo>
                  <a:cubicBezTo>
                    <a:pt x="140" y="51"/>
                    <a:pt x="133" y="42"/>
                    <a:pt x="129" y="42"/>
                  </a:cubicBezTo>
                  <a:cubicBezTo>
                    <a:pt x="125" y="42"/>
                    <a:pt x="112" y="63"/>
                    <a:pt x="112" y="63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18" y="35"/>
                    <a:pt x="112" y="26"/>
                  </a:cubicBezTo>
                  <a:cubicBezTo>
                    <a:pt x="106" y="17"/>
                    <a:pt x="73" y="3"/>
                    <a:pt x="68" y="7"/>
                  </a:cubicBezTo>
                  <a:cubicBezTo>
                    <a:pt x="63" y="11"/>
                    <a:pt x="69" y="26"/>
                    <a:pt x="69" y="26"/>
                  </a:cubicBezTo>
                  <a:cubicBezTo>
                    <a:pt x="69" y="26"/>
                    <a:pt x="49" y="19"/>
                    <a:pt x="43" y="19"/>
                  </a:cubicBezTo>
                  <a:cubicBezTo>
                    <a:pt x="37" y="19"/>
                    <a:pt x="25" y="31"/>
                    <a:pt x="25" y="31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23" y="35"/>
                    <a:pt x="17" y="41"/>
                  </a:cubicBezTo>
                  <a:cubicBezTo>
                    <a:pt x="11" y="47"/>
                    <a:pt x="4" y="47"/>
                    <a:pt x="4" y="47"/>
                  </a:cubicBezTo>
                  <a:cubicBezTo>
                    <a:pt x="4" y="47"/>
                    <a:pt x="12" y="54"/>
                    <a:pt x="20" y="54"/>
                  </a:cubicBezTo>
                  <a:cubicBezTo>
                    <a:pt x="28" y="54"/>
                    <a:pt x="55" y="43"/>
                    <a:pt x="55" y="43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84" y="64"/>
                    <a:pt x="84" y="68"/>
                  </a:cubicBezTo>
                  <a:cubicBezTo>
                    <a:pt x="84" y="72"/>
                    <a:pt x="39" y="72"/>
                    <a:pt x="35" y="73"/>
                  </a:cubicBezTo>
                  <a:cubicBezTo>
                    <a:pt x="31" y="74"/>
                    <a:pt x="0" y="72"/>
                    <a:pt x="6" y="79"/>
                  </a:cubicBezTo>
                  <a:cubicBezTo>
                    <a:pt x="12" y="86"/>
                    <a:pt x="25" y="81"/>
                    <a:pt x="38" y="82"/>
                  </a:cubicBezTo>
                  <a:cubicBezTo>
                    <a:pt x="51" y="83"/>
                    <a:pt x="65" y="95"/>
                    <a:pt x="65" y="95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2" y="114"/>
                    <a:pt x="75" y="118"/>
                  </a:cubicBezTo>
                  <a:cubicBezTo>
                    <a:pt x="68" y="122"/>
                    <a:pt x="35" y="116"/>
                    <a:pt x="41" y="125"/>
                  </a:cubicBezTo>
                  <a:cubicBezTo>
                    <a:pt x="47" y="134"/>
                    <a:pt x="75" y="130"/>
                    <a:pt x="82" y="130"/>
                  </a:cubicBezTo>
                  <a:cubicBezTo>
                    <a:pt x="89" y="130"/>
                    <a:pt x="98" y="123"/>
                    <a:pt x="98" y="123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21" y="133"/>
                    <a:pt x="131" y="138"/>
                  </a:cubicBezTo>
                  <a:cubicBezTo>
                    <a:pt x="141" y="143"/>
                    <a:pt x="164" y="152"/>
                    <a:pt x="172" y="15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0" name="Freeform 82">
              <a:extLst>
                <a:ext uri="{FF2B5EF4-FFF2-40B4-BE49-F238E27FC236}">
                  <a16:creationId xmlns:a16="http://schemas.microsoft.com/office/drawing/2014/main" id="{584877D6-5ACF-C74C-AFA8-96FC6AC32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722" y="3495077"/>
              <a:ext cx="97557" cy="64022"/>
            </a:xfrm>
            <a:custGeom>
              <a:avLst/>
              <a:gdLst>
                <a:gd name="T0" fmla="*/ 9 w 172"/>
                <a:gd name="T1" fmla="*/ 4 h 111"/>
                <a:gd name="T2" fmla="*/ 7 w 172"/>
                <a:gd name="T3" fmla="*/ 2 h 111"/>
                <a:gd name="T4" fmla="*/ 5 w 172"/>
                <a:gd name="T5" fmla="*/ 2 h 111"/>
                <a:gd name="T6" fmla="*/ 4 w 172"/>
                <a:gd name="T7" fmla="*/ 0 h 111"/>
                <a:gd name="T8" fmla="*/ 1 w 172"/>
                <a:gd name="T9" fmla="*/ 0 h 111"/>
                <a:gd name="T10" fmla="*/ 1 w 172"/>
                <a:gd name="T11" fmla="*/ 0 h 111"/>
                <a:gd name="T12" fmla="*/ 1 w 172"/>
                <a:gd name="T13" fmla="*/ 2 h 111"/>
                <a:gd name="T14" fmla="*/ 1 w 172"/>
                <a:gd name="T15" fmla="*/ 3 h 111"/>
                <a:gd name="T16" fmla="*/ 0 w 172"/>
                <a:gd name="T17" fmla="*/ 4 h 111"/>
                <a:gd name="T18" fmla="*/ 0 w 172"/>
                <a:gd name="T19" fmla="*/ 5 h 111"/>
                <a:gd name="T20" fmla="*/ 0 w 172"/>
                <a:gd name="T21" fmla="*/ 5 h 111"/>
                <a:gd name="T22" fmla="*/ 1 w 172"/>
                <a:gd name="T23" fmla="*/ 6 h 111"/>
                <a:gd name="T24" fmla="*/ 3 w 172"/>
                <a:gd name="T25" fmla="*/ 5 h 111"/>
                <a:gd name="T26" fmla="*/ 6 w 172"/>
                <a:gd name="T27" fmla="*/ 5 h 111"/>
                <a:gd name="T28" fmla="*/ 8 w 172"/>
                <a:gd name="T29" fmla="*/ 5 h 111"/>
                <a:gd name="T30" fmla="*/ 9 w 172"/>
                <a:gd name="T31" fmla="*/ 4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2"/>
                <a:gd name="T49" fmla="*/ 0 h 111"/>
                <a:gd name="T50" fmla="*/ 172 w 172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2" h="111">
                  <a:moveTo>
                    <a:pt x="165" y="68"/>
                  </a:moveTo>
                  <a:cubicBezTo>
                    <a:pt x="165" y="68"/>
                    <a:pt x="143" y="49"/>
                    <a:pt x="128" y="43"/>
                  </a:cubicBezTo>
                  <a:cubicBezTo>
                    <a:pt x="114" y="38"/>
                    <a:pt x="108" y="36"/>
                    <a:pt x="97" y="32"/>
                  </a:cubicBezTo>
                  <a:cubicBezTo>
                    <a:pt x="87" y="28"/>
                    <a:pt x="81" y="9"/>
                    <a:pt x="75" y="5"/>
                  </a:cubicBezTo>
                  <a:cubicBezTo>
                    <a:pt x="69" y="2"/>
                    <a:pt x="46" y="0"/>
                    <a:pt x="29" y="0"/>
                  </a:cubicBezTo>
                  <a:cubicBezTo>
                    <a:pt x="22" y="0"/>
                    <a:pt x="18" y="2"/>
                    <a:pt x="15" y="4"/>
                  </a:cubicBezTo>
                  <a:cubicBezTo>
                    <a:pt x="17" y="10"/>
                    <a:pt x="21" y="20"/>
                    <a:pt x="21" y="26"/>
                  </a:cubicBezTo>
                  <a:cubicBezTo>
                    <a:pt x="20" y="36"/>
                    <a:pt x="16" y="39"/>
                    <a:pt x="14" y="48"/>
                  </a:cubicBezTo>
                  <a:cubicBezTo>
                    <a:pt x="11" y="57"/>
                    <a:pt x="3" y="73"/>
                    <a:pt x="3" y="73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85" y="87"/>
                    <a:pt x="118" y="89"/>
                  </a:cubicBezTo>
                  <a:cubicBezTo>
                    <a:pt x="131" y="90"/>
                    <a:pt x="153" y="93"/>
                    <a:pt x="161" y="89"/>
                  </a:cubicBezTo>
                  <a:cubicBezTo>
                    <a:pt x="172" y="83"/>
                    <a:pt x="165" y="68"/>
                    <a:pt x="165" y="6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1" name="Freeform 83">
              <a:extLst>
                <a:ext uri="{FF2B5EF4-FFF2-40B4-BE49-F238E27FC236}">
                  <a16:creationId xmlns:a16="http://schemas.microsoft.com/office/drawing/2014/main" id="{2DAE6DED-8725-CF2F-4B3C-70790E9C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224" y="3495077"/>
              <a:ext cx="74693" cy="60973"/>
            </a:xfrm>
            <a:custGeom>
              <a:avLst/>
              <a:gdLst>
                <a:gd name="T0" fmla="*/ 6 w 132"/>
                <a:gd name="T1" fmla="*/ 4 h 106"/>
                <a:gd name="T2" fmla="*/ 6 w 132"/>
                <a:gd name="T3" fmla="*/ 3 h 106"/>
                <a:gd name="T4" fmla="*/ 7 w 132"/>
                <a:gd name="T5" fmla="*/ 2 h 106"/>
                <a:gd name="T6" fmla="*/ 6 w 132"/>
                <a:gd name="T7" fmla="*/ 0 h 106"/>
                <a:gd name="T8" fmla="*/ 6 w 132"/>
                <a:gd name="T9" fmla="*/ 1 h 106"/>
                <a:gd name="T10" fmla="*/ 4 w 132"/>
                <a:gd name="T11" fmla="*/ 0 h 106"/>
                <a:gd name="T12" fmla="*/ 2 w 132"/>
                <a:gd name="T13" fmla="*/ 1 h 106"/>
                <a:gd name="T14" fmla="*/ 3 w 132"/>
                <a:gd name="T15" fmla="*/ 1 h 106"/>
                <a:gd name="T16" fmla="*/ 4 w 132"/>
                <a:gd name="T17" fmla="*/ 2 h 106"/>
                <a:gd name="T18" fmla="*/ 4 w 132"/>
                <a:gd name="T19" fmla="*/ 3 h 106"/>
                <a:gd name="T20" fmla="*/ 4 w 132"/>
                <a:gd name="T21" fmla="*/ 4 h 106"/>
                <a:gd name="T22" fmla="*/ 1 w 132"/>
                <a:gd name="T23" fmla="*/ 3 h 106"/>
                <a:gd name="T24" fmla="*/ 0 w 132"/>
                <a:gd name="T25" fmla="*/ 4 h 106"/>
                <a:gd name="T26" fmla="*/ 1 w 132"/>
                <a:gd name="T27" fmla="*/ 5 h 106"/>
                <a:gd name="T28" fmla="*/ 2 w 132"/>
                <a:gd name="T29" fmla="*/ 5 h 106"/>
                <a:gd name="T30" fmla="*/ 4 w 132"/>
                <a:gd name="T31" fmla="*/ 5 h 106"/>
                <a:gd name="T32" fmla="*/ 6 w 132"/>
                <a:gd name="T33" fmla="*/ 5 h 106"/>
                <a:gd name="T34" fmla="*/ 6 w 132"/>
                <a:gd name="T35" fmla="*/ 5 h 106"/>
                <a:gd name="T36" fmla="*/ 6 w 132"/>
                <a:gd name="T37" fmla="*/ 4 h 10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2"/>
                <a:gd name="T58" fmla="*/ 0 h 106"/>
                <a:gd name="T59" fmla="*/ 132 w 132"/>
                <a:gd name="T60" fmla="*/ 106 h 10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2" h="106">
                  <a:moveTo>
                    <a:pt x="114" y="74"/>
                  </a:moveTo>
                  <a:cubicBezTo>
                    <a:pt x="114" y="74"/>
                    <a:pt x="122" y="58"/>
                    <a:pt x="125" y="49"/>
                  </a:cubicBezTo>
                  <a:cubicBezTo>
                    <a:pt x="127" y="40"/>
                    <a:pt x="131" y="37"/>
                    <a:pt x="132" y="27"/>
                  </a:cubicBezTo>
                  <a:cubicBezTo>
                    <a:pt x="132" y="21"/>
                    <a:pt x="128" y="11"/>
                    <a:pt x="126" y="5"/>
                  </a:cubicBezTo>
                  <a:cubicBezTo>
                    <a:pt x="121" y="8"/>
                    <a:pt x="120" y="12"/>
                    <a:pt x="120" y="12"/>
                  </a:cubicBezTo>
                  <a:cubicBezTo>
                    <a:pt x="120" y="12"/>
                    <a:pt x="85" y="0"/>
                    <a:pt x="70" y="0"/>
                  </a:cubicBezTo>
                  <a:cubicBezTo>
                    <a:pt x="56" y="0"/>
                    <a:pt x="49" y="2"/>
                    <a:pt x="43" y="10"/>
                  </a:cubicBezTo>
                  <a:cubicBezTo>
                    <a:pt x="37" y="17"/>
                    <a:pt x="62" y="17"/>
                    <a:pt x="68" y="17"/>
                  </a:cubicBezTo>
                  <a:cubicBezTo>
                    <a:pt x="74" y="17"/>
                    <a:pt x="87" y="31"/>
                    <a:pt x="87" y="31"/>
                  </a:cubicBezTo>
                  <a:cubicBezTo>
                    <a:pt x="87" y="31"/>
                    <a:pt x="72" y="34"/>
                    <a:pt x="74" y="49"/>
                  </a:cubicBezTo>
                  <a:cubicBezTo>
                    <a:pt x="76" y="65"/>
                    <a:pt x="84" y="70"/>
                    <a:pt x="72" y="70"/>
                  </a:cubicBezTo>
                  <a:cubicBezTo>
                    <a:pt x="59" y="70"/>
                    <a:pt x="39" y="63"/>
                    <a:pt x="31" y="64"/>
                  </a:cubicBezTo>
                  <a:cubicBezTo>
                    <a:pt x="22" y="66"/>
                    <a:pt x="6" y="62"/>
                    <a:pt x="0" y="72"/>
                  </a:cubicBezTo>
                  <a:cubicBezTo>
                    <a:pt x="0" y="72"/>
                    <a:pt x="18" y="98"/>
                    <a:pt x="26" y="102"/>
                  </a:cubicBezTo>
                  <a:cubicBezTo>
                    <a:pt x="35" y="106"/>
                    <a:pt x="43" y="87"/>
                    <a:pt x="43" y="87"/>
                  </a:cubicBezTo>
                  <a:cubicBezTo>
                    <a:pt x="43" y="87"/>
                    <a:pt x="57" y="89"/>
                    <a:pt x="74" y="89"/>
                  </a:cubicBezTo>
                  <a:cubicBezTo>
                    <a:pt x="90" y="89"/>
                    <a:pt x="111" y="85"/>
                    <a:pt x="111" y="85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4" y="7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2" name="Freeform 84">
              <a:extLst>
                <a:ext uri="{FF2B5EF4-FFF2-40B4-BE49-F238E27FC236}">
                  <a16:creationId xmlns:a16="http://schemas.microsoft.com/office/drawing/2014/main" id="{20E2757A-4C06-EC7F-428D-5CF9E86B5C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1686" y="1725846"/>
              <a:ext cx="2114244" cy="1095992"/>
            </a:xfrm>
            <a:custGeom>
              <a:avLst/>
              <a:gdLst>
                <a:gd name="T0" fmla="*/ 95 w 3718"/>
                <a:gd name="T1" fmla="*/ 16 h 1928"/>
                <a:gd name="T2" fmla="*/ 97 w 3718"/>
                <a:gd name="T3" fmla="*/ 11 h 1928"/>
                <a:gd name="T4" fmla="*/ 7 w 3718"/>
                <a:gd name="T5" fmla="*/ 70 h 1928"/>
                <a:gd name="T6" fmla="*/ 7 w 3718"/>
                <a:gd name="T7" fmla="*/ 81 h 1928"/>
                <a:gd name="T8" fmla="*/ 81 w 3718"/>
                <a:gd name="T9" fmla="*/ 11 h 1928"/>
                <a:gd name="T10" fmla="*/ 2 w 3718"/>
                <a:gd name="T11" fmla="*/ 69 h 1928"/>
                <a:gd name="T12" fmla="*/ 64 w 3718"/>
                <a:gd name="T13" fmla="*/ 23 h 1928"/>
                <a:gd name="T14" fmla="*/ 116 w 3718"/>
                <a:gd name="T15" fmla="*/ 21 h 1928"/>
                <a:gd name="T16" fmla="*/ 137 w 3718"/>
                <a:gd name="T17" fmla="*/ 9 h 1928"/>
                <a:gd name="T18" fmla="*/ 135 w 3718"/>
                <a:gd name="T19" fmla="*/ 6 h 1928"/>
                <a:gd name="T20" fmla="*/ 142 w 3718"/>
                <a:gd name="T21" fmla="*/ 17 h 1928"/>
                <a:gd name="T22" fmla="*/ 134 w 3718"/>
                <a:gd name="T23" fmla="*/ 13 h 1928"/>
                <a:gd name="T24" fmla="*/ 129 w 3718"/>
                <a:gd name="T25" fmla="*/ 8 h 1928"/>
                <a:gd name="T26" fmla="*/ 91 w 3718"/>
                <a:gd name="T27" fmla="*/ 21 h 1928"/>
                <a:gd name="T28" fmla="*/ 96 w 3718"/>
                <a:gd name="T29" fmla="*/ 31 h 1928"/>
                <a:gd name="T30" fmla="*/ 118 w 3718"/>
                <a:gd name="T31" fmla="*/ 7 h 1928"/>
                <a:gd name="T32" fmla="*/ 157 w 3718"/>
                <a:gd name="T33" fmla="*/ 29 h 1928"/>
                <a:gd name="T34" fmla="*/ 155 w 3718"/>
                <a:gd name="T35" fmla="*/ 25 h 1928"/>
                <a:gd name="T36" fmla="*/ 143 w 3718"/>
                <a:gd name="T37" fmla="*/ 20 h 1928"/>
                <a:gd name="T38" fmla="*/ 133 w 3718"/>
                <a:gd name="T39" fmla="*/ 19 h 1928"/>
                <a:gd name="T40" fmla="*/ 146 w 3718"/>
                <a:gd name="T41" fmla="*/ 31 h 1928"/>
                <a:gd name="T42" fmla="*/ 142 w 3718"/>
                <a:gd name="T43" fmla="*/ 43 h 1928"/>
                <a:gd name="T44" fmla="*/ 156 w 3718"/>
                <a:gd name="T45" fmla="*/ 41 h 1928"/>
                <a:gd name="T46" fmla="*/ 164 w 3718"/>
                <a:gd name="T47" fmla="*/ 36 h 1928"/>
                <a:gd name="T48" fmla="*/ 146 w 3718"/>
                <a:gd name="T49" fmla="*/ 32 h 1928"/>
                <a:gd name="T50" fmla="*/ 157 w 3718"/>
                <a:gd name="T51" fmla="*/ 1 h 1928"/>
                <a:gd name="T52" fmla="*/ 157 w 3718"/>
                <a:gd name="T53" fmla="*/ 5 h 1928"/>
                <a:gd name="T54" fmla="*/ 142 w 3718"/>
                <a:gd name="T55" fmla="*/ 10 h 1928"/>
                <a:gd name="T56" fmla="*/ 154 w 3718"/>
                <a:gd name="T57" fmla="*/ 13 h 1928"/>
                <a:gd name="T58" fmla="*/ 175 w 3718"/>
                <a:gd name="T59" fmla="*/ 5 h 1928"/>
                <a:gd name="T60" fmla="*/ 143 w 3718"/>
                <a:gd name="T61" fmla="*/ 28 h 1928"/>
                <a:gd name="T62" fmla="*/ 140 w 3718"/>
                <a:gd name="T63" fmla="*/ 80 h 1928"/>
                <a:gd name="T64" fmla="*/ 153 w 3718"/>
                <a:gd name="T65" fmla="*/ 67 h 1928"/>
                <a:gd name="T66" fmla="*/ 150 w 3718"/>
                <a:gd name="T67" fmla="*/ 57 h 1928"/>
                <a:gd name="T68" fmla="*/ 143 w 3718"/>
                <a:gd name="T69" fmla="*/ 56 h 1928"/>
                <a:gd name="T70" fmla="*/ 139 w 3718"/>
                <a:gd name="T71" fmla="*/ 47 h 1928"/>
                <a:gd name="T72" fmla="*/ 113 w 3718"/>
                <a:gd name="T73" fmla="*/ 67 h 1928"/>
                <a:gd name="T74" fmla="*/ 99 w 3718"/>
                <a:gd name="T75" fmla="*/ 62 h 1928"/>
                <a:gd name="T76" fmla="*/ 103 w 3718"/>
                <a:gd name="T77" fmla="*/ 42 h 1928"/>
                <a:gd name="T78" fmla="*/ 125 w 3718"/>
                <a:gd name="T79" fmla="*/ 34 h 1928"/>
                <a:gd name="T80" fmla="*/ 118 w 3718"/>
                <a:gd name="T81" fmla="*/ 29 h 1928"/>
                <a:gd name="T82" fmla="*/ 112 w 3718"/>
                <a:gd name="T83" fmla="*/ 29 h 1928"/>
                <a:gd name="T84" fmla="*/ 97 w 3718"/>
                <a:gd name="T85" fmla="*/ 32 h 1928"/>
                <a:gd name="T86" fmla="*/ 60 w 3718"/>
                <a:gd name="T87" fmla="*/ 29 h 1928"/>
                <a:gd name="T88" fmla="*/ 51 w 3718"/>
                <a:gd name="T89" fmla="*/ 27 h 1928"/>
                <a:gd name="T90" fmla="*/ 3 w 3718"/>
                <a:gd name="T91" fmla="*/ 50 h 1928"/>
                <a:gd name="T92" fmla="*/ 12 w 3718"/>
                <a:gd name="T93" fmla="*/ 62 h 1928"/>
                <a:gd name="T94" fmla="*/ 10 w 3718"/>
                <a:gd name="T95" fmla="*/ 72 h 1928"/>
                <a:gd name="T96" fmla="*/ 72 w 3718"/>
                <a:gd name="T97" fmla="*/ 80 h 1928"/>
                <a:gd name="T98" fmla="*/ 90 w 3718"/>
                <a:gd name="T99" fmla="*/ 83 h 1928"/>
                <a:gd name="T100" fmla="*/ 97 w 3718"/>
                <a:gd name="T101" fmla="*/ 92 h 1928"/>
                <a:gd name="T102" fmla="*/ 100 w 3718"/>
                <a:gd name="T103" fmla="*/ 95 h 1928"/>
                <a:gd name="T104" fmla="*/ 127 w 3718"/>
                <a:gd name="T105" fmla="*/ 90 h 1928"/>
                <a:gd name="T106" fmla="*/ 138 w 3718"/>
                <a:gd name="T107" fmla="*/ 92 h 1928"/>
                <a:gd name="T108" fmla="*/ 134 w 3718"/>
                <a:gd name="T109" fmla="*/ 83 h 1928"/>
                <a:gd name="T110" fmla="*/ 154 w 3718"/>
                <a:gd name="T111" fmla="*/ 75 h 1928"/>
                <a:gd name="T112" fmla="*/ 58 w 3718"/>
                <a:gd name="T113" fmla="*/ 34 h 1928"/>
                <a:gd name="T114" fmla="*/ 51 w 3718"/>
                <a:gd name="T115" fmla="*/ 40 h 1928"/>
                <a:gd name="T116" fmla="*/ 51 w 3718"/>
                <a:gd name="T117" fmla="*/ 49 h 1928"/>
                <a:gd name="T118" fmla="*/ 73 w 3718"/>
                <a:gd name="T119" fmla="*/ 74 h 1928"/>
                <a:gd name="T120" fmla="*/ 128 w 3718"/>
                <a:gd name="T121" fmla="*/ 43 h 1928"/>
                <a:gd name="T122" fmla="*/ 124 w 3718"/>
                <a:gd name="T123" fmla="*/ 43 h 19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18"/>
                <a:gd name="T187" fmla="*/ 0 h 1928"/>
                <a:gd name="T188" fmla="*/ 3718 w 3718"/>
                <a:gd name="T189" fmla="*/ 1928 h 19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18" h="1928">
                  <a:moveTo>
                    <a:pt x="2074" y="170"/>
                  </a:moveTo>
                  <a:cubicBezTo>
                    <a:pt x="2084" y="169"/>
                    <a:pt x="2113" y="177"/>
                    <a:pt x="2115" y="169"/>
                  </a:cubicBezTo>
                  <a:cubicBezTo>
                    <a:pt x="2117" y="160"/>
                    <a:pt x="2107" y="154"/>
                    <a:pt x="2091" y="154"/>
                  </a:cubicBezTo>
                  <a:cubicBezTo>
                    <a:pt x="2074" y="154"/>
                    <a:pt x="2009" y="165"/>
                    <a:pt x="2009" y="165"/>
                  </a:cubicBezTo>
                  <a:cubicBezTo>
                    <a:pt x="2009" y="165"/>
                    <a:pt x="2065" y="171"/>
                    <a:pt x="2074" y="170"/>
                  </a:cubicBezTo>
                  <a:close/>
                  <a:moveTo>
                    <a:pt x="1990" y="214"/>
                  </a:moveTo>
                  <a:cubicBezTo>
                    <a:pt x="2052" y="218"/>
                    <a:pt x="2047" y="199"/>
                    <a:pt x="2047" y="199"/>
                  </a:cubicBezTo>
                  <a:cubicBezTo>
                    <a:pt x="2043" y="189"/>
                    <a:pt x="2043" y="189"/>
                    <a:pt x="2043" y="189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78" y="176"/>
                    <a:pt x="2078" y="176"/>
                    <a:pt x="2078" y="176"/>
                  </a:cubicBezTo>
                  <a:cubicBezTo>
                    <a:pt x="2033" y="178"/>
                    <a:pt x="2033" y="178"/>
                    <a:pt x="2033" y="178"/>
                  </a:cubicBezTo>
                  <a:cubicBezTo>
                    <a:pt x="2025" y="186"/>
                    <a:pt x="2025" y="186"/>
                    <a:pt x="2025" y="186"/>
                  </a:cubicBezTo>
                  <a:cubicBezTo>
                    <a:pt x="2025" y="186"/>
                    <a:pt x="1966" y="173"/>
                    <a:pt x="1959" y="189"/>
                  </a:cubicBezTo>
                  <a:cubicBezTo>
                    <a:pt x="1953" y="205"/>
                    <a:pt x="1990" y="214"/>
                    <a:pt x="1990" y="214"/>
                  </a:cubicBezTo>
                  <a:close/>
                  <a:moveTo>
                    <a:pt x="1785" y="257"/>
                  </a:moveTo>
                  <a:cubicBezTo>
                    <a:pt x="1749" y="275"/>
                    <a:pt x="1749" y="275"/>
                    <a:pt x="1749" y="275"/>
                  </a:cubicBezTo>
                  <a:cubicBezTo>
                    <a:pt x="1749" y="275"/>
                    <a:pt x="1784" y="281"/>
                    <a:pt x="1768" y="284"/>
                  </a:cubicBezTo>
                  <a:cubicBezTo>
                    <a:pt x="1752" y="288"/>
                    <a:pt x="1694" y="292"/>
                    <a:pt x="1694" y="292"/>
                  </a:cubicBezTo>
                  <a:cubicBezTo>
                    <a:pt x="1680" y="308"/>
                    <a:pt x="1680" y="308"/>
                    <a:pt x="1680" y="308"/>
                  </a:cubicBezTo>
                  <a:cubicBezTo>
                    <a:pt x="1717" y="303"/>
                    <a:pt x="1717" y="303"/>
                    <a:pt x="1717" y="303"/>
                  </a:cubicBezTo>
                  <a:cubicBezTo>
                    <a:pt x="1717" y="303"/>
                    <a:pt x="1732" y="308"/>
                    <a:pt x="1751" y="311"/>
                  </a:cubicBezTo>
                  <a:cubicBezTo>
                    <a:pt x="1770" y="314"/>
                    <a:pt x="1826" y="295"/>
                    <a:pt x="1826" y="295"/>
                  </a:cubicBezTo>
                  <a:cubicBezTo>
                    <a:pt x="1824" y="304"/>
                    <a:pt x="1824" y="304"/>
                    <a:pt x="1824" y="304"/>
                  </a:cubicBezTo>
                  <a:cubicBezTo>
                    <a:pt x="1824" y="304"/>
                    <a:pt x="1862" y="299"/>
                    <a:pt x="1892" y="297"/>
                  </a:cubicBezTo>
                  <a:cubicBezTo>
                    <a:pt x="1920" y="295"/>
                    <a:pt x="1895" y="302"/>
                    <a:pt x="1885" y="304"/>
                  </a:cubicBezTo>
                  <a:cubicBezTo>
                    <a:pt x="1875" y="305"/>
                    <a:pt x="1841" y="309"/>
                    <a:pt x="1816" y="312"/>
                  </a:cubicBezTo>
                  <a:cubicBezTo>
                    <a:pt x="1791" y="315"/>
                    <a:pt x="1760" y="326"/>
                    <a:pt x="1760" y="326"/>
                  </a:cubicBezTo>
                  <a:cubicBezTo>
                    <a:pt x="1760" y="326"/>
                    <a:pt x="1788" y="331"/>
                    <a:pt x="1838" y="333"/>
                  </a:cubicBezTo>
                  <a:cubicBezTo>
                    <a:pt x="1886" y="334"/>
                    <a:pt x="1920" y="313"/>
                    <a:pt x="1920" y="313"/>
                  </a:cubicBezTo>
                  <a:cubicBezTo>
                    <a:pt x="1970" y="300"/>
                    <a:pt x="1970" y="300"/>
                    <a:pt x="1970" y="300"/>
                  </a:cubicBezTo>
                  <a:cubicBezTo>
                    <a:pt x="1970" y="300"/>
                    <a:pt x="1987" y="306"/>
                    <a:pt x="2035" y="300"/>
                  </a:cubicBezTo>
                  <a:cubicBezTo>
                    <a:pt x="2081" y="294"/>
                    <a:pt x="2084" y="284"/>
                    <a:pt x="2103" y="279"/>
                  </a:cubicBezTo>
                  <a:cubicBezTo>
                    <a:pt x="2121" y="274"/>
                    <a:pt x="2106" y="254"/>
                    <a:pt x="2086" y="254"/>
                  </a:cubicBezTo>
                  <a:cubicBezTo>
                    <a:pt x="2066" y="255"/>
                    <a:pt x="2072" y="268"/>
                    <a:pt x="2072" y="268"/>
                  </a:cubicBezTo>
                  <a:cubicBezTo>
                    <a:pt x="2045" y="267"/>
                    <a:pt x="2045" y="267"/>
                    <a:pt x="2045" y="267"/>
                  </a:cubicBezTo>
                  <a:cubicBezTo>
                    <a:pt x="2045" y="267"/>
                    <a:pt x="2050" y="260"/>
                    <a:pt x="2055" y="252"/>
                  </a:cubicBezTo>
                  <a:cubicBezTo>
                    <a:pt x="2060" y="244"/>
                    <a:pt x="2073" y="229"/>
                    <a:pt x="2061" y="229"/>
                  </a:cubicBezTo>
                  <a:cubicBezTo>
                    <a:pt x="2049" y="228"/>
                    <a:pt x="2024" y="239"/>
                    <a:pt x="1991" y="249"/>
                  </a:cubicBezTo>
                  <a:cubicBezTo>
                    <a:pt x="1957" y="259"/>
                    <a:pt x="2012" y="256"/>
                    <a:pt x="2012" y="256"/>
                  </a:cubicBezTo>
                  <a:cubicBezTo>
                    <a:pt x="2009" y="272"/>
                    <a:pt x="2009" y="272"/>
                    <a:pt x="2009" y="272"/>
                  </a:cubicBezTo>
                  <a:cubicBezTo>
                    <a:pt x="1929" y="282"/>
                    <a:pt x="1929" y="282"/>
                    <a:pt x="1929" y="282"/>
                  </a:cubicBezTo>
                  <a:cubicBezTo>
                    <a:pt x="1929" y="282"/>
                    <a:pt x="1923" y="262"/>
                    <a:pt x="1928" y="253"/>
                  </a:cubicBezTo>
                  <a:cubicBezTo>
                    <a:pt x="1932" y="244"/>
                    <a:pt x="1875" y="240"/>
                    <a:pt x="1875" y="240"/>
                  </a:cubicBezTo>
                  <a:lnTo>
                    <a:pt x="1785" y="257"/>
                  </a:lnTo>
                  <a:close/>
                  <a:moveTo>
                    <a:pt x="1887" y="230"/>
                  </a:moveTo>
                  <a:cubicBezTo>
                    <a:pt x="1905" y="215"/>
                    <a:pt x="1886" y="206"/>
                    <a:pt x="1868" y="216"/>
                  </a:cubicBezTo>
                  <a:cubicBezTo>
                    <a:pt x="1849" y="226"/>
                    <a:pt x="1887" y="230"/>
                    <a:pt x="1887" y="230"/>
                  </a:cubicBezTo>
                  <a:close/>
                  <a:moveTo>
                    <a:pt x="2008" y="377"/>
                  </a:moveTo>
                  <a:cubicBezTo>
                    <a:pt x="1988" y="361"/>
                    <a:pt x="1988" y="361"/>
                    <a:pt x="1988" y="361"/>
                  </a:cubicBezTo>
                  <a:cubicBezTo>
                    <a:pt x="1969" y="363"/>
                    <a:pt x="1969" y="363"/>
                    <a:pt x="1969" y="363"/>
                  </a:cubicBezTo>
                  <a:cubicBezTo>
                    <a:pt x="1969" y="363"/>
                    <a:pt x="1957" y="348"/>
                    <a:pt x="1932" y="357"/>
                  </a:cubicBezTo>
                  <a:cubicBezTo>
                    <a:pt x="1906" y="365"/>
                    <a:pt x="1964" y="389"/>
                    <a:pt x="1964" y="389"/>
                  </a:cubicBezTo>
                  <a:lnTo>
                    <a:pt x="2008" y="377"/>
                  </a:lnTo>
                  <a:close/>
                  <a:moveTo>
                    <a:pt x="1638" y="280"/>
                  </a:moveTo>
                  <a:cubicBezTo>
                    <a:pt x="1598" y="290"/>
                    <a:pt x="1626" y="295"/>
                    <a:pt x="1626" y="295"/>
                  </a:cubicBezTo>
                  <a:cubicBezTo>
                    <a:pt x="1683" y="281"/>
                    <a:pt x="1679" y="269"/>
                    <a:pt x="1638" y="280"/>
                  </a:cubicBezTo>
                  <a:close/>
                  <a:moveTo>
                    <a:pt x="1978" y="572"/>
                  </a:moveTo>
                  <a:cubicBezTo>
                    <a:pt x="1997" y="574"/>
                    <a:pt x="2006" y="580"/>
                    <a:pt x="2022" y="588"/>
                  </a:cubicBezTo>
                  <a:cubicBezTo>
                    <a:pt x="2038" y="596"/>
                    <a:pt x="2092" y="587"/>
                    <a:pt x="2092" y="587"/>
                  </a:cubicBezTo>
                  <a:cubicBezTo>
                    <a:pt x="2078" y="542"/>
                    <a:pt x="2078" y="542"/>
                    <a:pt x="2078" y="542"/>
                  </a:cubicBezTo>
                  <a:cubicBezTo>
                    <a:pt x="2012" y="528"/>
                    <a:pt x="2012" y="528"/>
                    <a:pt x="2012" y="528"/>
                  </a:cubicBezTo>
                  <a:cubicBezTo>
                    <a:pt x="1990" y="553"/>
                    <a:pt x="1990" y="553"/>
                    <a:pt x="1990" y="553"/>
                  </a:cubicBezTo>
                  <a:cubicBezTo>
                    <a:pt x="1968" y="555"/>
                    <a:pt x="1968" y="555"/>
                    <a:pt x="1968" y="555"/>
                  </a:cubicBezTo>
                  <a:cubicBezTo>
                    <a:pt x="1968" y="555"/>
                    <a:pt x="1959" y="571"/>
                    <a:pt x="1978" y="572"/>
                  </a:cubicBezTo>
                  <a:close/>
                  <a:moveTo>
                    <a:pt x="109" y="1360"/>
                  </a:moveTo>
                  <a:cubicBezTo>
                    <a:pt x="109" y="1369"/>
                    <a:pt x="126" y="1366"/>
                    <a:pt x="126" y="1366"/>
                  </a:cubicBezTo>
                  <a:cubicBezTo>
                    <a:pt x="124" y="1383"/>
                    <a:pt x="124" y="1383"/>
                    <a:pt x="124" y="1383"/>
                  </a:cubicBezTo>
                  <a:cubicBezTo>
                    <a:pt x="143" y="1371"/>
                    <a:pt x="143" y="1371"/>
                    <a:pt x="143" y="1371"/>
                  </a:cubicBezTo>
                  <a:cubicBezTo>
                    <a:pt x="141" y="1354"/>
                    <a:pt x="141" y="1354"/>
                    <a:pt x="141" y="1354"/>
                  </a:cubicBezTo>
                  <a:cubicBezTo>
                    <a:pt x="141" y="1354"/>
                    <a:pt x="109" y="1351"/>
                    <a:pt x="109" y="1360"/>
                  </a:cubicBezTo>
                  <a:close/>
                  <a:moveTo>
                    <a:pt x="166" y="1535"/>
                  </a:moveTo>
                  <a:cubicBezTo>
                    <a:pt x="166" y="1535"/>
                    <a:pt x="163" y="1521"/>
                    <a:pt x="164" y="1514"/>
                  </a:cubicBezTo>
                  <a:cubicBezTo>
                    <a:pt x="165" y="1507"/>
                    <a:pt x="170" y="1495"/>
                    <a:pt x="162" y="1485"/>
                  </a:cubicBezTo>
                  <a:cubicBezTo>
                    <a:pt x="162" y="1485"/>
                    <a:pt x="136" y="1481"/>
                    <a:pt x="127" y="1479"/>
                  </a:cubicBezTo>
                  <a:cubicBezTo>
                    <a:pt x="118" y="1477"/>
                    <a:pt x="103" y="1453"/>
                    <a:pt x="91" y="1452"/>
                  </a:cubicBezTo>
                  <a:cubicBezTo>
                    <a:pt x="79" y="1451"/>
                    <a:pt x="59" y="1463"/>
                    <a:pt x="64" y="1471"/>
                  </a:cubicBezTo>
                  <a:cubicBezTo>
                    <a:pt x="69" y="1479"/>
                    <a:pt x="78" y="1477"/>
                    <a:pt x="78" y="1477"/>
                  </a:cubicBezTo>
                  <a:cubicBezTo>
                    <a:pt x="87" y="1471"/>
                    <a:pt x="87" y="1471"/>
                    <a:pt x="87" y="1471"/>
                  </a:cubicBezTo>
                  <a:cubicBezTo>
                    <a:pt x="94" y="1476"/>
                    <a:pt x="94" y="1476"/>
                    <a:pt x="94" y="1476"/>
                  </a:cubicBezTo>
                  <a:cubicBezTo>
                    <a:pt x="88" y="1483"/>
                    <a:pt x="88" y="1483"/>
                    <a:pt x="88" y="1483"/>
                  </a:cubicBezTo>
                  <a:cubicBezTo>
                    <a:pt x="88" y="1483"/>
                    <a:pt x="59" y="1488"/>
                    <a:pt x="67" y="1497"/>
                  </a:cubicBezTo>
                  <a:cubicBezTo>
                    <a:pt x="75" y="1506"/>
                    <a:pt x="90" y="1497"/>
                    <a:pt x="90" y="1497"/>
                  </a:cubicBezTo>
                  <a:cubicBezTo>
                    <a:pt x="85" y="1512"/>
                    <a:pt x="85" y="1512"/>
                    <a:pt x="85" y="1512"/>
                  </a:cubicBezTo>
                  <a:cubicBezTo>
                    <a:pt x="100" y="1511"/>
                    <a:pt x="100" y="1511"/>
                    <a:pt x="100" y="1511"/>
                  </a:cubicBezTo>
                  <a:cubicBezTo>
                    <a:pt x="86" y="1522"/>
                    <a:pt x="86" y="1522"/>
                    <a:pt x="86" y="1522"/>
                  </a:cubicBezTo>
                  <a:cubicBezTo>
                    <a:pt x="112" y="1520"/>
                    <a:pt x="112" y="1520"/>
                    <a:pt x="112" y="1520"/>
                  </a:cubicBezTo>
                  <a:cubicBezTo>
                    <a:pt x="112" y="1520"/>
                    <a:pt x="85" y="1531"/>
                    <a:pt x="91" y="1536"/>
                  </a:cubicBezTo>
                  <a:cubicBezTo>
                    <a:pt x="97" y="1541"/>
                    <a:pt x="109" y="1520"/>
                    <a:pt x="115" y="1531"/>
                  </a:cubicBezTo>
                  <a:cubicBezTo>
                    <a:pt x="121" y="1542"/>
                    <a:pt x="99" y="1546"/>
                    <a:pt x="105" y="1553"/>
                  </a:cubicBezTo>
                  <a:cubicBezTo>
                    <a:pt x="111" y="1560"/>
                    <a:pt x="137" y="1555"/>
                    <a:pt x="137" y="1555"/>
                  </a:cubicBezTo>
                  <a:cubicBezTo>
                    <a:pt x="150" y="1547"/>
                    <a:pt x="150" y="1547"/>
                    <a:pt x="150" y="1547"/>
                  </a:cubicBezTo>
                  <a:cubicBezTo>
                    <a:pt x="138" y="1561"/>
                    <a:pt x="138" y="1561"/>
                    <a:pt x="138" y="1561"/>
                  </a:cubicBezTo>
                  <a:cubicBezTo>
                    <a:pt x="138" y="1561"/>
                    <a:pt x="113" y="1561"/>
                    <a:pt x="124" y="1570"/>
                  </a:cubicBezTo>
                  <a:cubicBezTo>
                    <a:pt x="135" y="1579"/>
                    <a:pt x="144" y="1579"/>
                    <a:pt x="144" y="1579"/>
                  </a:cubicBezTo>
                  <a:cubicBezTo>
                    <a:pt x="144" y="1579"/>
                    <a:pt x="168" y="1596"/>
                    <a:pt x="180" y="1586"/>
                  </a:cubicBezTo>
                  <a:cubicBezTo>
                    <a:pt x="192" y="1576"/>
                    <a:pt x="201" y="1568"/>
                    <a:pt x="192" y="1557"/>
                  </a:cubicBezTo>
                  <a:cubicBezTo>
                    <a:pt x="183" y="1546"/>
                    <a:pt x="166" y="1535"/>
                    <a:pt x="166" y="1535"/>
                  </a:cubicBezTo>
                  <a:close/>
                  <a:moveTo>
                    <a:pt x="1536" y="249"/>
                  </a:moveTo>
                  <a:cubicBezTo>
                    <a:pt x="1536" y="249"/>
                    <a:pt x="1574" y="242"/>
                    <a:pt x="1583" y="248"/>
                  </a:cubicBezTo>
                  <a:cubicBezTo>
                    <a:pt x="1593" y="254"/>
                    <a:pt x="1587" y="264"/>
                    <a:pt x="1599" y="264"/>
                  </a:cubicBezTo>
                  <a:cubicBezTo>
                    <a:pt x="1612" y="264"/>
                    <a:pt x="1634" y="259"/>
                    <a:pt x="1634" y="259"/>
                  </a:cubicBezTo>
                  <a:cubicBezTo>
                    <a:pt x="1634" y="259"/>
                    <a:pt x="1650" y="268"/>
                    <a:pt x="1665" y="261"/>
                  </a:cubicBezTo>
                  <a:cubicBezTo>
                    <a:pt x="1681" y="255"/>
                    <a:pt x="1678" y="238"/>
                    <a:pt x="1678" y="238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744" y="224"/>
                    <a:pt x="1744" y="224"/>
                    <a:pt x="1744" y="224"/>
                  </a:cubicBezTo>
                  <a:cubicBezTo>
                    <a:pt x="1719" y="247"/>
                    <a:pt x="1719" y="247"/>
                    <a:pt x="1719" y="247"/>
                  </a:cubicBezTo>
                  <a:cubicBezTo>
                    <a:pt x="1754" y="253"/>
                    <a:pt x="1754" y="253"/>
                    <a:pt x="1754" y="253"/>
                  </a:cubicBezTo>
                  <a:cubicBezTo>
                    <a:pt x="1791" y="238"/>
                    <a:pt x="1791" y="238"/>
                    <a:pt x="1791" y="238"/>
                  </a:cubicBezTo>
                  <a:cubicBezTo>
                    <a:pt x="1854" y="209"/>
                    <a:pt x="1854" y="209"/>
                    <a:pt x="1854" y="209"/>
                  </a:cubicBezTo>
                  <a:cubicBezTo>
                    <a:pt x="1854" y="209"/>
                    <a:pt x="1806" y="194"/>
                    <a:pt x="1797" y="194"/>
                  </a:cubicBezTo>
                  <a:cubicBezTo>
                    <a:pt x="1787" y="194"/>
                    <a:pt x="1734" y="190"/>
                    <a:pt x="1734" y="190"/>
                  </a:cubicBezTo>
                  <a:cubicBezTo>
                    <a:pt x="1683" y="198"/>
                    <a:pt x="1683" y="198"/>
                    <a:pt x="1683" y="198"/>
                  </a:cubicBezTo>
                  <a:cubicBezTo>
                    <a:pt x="1680" y="212"/>
                    <a:pt x="1680" y="212"/>
                    <a:pt x="1680" y="212"/>
                  </a:cubicBezTo>
                  <a:cubicBezTo>
                    <a:pt x="1602" y="218"/>
                    <a:pt x="1602" y="218"/>
                    <a:pt x="1602" y="218"/>
                  </a:cubicBezTo>
                  <a:cubicBezTo>
                    <a:pt x="1602" y="218"/>
                    <a:pt x="1576" y="209"/>
                    <a:pt x="1554" y="213"/>
                  </a:cubicBezTo>
                  <a:cubicBezTo>
                    <a:pt x="1532" y="216"/>
                    <a:pt x="1535" y="224"/>
                    <a:pt x="1535" y="224"/>
                  </a:cubicBezTo>
                  <a:cubicBezTo>
                    <a:pt x="1535" y="229"/>
                    <a:pt x="1536" y="249"/>
                    <a:pt x="1536" y="249"/>
                  </a:cubicBezTo>
                  <a:close/>
                  <a:moveTo>
                    <a:pt x="100" y="1323"/>
                  </a:moveTo>
                  <a:cubicBezTo>
                    <a:pt x="102" y="1338"/>
                    <a:pt x="113" y="1344"/>
                    <a:pt x="113" y="1344"/>
                  </a:cubicBezTo>
                  <a:cubicBezTo>
                    <a:pt x="121" y="1323"/>
                    <a:pt x="121" y="1323"/>
                    <a:pt x="121" y="1323"/>
                  </a:cubicBezTo>
                  <a:cubicBezTo>
                    <a:pt x="121" y="1323"/>
                    <a:pt x="98" y="1308"/>
                    <a:pt x="100" y="1323"/>
                  </a:cubicBezTo>
                  <a:close/>
                  <a:moveTo>
                    <a:pt x="82" y="1291"/>
                  </a:moveTo>
                  <a:cubicBezTo>
                    <a:pt x="78" y="1290"/>
                    <a:pt x="62" y="1294"/>
                    <a:pt x="56" y="1297"/>
                  </a:cubicBezTo>
                  <a:cubicBezTo>
                    <a:pt x="50" y="1300"/>
                    <a:pt x="45" y="1315"/>
                    <a:pt x="35" y="1315"/>
                  </a:cubicBezTo>
                  <a:cubicBezTo>
                    <a:pt x="25" y="1315"/>
                    <a:pt x="24" y="1307"/>
                    <a:pt x="34" y="1307"/>
                  </a:cubicBezTo>
                  <a:cubicBezTo>
                    <a:pt x="44" y="1307"/>
                    <a:pt x="62" y="1294"/>
                    <a:pt x="48" y="1295"/>
                  </a:cubicBezTo>
                  <a:cubicBezTo>
                    <a:pt x="34" y="1296"/>
                    <a:pt x="32" y="1299"/>
                    <a:pt x="32" y="1299"/>
                  </a:cubicBezTo>
                  <a:cubicBezTo>
                    <a:pt x="32" y="1299"/>
                    <a:pt x="35" y="1285"/>
                    <a:pt x="24" y="1289"/>
                  </a:cubicBezTo>
                  <a:cubicBezTo>
                    <a:pt x="13" y="1293"/>
                    <a:pt x="11" y="1306"/>
                    <a:pt x="11" y="1306"/>
                  </a:cubicBezTo>
                  <a:cubicBezTo>
                    <a:pt x="3" y="1324"/>
                    <a:pt x="3" y="1324"/>
                    <a:pt x="3" y="1324"/>
                  </a:cubicBezTo>
                  <a:cubicBezTo>
                    <a:pt x="3" y="1324"/>
                    <a:pt x="0" y="1336"/>
                    <a:pt x="3" y="1337"/>
                  </a:cubicBezTo>
                  <a:cubicBezTo>
                    <a:pt x="6" y="1338"/>
                    <a:pt x="9" y="1347"/>
                    <a:pt x="9" y="1347"/>
                  </a:cubicBezTo>
                  <a:cubicBezTo>
                    <a:pt x="0" y="1351"/>
                    <a:pt x="0" y="1351"/>
                    <a:pt x="0" y="1351"/>
                  </a:cubicBezTo>
                  <a:cubicBezTo>
                    <a:pt x="5" y="1386"/>
                    <a:pt x="5" y="1386"/>
                    <a:pt x="5" y="1386"/>
                  </a:cubicBezTo>
                  <a:cubicBezTo>
                    <a:pt x="5" y="1386"/>
                    <a:pt x="0" y="1398"/>
                    <a:pt x="16" y="1397"/>
                  </a:cubicBezTo>
                  <a:cubicBezTo>
                    <a:pt x="27" y="1396"/>
                    <a:pt x="16" y="1379"/>
                    <a:pt x="13" y="1372"/>
                  </a:cubicBezTo>
                  <a:cubicBezTo>
                    <a:pt x="10" y="1365"/>
                    <a:pt x="18" y="1359"/>
                    <a:pt x="23" y="1356"/>
                  </a:cubicBezTo>
                  <a:cubicBezTo>
                    <a:pt x="28" y="1353"/>
                    <a:pt x="36" y="1344"/>
                    <a:pt x="34" y="1340"/>
                  </a:cubicBezTo>
                  <a:cubicBezTo>
                    <a:pt x="34" y="1340"/>
                    <a:pt x="32" y="1329"/>
                    <a:pt x="38" y="1324"/>
                  </a:cubicBezTo>
                  <a:cubicBezTo>
                    <a:pt x="44" y="1319"/>
                    <a:pt x="55" y="1308"/>
                    <a:pt x="64" y="1303"/>
                  </a:cubicBezTo>
                  <a:cubicBezTo>
                    <a:pt x="73" y="1298"/>
                    <a:pt x="86" y="1292"/>
                    <a:pt x="82" y="1291"/>
                  </a:cubicBezTo>
                  <a:close/>
                  <a:moveTo>
                    <a:pt x="1263" y="454"/>
                  </a:moveTo>
                  <a:cubicBezTo>
                    <a:pt x="1268" y="466"/>
                    <a:pt x="1238" y="482"/>
                    <a:pt x="1266" y="478"/>
                  </a:cubicBezTo>
                  <a:cubicBezTo>
                    <a:pt x="1294" y="474"/>
                    <a:pt x="1328" y="462"/>
                    <a:pt x="1328" y="462"/>
                  </a:cubicBezTo>
                  <a:cubicBezTo>
                    <a:pt x="1354" y="468"/>
                    <a:pt x="1354" y="468"/>
                    <a:pt x="1354" y="468"/>
                  </a:cubicBezTo>
                  <a:cubicBezTo>
                    <a:pt x="1405" y="430"/>
                    <a:pt x="1405" y="430"/>
                    <a:pt x="1405" y="430"/>
                  </a:cubicBezTo>
                  <a:cubicBezTo>
                    <a:pt x="1493" y="402"/>
                    <a:pt x="1493" y="402"/>
                    <a:pt x="1493" y="402"/>
                  </a:cubicBezTo>
                  <a:cubicBezTo>
                    <a:pt x="1576" y="379"/>
                    <a:pt x="1576" y="379"/>
                    <a:pt x="1576" y="379"/>
                  </a:cubicBezTo>
                  <a:cubicBezTo>
                    <a:pt x="1642" y="366"/>
                    <a:pt x="1642" y="366"/>
                    <a:pt x="1642" y="366"/>
                  </a:cubicBezTo>
                  <a:cubicBezTo>
                    <a:pt x="1642" y="366"/>
                    <a:pt x="1603" y="334"/>
                    <a:pt x="1600" y="330"/>
                  </a:cubicBezTo>
                  <a:cubicBezTo>
                    <a:pt x="1596" y="327"/>
                    <a:pt x="1549" y="333"/>
                    <a:pt x="1549" y="333"/>
                  </a:cubicBezTo>
                  <a:cubicBezTo>
                    <a:pt x="1505" y="339"/>
                    <a:pt x="1505" y="339"/>
                    <a:pt x="1505" y="339"/>
                  </a:cubicBezTo>
                  <a:cubicBezTo>
                    <a:pt x="1481" y="321"/>
                    <a:pt x="1481" y="321"/>
                    <a:pt x="1481" y="321"/>
                  </a:cubicBezTo>
                  <a:cubicBezTo>
                    <a:pt x="1427" y="328"/>
                    <a:pt x="1427" y="328"/>
                    <a:pt x="1427" y="328"/>
                  </a:cubicBezTo>
                  <a:cubicBezTo>
                    <a:pt x="1393" y="338"/>
                    <a:pt x="1393" y="338"/>
                    <a:pt x="1393" y="338"/>
                  </a:cubicBezTo>
                  <a:cubicBezTo>
                    <a:pt x="1383" y="351"/>
                    <a:pt x="1383" y="351"/>
                    <a:pt x="1383" y="351"/>
                  </a:cubicBezTo>
                  <a:cubicBezTo>
                    <a:pt x="1372" y="371"/>
                    <a:pt x="1372" y="371"/>
                    <a:pt x="1372" y="371"/>
                  </a:cubicBezTo>
                  <a:cubicBezTo>
                    <a:pt x="1340" y="380"/>
                    <a:pt x="1340" y="380"/>
                    <a:pt x="1340" y="380"/>
                  </a:cubicBezTo>
                  <a:cubicBezTo>
                    <a:pt x="1294" y="393"/>
                    <a:pt x="1294" y="393"/>
                    <a:pt x="1294" y="393"/>
                  </a:cubicBezTo>
                  <a:cubicBezTo>
                    <a:pt x="1307" y="401"/>
                    <a:pt x="1307" y="401"/>
                    <a:pt x="1307" y="401"/>
                  </a:cubicBezTo>
                  <a:cubicBezTo>
                    <a:pt x="1227" y="437"/>
                    <a:pt x="1227" y="437"/>
                    <a:pt x="1227" y="437"/>
                  </a:cubicBezTo>
                  <a:cubicBezTo>
                    <a:pt x="1227" y="437"/>
                    <a:pt x="1259" y="442"/>
                    <a:pt x="1263" y="454"/>
                  </a:cubicBezTo>
                  <a:close/>
                  <a:moveTo>
                    <a:pt x="132" y="1313"/>
                  </a:moveTo>
                  <a:cubicBezTo>
                    <a:pt x="125" y="1331"/>
                    <a:pt x="125" y="1331"/>
                    <a:pt x="125" y="1331"/>
                  </a:cubicBezTo>
                  <a:cubicBezTo>
                    <a:pt x="127" y="1343"/>
                    <a:pt x="127" y="1343"/>
                    <a:pt x="127" y="1343"/>
                  </a:cubicBezTo>
                  <a:cubicBezTo>
                    <a:pt x="143" y="1333"/>
                    <a:pt x="143" y="1333"/>
                    <a:pt x="143" y="1333"/>
                  </a:cubicBezTo>
                  <a:lnTo>
                    <a:pt x="132" y="1313"/>
                  </a:lnTo>
                  <a:close/>
                  <a:moveTo>
                    <a:pt x="2786" y="403"/>
                  </a:moveTo>
                  <a:cubicBezTo>
                    <a:pt x="2802" y="409"/>
                    <a:pt x="2824" y="395"/>
                    <a:pt x="2824" y="395"/>
                  </a:cubicBezTo>
                  <a:cubicBezTo>
                    <a:pt x="2865" y="394"/>
                    <a:pt x="2865" y="394"/>
                    <a:pt x="2865" y="394"/>
                  </a:cubicBezTo>
                  <a:cubicBezTo>
                    <a:pt x="2865" y="394"/>
                    <a:pt x="2891" y="404"/>
                    <a:pt x="2899" y="398"/>
                  </a:cubicBezTo>
                  <a:cubicBezTo>
                    <a:pt x="2906" y="393"/>
                    <a:pt x="2900" y="370"/>
                    <a:pt x="2883" y="366"/>
                  </a:cubicBezTo>
                  <a:cubicBezTo>
                    <a:pt x="2865" y="362"/>
                    <a:pt x="2849" y="367"/>
                    <a:pt x="2849" y="367"/>
                  </a:cubicBezTo>
                  <a:cubicBezTo>
                    <a:pt x="2823" y="367"/>
                    <a:pt x="2823" y="367"/>
                    <a:pt x="2823" y="367"/>
                  </a:cubicBezTo>
                  <a:cubicBezTo>
                    <a:pt x="2823" y="367"/>
                    <a:pt x="2793" y="355"/>
                    <a:pt x="2782" y="364"/>
                  </a:cubicBezTo>
                  <a:cubicBezTo>
                    <a:pt x="2772" y="372"/>
                    <a:pt x="2768" y="378"/>
                    <a:pt x="2768" y="378"/>
                  </a:cubicBezTo>
                  <a:cubicBezTo>
                    <a:pt x="2781" y="385"/>
                    <a:pt x="2781" y="385"/>
                    <a:pt x="2781" y="385"/>
                  </a:cubicBezTo>
                  <a:cubicBezTo>
                    <a:pt x="2781" y="385"/>
                    <a:pt x="2772" y="397"/>
                    <a:pt x="2786" y="403"/>
                  </a:cubicBezTo>
                  <a:close/>
                  <a:moveTo>
                    <a:pt x="2471" y="347"/>
                  </a:moveTo>
                  <a:cubicBezTo>
                    <a:pt x="2457" y="346"/>
                    <a:pt x="2380" y="337"/>
                    <a:pt x="2339" y="339"/>
                  </a:cubicBezTo>
                  <a:cubicBezTo>
                    <a:pt x="2300" y="340"/>
                    <a:pt x="2311" y="339"/>
                    <a:pt x="2310" y="347"/>
                  </a:cubicBezTo>
                  <a:cubicBezTo>
                    <a:pt x="2308" y="356"/>
                    <a:pt x="2294" y="359"/>
                    <a:pt x="2260" y="367"/>
                  </a:cubicBezTo>
                  <a:cubicBezTo>
                    <a:pt x="2227" y="374"/>
                    <a:pt x="2259" y="375"/>
                    <a:pt x="2257" y="397"/>
                  </a:cubicBezTo>
                  <a:cubicBezTo>
                    <a:pt x="2245" y="414"/>
                    <a:pt x="2245" y="414"/>
                    <a:pt x="2245" y="414"/>
                  </a:cubicBezTo>
                  <a:cubicBezTo>
                    <a:pt x="2265" y="426"/>
                    <a:pt x="2265" y="426"/>
                    <a:pt x="2265" y="426"/>
                  </a:cubicBezTo>
                  <a:cubicBezTo>
                    <a:pt x="2318" y="404"/>
                    <a:pt x="2318" y="404"/>
                    <a:pt x="2318" y="404"/>
                  </a:cubicBezTo>
                  <a:cubicBezTo>
                    <a:pt x="2318" y="404"/>
                    <a:pt x="2299" y="397"/>
                    <a:pt x="2323" y="390"/>
                  </a:cubicBezTo>
                  <a:cubicBezTo>
                    <a:pt x="2348" y="383"/>
                    <a:pt x="2365" y="403"/>
                    <a:pt x="2365" y="403"/>
                  </a:cubicBezTo>
                  <a:cubicBezTo>
                    <a:pt x="2403" y="398"/>
                    <a:pt x="2403" y="398"/>
                    <a:pt x="2403" y="398"/>
                  </a:cubicBezTo>
                  <a:cubicBezTo>
                    <a:pt x="2398" y="383"/>
                    <a:pt x="2398" y="383"/>
                    <a:pt x="2398" y="383"/>
                  </a:cubicBezTo>
                  <a:cubicBezTo>
                    <a:pt x="2398" y="383"/>
                    <a:pt x="2447" y="381"/>
                    <a:pt x="2457" y="369"/>
                  </a:cubicBezTo>
                  <a:cubicBezTo>
                    <a:pt x="2467" y="358"/>
                    <a:pt x="2484" y="347"/>
                    <a:pt x="2471" y="347"/>
                  </a:cubicBezTo>
                  <a:close/>
                  <a:moveTo>
                    <a:pt x="2526" y="101"/>
                  </a:moveTo>
                  <a:cubicBezTo>
                    <a:pt x="2489" y="105"/>
                    <a:pt x="2489" y="105"/>
                    <a:pt x="2489" y="105"/>
                  </a:cubicBezTo>
                  <a:cubicBezTo>
                    <a:pt x="2503" y="123"/>
                    <a:pt x="2503" y="123"/>
                    <a:pt x="2503" y="123"/>
                  </a:cubicBezTo>
                  <a:lnTo>
                    <a:pt x="2526" y="101"/>
                  </a:lnTo>
                  <a:close/>
                  <a:moveTo>
                    <a:pt x="2406" y="324"/>
                  </a:moveTo>
                  <a:cubicBezTo>
                    <a:pt x="2417" y="317"/>
                    <a:pt x="2442" y="298"/>
                    <a:pt x="2438" y="290"/>
                  </a:cubicBezTo>
                  <a:cubicBezTo>
                    <a:pt x="2434" y="281"/>
                    <a:pt x="2400" y="283"/>
                    <a:pt x="2389" y="284"/>
                  </a:cubicBezTo>
                  <a:cubicBezTo>
                    <a:pt x="2366" y="286"/>
                    <a:pt x="2322" y="301"/>
                    <a:pt x="2334" y="309"/>
                  </a:cubicBezTo>
                  <a:cubicBezTo>
                    <a:pt x="2346" y="316"/>
                    <a:pt x="2406" y="324"/>
                    <a:pt x="2406" y="324"/>
                  </a:cubicBezTo>
                  <a:close/>
                  <a:moveTo>
                    <a:pt x="2634" y="123"/>
                  </a:moveTo>
                  <a:cubicBezTo>
                    <a:pt x="2598" y="131"/>
                    <a:pt x="2598" y="131"/>
                    <a:pt x="2598" y="131"/>
                  </a:cubicBezTo>
                  <a:cubicBezTo>
                    <a:pt x="2623" y="142"/>
                    <a:pt x="2623" y="142"/>
                    <a:pt x="2623" y="142"/>
                  </a:cubicBezTo>
                  <a:cubicBezTo>
                    <a:pt x="2623" y="142"/>
                    <a:pt x="2609" y="146"/>
                    <a:pt x="2611" y="156"/>
                  </a:cubicBezTo>
                  <a:cubicBezTo>
                    <a:pt x="2613" y="165"/>
                    <a:pt x="2640" y="162"/>
                    <a:pt x="2640" y="162"/>
                  </a:cubicBezTo>
                  <a:cubicBezTo>
                    <a:pt x="2627" y="171"/>
                    <a:pt x="2627" y="171"/>
                    <a:pt x="2627" y="171"/>
                  </a:cubicBezTo>
                  <a:cubicBezTo>
                    <a:pt x="2627" y="171"/>
                    <a:pt x="2645" y="175"/>
                    <a:pt x="2659" y="184"/>
                  </a:cubicBezTo>
                  <a:cubicBezTo>
                    <a:pt x="2673" y="192"/>
                    <a:pt x="2698" y="172"/>
                    <a:pt x="2698" y="172"/>
                  </a:cubicBezTo>
                  <a:cubicBezTo>
                    <a:pt x="2714" y="164"/>
                    <a:pt x="2714" y="164"/>
                    <a:pt x="2714" y="164"/>
                  </a:cubicBezTo>
                  <a:cubicBezTo>
                    <a:pt x="2714" y="164"/>
                    <a:pt x="2719" y="170"/>
                    <a:pt x="2725" y="181"/>
                  </a:cubicBezTo>
                  <a:cubicBezTo>
                    <a:pt x="2732" y="191"/>
                    <a:pt x="2756" y="173"/>
                    <a:pt x="2765" y="171"/>
                  </a:cubicBezTo>
                  <a:cubicBezTo>
                    <a:pt x="2774" y="169"/>
                    <a:pt x="2787" y="155"/>
                    <a:pt x="2787" y="155"/>
                  </a:cubicBezTo>
                  <a:cubicBezTo>
                    <a:pt x="2795" y="164"/>
                    <a:pt x="2795" y="164"/>
                    <a:pt x="2795" y="164"/>
                  </a:cubicBezTo>
                  <a:cubicBezTo>
                    <a:pt x="2795" y="164"/>
                    <a:pt x="2808" y="151"/>
                    <a:pt x="2810" y="146"/>
                  </a:cubicBezTo>
                  <a:cubicBezTo>
                    <a:pt x="2812" y="141"/>
                    <a:pt x="2865" y="143"/>
                    <a:pt x="2877" y="143"/>
                  </a:cubicBezTo>
                  <a:cubicBezTo>
                    <a:pt x="2889" y="143"/>
                    <a:pt x="2886" y="129"/>
                    <a:pt x="2886" y="129"/>
                  </a:cubicBezTo>
                  <a:cubicBezTo>
                    <a:pt x="2844" y="128"/>
                    <a:pt x="2844" y="128"/>
                    <a:pt x="2844" y="128"/>
                  </a:cubicBezTo>
                  <a:cubicBezTo>
                    <a:pt x="2864" y="117"/>
                    <a:pt x="2864" y="117"/>
                    <a:pt x="2864" y="117"/>
                  </a:cubicBezTo>
                  <a:cubicBezTo>
                    <a:pt x="2864" y="117"/>
                    <a:pt x="2872" y="97"/>
                    <a:pt x="2867" y="90"/>
                  </a:cubicBezTo>
                  <a:cubicBezTo>
                    <a:pt x="2863" y="84"/>
                    <a:pt x="2829" y="102"/>
                    <a:pt x="2829" y="102"/>
                  </a:cubicBezTo>
                  <a:cubicBezTo>
                    <a:pt x="2826" y="85"/>
                    <a:pt x="2826" y="85"/>
                    <a:pt x="2826" y="85"/>
                  </a:cubicBezTo>
                  <a:cubicBezTo>
                    <a:pt x="2794" y="91"/>
                    <a:pt x="2794" y="91"/>
                    <a:pt x="2794" y="91"/>
                  </a:cubicBezTo>
                  <a:cubicBezTo>
                    <a:pt x="2794" y="91"/>
                    <a:pt x="2791" y="71"/>
                    <a:pt x="2781" y="60"/>
                  </a:cubicBezTo>
                  <a:cubicBezTo>
                    <a:pt x="2772" y="49"/>
                    <a:pt x="2730" y="72"/>
                    <a:pt x="2730" y="72"/>
                  </a:cubicBezTo>
                  <a:cubicBezTo>
                    <a:pt x="2678" y="75"/>
                    <a:pt x="2678" y="75"/>
                    <a:pt x="2678" y="75"/>
                  </a:cubicBezTo>
                  <a:cubicBezTo>
                    <a:pt x="2695" y="88"/>
                    <a:pt x="2695" y="88"/>
                    <a:pt x="2695" y="88"/>
                  </a:cubicBezTo>
                  <a:cubicBezTo>
                    <a:pt x="2695" y="88"/>
                    <a:pt x="2658" y="85"/>
                    <a:pt x="2645" y="89"/>
                  </a:cubicBezTo>
                  <a:cubicBezTo>
                    <a:pt x="2633" y="93"/>
                    <a:pt x="2653" y="106"/>
                    <a:pt x="2653" y="106"/>
                  </a:cubicBezTo>
                  <a:cubicBezTo>
                    <a:pt x="2653" y="106"/>
                    <a:pt x="2596" y="100"/>
                    <a:pt x="2592" y="114"/>
                  </a:cubicBezTo>
                  <a:cubicBezTo>
                    <a:pt x="2587" y="128"/>
                    <a:pt x="2634" y="123"/>
                    <a:pt x="2634" y="123"/>
                  </a:cubicBezTo>
                  <a:close/>
                  <a:moveTo>
                    <a:pt x="2644" y="199"/>
                  </a:moveTo>
                  <a:cubicBezTo>
                    <a:pt x="2622" y="203"/>
                    <a:pt x="2622" y="213"/>
                    <a:pt x="2622" y="213"/>
                  </a:cubicBezTo>
                  <a:cubicBezTo>
                    <a:pt x="2640" y="216"/>
                    <a:pt x="2640" y="216"/>
                    <a:pt x="2640" y="216"/>
                  </a:cubicBezTo>
                  <a:cubicBezTo>
                    <a:pt x="2655" y="216"/>
                    <a:pt x="2667" y="195"/>
                    <a:pt x="2644" y="199"/>
                  </a:cubicBezTo>
                  <a:close/>
                  <a:moveTo>
                    <a:pt x="2488" y="226"/>
                  </a:moveTo>
                  <a:cubicBezTo>
                    <a:pt x="2484" y="226"/>
                    <a:pt x="2476" y="222"/>
                    <a:pt x="2476" y="222"/>
                  </a:cubicBezTo>
                  <a:cubicBezTo>
                    <a:pt x="2476" y="222"/>
                    <a:pt x="2416" y="222"/>
                    <a:pt x="2416" y="230"/>
                  </a:cubicBezTo>
                  <a:cubicBezTo>
                    <a:pt x="2416" y="239"/>
                    <a:pt x="2435" y="241"/>
                    <a:pt x="2435" y="241"/>
                  </a:cubicBezTo>
                  <a:cubicBezTo>
                    <a:pt x="2436" y="253"/>
                    <a:pt x="2436" y="253"/>
                    <a:pt x="2436" y="253"/>
                  </a:cubicBezTo>
                  <a:cubicBezTo>
                    <a:pt x="2436" y="253"/>
                    <a:pt x="2486" y="258"/>
                    <a:pt x="2490" y="256"/>
                  </a:cubicBezTo>
                  <a:cubicBezTo>
                    <a:pt x="2494" y="254"/>
                    <a:pt x="2506" y="255"/>
                    <a:pt x="2512" y="255"/>
                  </a:cubicBezTo>
                  <a:cubicBezTo>
                    <a:pt x="2510" y="263"/>
                    <a:pt x="2508" y="274"/>
                    <a:pt x="2508" y="274"/>
                  </a:cubicBezTo>
                  <a:cubicBezTo>
                    <a:pt x="2471" y="301"/>
                    <a:pt x="2471" y="301"/>
                    <a:pt x="2471" y="301"/>
                  </a:cubicBezTo>
                  <a:cubicBezTo>
                    <a:pt x="2485" y="307"/>
                    <a:pt x="2485" y="307"/>
                    <a:pt x="2485" y="307"/>
                  </a:cubicBezTo>
                  <a:cubicBezTo>
                    <a:pt x="2485" y="307"/>
                    <a:pt x="2461" y="322"/>
                    <a:pt x="2473" y="322"/>
                  </a:cubicBezTo>
                  <a:cubicBezTo>
                    <a:pt x="2485" y="322"/>
                    <a:pt x="2503" y="312"/>
                    <a:pt x="2503" y="312"/>
                  </a:cubicBezTo>
                  <a:cubicBezTo>
                    <a:pt x="2503" y="312"/>
                    <a:pt x="2494" y="325"/>
                    <a:pt x="2513" y="324"/>
                  </a:cubicBezTo>
                  <a:cubicBezTo>
                    <a:pt x="2532" y="323"/>
                    <a:pt x="2568" y="311"/>
                    <a:pt x="2568" y="311"/>
                  </a:cubicBezTo>
                  <a:cubicBezTo>
                    <a:pt x="2569" y="325"/>
                    <a:pt x="2569" y="325"/>
                    <a:pt x="2569" y="325"/>
                  </a:cubicBezTo>
                  <a:cubicBezTo>
                    <a:pt x="2614" y="322"/>
                    <a:pt x="2614" y="322"/>
                    <a:pt x="2614" y="322"/>
                  </a:cubicBezTo>
                  <a:cubicBezTo>
                    <a:pt x="2667" y="332"/>
                    <a:pt x="2667" y="332"/>
                    <a:pt x="2667" y="332"/>
                  </a:cubicBezTo>
                  <a:cubicBezTo>
                    <a:pt x="2731" y="327"/>
                    <a:pt x="2731" y="327"/>
                    <a:pt x="2731" y="327"/>
                  </a:cubicBezTo>
                  <a:cubicBezTo>
                    <a:pt x="2749" y="312"/>
                    <a:pt x="2749" y="312"/>
                    <a:pt x="2749" y="312"/>
                  </a:cubicBezTo>
                  <a:cubicBezTo>
                    <a:pt x="2749" y="312"/>
                    <a:pt x="2738" y="326"/>
                    <a:pt x="2751" y="327"/>
                  </a:cubicBezTo>
                  <a:cubicBezTo>
                    <a:pt x="2764" y="328"/>
                    <a:pt x="2839" y="326"/>
                    <a:pt x="2839" y="326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90" y="294"/>
                    <a:pt x="2890" y="294"/>
                    <a:pt x="2890" y="294"/>
                  </a:cubicBezTo>
                  <a:cubicBezTo>
                    <a:pt x="2879" y="290"/>
                    <a:pt x="2879" y="290"/>
                    <a:pt x="2879" y="290"/>
                  </a:cubicBezTo>
                  <a:cubicBezTo>
                    <a:pt x="2879" y="281"/>
                    <a:pt x="2879" y="281"/>
                    <a:pt x="2879" y="281"/>
                  </a:cubicBezTo>
                  <a:cubicBezTo>
                    <a:pt x="2879" y="281"/>
                    <a:pt x="2834" y="270"/>
                    <a:pt x="2818" y="270"/>
                  </a:cubicBezTo>
                  <a:cubicBezTo>
                    <a:pt x="2802" y="270"/>
                    <a:pt x="2681" y="294"/>
                    <a:pt x="2681" y="294"/>
                  </a:cubicBezTo>
                  <a:cubicBezTo>
                    <a:pt x="2681" y="294"/>
                    <a:pt x="2666" y="283"/>
                    <a:pt x="2658" y="282"/>
                  </a:cubicBezTo>
                  <a:cubicBezTo>
                    <a:pt x="2651" y="281"/>
                    <a:pt x="2621" y="294"/>
                    <a:pt x="2621" y="294"/>
                  </a:cubicBezTo>
                  <a:cubicBezTo>
                    <a:pt x="2608" y="280"/>
                    <a:pt x="2608" y="280"/>
                    <a:pt x="2608" y="280"/>
                  </a:cubicBezTo>
                  <a:cubicBezTo>
                    <a:pt x="2596" y="286"/>
                    <a:pt x="2596" y="286"/>
                    <a:pt x="2596" y="286"/>
                  </a:cubicBezTo>
                  <a:cubicBezTo>
                    <a:pt x="2574" y="282"/>
                    <a:pt x="2574" y="282"/>
                    <a:pt x="2574" y="282"/>
                  </a:cubicBezTo>
                  <a:cubicBezTo>
                    <a:pt x="2596" y="274"/>
                    <a:pt x="2596" y="274"/>
                    <a:pt x="2596" y="274"/>
                  </a:cubicBezTo>
                  <a:cubicBezTo>
                    <a:pt x="2583" y="268"/>
                    <a:pt x="2583" y="268"/>
                    <a:pt x="2583" y="268"/>
                  </a:cubicBezTo>
                  <a:cubicBezTo>
                    <a:pt x="2546" y="272"/>
                    <a:pt x="2546" y="272"/>
                    <a:pt x="2546" y="272"/>
                  </a:cubicBezTo>
                  <a:cubicBezTo>
                    <a:pt x="2570" y="265"/>
                    <a:pt x="2570" y="265"/>
                    <a:pt x="2570" y="265"/>
                  </a:cubicBezTo>
                  <a:cubicBezTo>
                    <a:pt x="2569" y="260"/>
                    <a:pt x="2569" y="260"/>
                    <a:pt x="2569" y="260"/>
                  </a:cubicBezTo>
                  <a:cubicBezTo>
                    <a:pt x="2615" y="259"/>
                    <a:pt x="2615" y="259"/>
                    <a:pt x="2615" y="259"/>
                  </a:cubicBezTo>
                  <a:cubicBezTo>
                    <a:pt x="2592" y="251"/>
                    <a:pt x="2592" y="251"/>
                    <a:pt x="2592" y="251"/>
                  </a:cubicBezTo>
                  <a:cubicBezTo>
                    <a:pt x="2576" y="251"/>
                    <a:pt x="2576" y="251"/>
                    <a:pt x="2576" y="251"/>
                  </a:cubicBezTo>
                  <a:cubicBezTo>
                    <a:pt x="2576" y="251"/>
                    <a:pt x="2588" y="241"/>
                    <a:pt x="2578" y="240"/>
                  </a:cubicBezTo>
                  <a:cubicBezTo>
                    <a:pt x="2570" y="239"/>
                    <a:pt x="2539" y="241"/>
                    <a:pt x="2523" y="244"/>
                  </a:cubicBezTo>
                  <a:cubicBezTo>
                    <a:pt x="2521" y="237"/>
                    <a:pt x="2492" y="226"/>
                    <a:pt x="2488" y="226"/>
                  </a:cubicBezTo>
                  <a:close/>
                  <a:moveTo>
                    <a:pt x="2173" y="281"/>
                  </a:moveTo>
                  <a:cubicBezTo>
                    <a:pt x="2182" y="281"/>
                    <a:pt x="2226" y="288"/>
                    <a:pt x="2226" y="288"/>
                  </a:cubicBezTo>
                  <a:cubicBezTo>
                    <a:pt x="2226" y="288"/>
                    <a:pt x="2202" y="308"/>
                    <a:pt x="2217" y="308"/>
                  </a:cubicBezTo>
                  <a:cubicBezTo>
                    <a:pt x="2232" y="308"/>
                    <a:pt x="2270" y="308"/>
                    <a:pt x="2270" y="308"/>
                  </a:cubicBezTo>
                  <a:cubicBezTo>
                    <a:pt x="2284" y="308"/>
                    <a:pt x="2309" y="302"/>
                    <a:pt x="2305" y="294"/>
                  </a:cubicBezTo>
                  <a:cubicBezTo>
                    <a:pt x="2301" y="285"/>
                    <a:pt x="2341" y="282"/>
                    <a:pt x="2339" y="273"/>
                  </a:cubicBezTo>
                  <a:cubicBezTo>
                    <a:pt x="2338" y="265"/>
                    <a:pt x="2376" y="259"/>
                    <a:pt x="2362" y="247"/>
                  </a:cubicBezTo>
                  <a:cubicBezTo>
                    <a:pt x="2348" y="236"/>
                    <a:pt x="2329" y="244"/>
                    <a:pt x="2329" y="244"/>
                  </a:cubicBezTo>
                  <a:cubicBezTo>
                    <a:pt x="2329" y="244"/>
                    <a:pt x="2282" y="229"/>
                    <a:pt x="2279" y="238"/>
                  </a:cubicBezTo>
                  <a:cubicBezTo>
                    <a:pt x="2276" y="246"/>
                    <a:pt x="2276" y="267"/>
                    <a:pt x="2276" y="267"/>
                  </a:cubicBezTo>
                  <a:cubicBezTo>
                    <a:pt x="2276" y="267"/>
                    <a:pt x="2255" y="242"/>
                    <a:pt x="2244" y="251"/>
                  </a:cubicBezTo>
                  <a:cubicBezTo>
                    <a:pt x="2232" y="259"/>
                    <a:pt x="2222" y="283"/>
                    <a:pt x="2213" y="276"/>
                  </a:cubicBezTo>
                  <a:cubicBezTo>
                    <a:pt x="2205" y="270"/>
                    <a:pt x="2200" y="245"/>
                    <a:pt x="2191" y="243"/>
                  </a:cubicBezTo>
                  <a:cubicBezTo>
                    <a:pt x="2181" y="241"/>
                    <a:pt x="2155" y="243"/>
                    <a:pt x="2156" y="256"/>
                  </a:cubicBezTo>
                  <a:cubicBezTo>
                    <a:pt x="2157" y="269"/>
                    <a:pt x="2165" y="281"/>
                    <a:pt x="2173" y="281"/>
                  </a:cubicBezTo>
                  <a:close/>
                  <a:moveTo>
                    <a:pt x="2477" y="192"/>
                  </a:moveTo>
                  <a:cubicBezTo>
                    <a:pt x="2487" y="195"/>
                    <a:pt x="2490" y="205"/>
                    <a:pt x="2490" y="205"/>
                  </a:cubicBezTo>
                  <a:cubicBezTo>
                    <a:pt x="2490" y="205"/>
                    <a:pt x="2532" y="202"/>
                    <a:pt x="2552" y="201"/>
                  </a:cubicBezTo>
                  <a:cubicBezTo>
                    <a:pt x="2571" y="200"/>
                    <a:pt x="2528" y="189"/>
                    <a:pt x="2528" y="189"/>
                  </a:cubicBezTo>
                  <a:cubicBezTo>
                    <a:pt x="2528" y="189"/>
                    <a:pt x="2537" y="179"/>
                    <a:pt x="2547" y="177"/>
                  </a:cubicBezTo>
                  <a:cubicBezTo>
                    <a:pt x="2558" y="175"/>
                    <a:pt x="2518" y="162"/>
                    <a:pt x="2488" y="156"/>
                  </a:cubicBezTo>
                  <a:cubicBezTo>
                    <a:pt x="2488" y="156"/>
                    <a:pt x="2464" y="160"/>
                    <a:pt x="2460" y="164"/>
                  </a:cubicBezTo>
                  <a:cubicBezTo>
                    <a:pt x="2456" y="169"/>
                    <a:pt x="2468" y="190"/>
                    <a:pt x="2477" y="192"/>
                  </a:cubicBezTo>
                  <a:close/>
                  <a:moveTo>
                    <a:pt x="2188" y="339"/>
                  </a:moveTo>
                  <a:cubicBezTo>
                    <a:pt x="2188" y="339"/>
                    <a:pt x="2127" y="341"/>
                    <a:pt x="2093" y="352"/>
                  </a:cubicBezTo>
                  <a:cubicBezTo>
                    <a:pt x="2060" y="363"/>
                    <a:pt x="2112" y="372"/>
                    <a:pt x="2101" y="385"/>
                  </a:cubicBezTo>
                  <a:cubicBezTo>
                    <a:pt x="2090" y="399"/>
                    <a:pt x="2068" y="364"/>
                    <a:pt x="2030" y="380"/>
                  </a:cubicBezTo>
                  <a:cubicBezTo>
                    <a:pt x="2042" y="405"/>
                    <a:pt x="2042" y="405"/>
                    <a:pt x="2042" y="405"/>
                  </a:cubicBezTo>
                  <a:cubicBezTo>
                    <a:pt x="2042" y="405"/>
                    <a:pt x="2048" y="415"/>
                    <a:pt x="2065" y="418"/>
                  </a:cubicBezTo>
                  <a:cubicBezTo>
                    <a:pt x="2083" y="421"/>
                    <a:pt x="2082" y="456"/>
                    <a:pt x="2082" y="456"/>
                  </a:cubicBezTo>
                  <a:cubicBezTo>
                    <a:pt x="2082" y="456"/>
                    <a:pt x="2152" y="447"/>
                    <a:pt x="2174" y="442"/>
                  </a:cubicBezTo>
                  <a:cubicBezTo>
                    <a:pt x="2196" y="436"/>
                    <a:pt x="2196" y="395"/>
                    <a:pt x="2196" y="395"/>
                  </a:cubicBezTo>
                  <a:cubicBezTo>
                    <a:pt x="2152" y="385"/>
                    <a:pt x="2152" y="385"/>
                    <a:pt x="2152" y="385"/>
                  </a:cubicBezTo>
                  <a:cubicBezTo>
                    <a:pt x="2152" y="385"/>
                    <a:pt x="2205" y="367"/>
                    <a:pt x="2232" y="358"/>
                  </a:cubicBezTo>
                  <a:cubicBezTo>
                    <a:pt x="2258" y="348"/>
                    <a:pt x="2188" y="339"/>
                    <a:pt x="2188" y="339"/>
                  </a:cubicBezTo>
                  <a:close/>
                  <a:moveTo>
                    <a:pt x="1929" y="499"/>
                  </a:moveTo>
                  <a:cubicBezTo>
                    <a:pt x="1927" y="493"/>
                    <a:pt x="1862" y="494"/>
                    <a:pt x="1862" y="494"/>
                  </a:cubicBezTo>
                  <a:cubicBezTo>
                    <a:pt x="1915" y="466"/>
                    <a:pt x="1915" y="466"/>
                    <a:pt x="1915" y="466"/>
                  </a:cubicBezTo>
                  <a:cubicBezTo>
                    <a:pt x="1915" y="466"/>
                    <a:pt x="1947" y="392"/>
                    <a:pt x="1918" y="383"/>
                  </a:cubicBezTo>
                  <a:cubicBezTo>
                    <a:pt x="1891" y="375"/>
                    <a:pt x="1852" y="393"/>
                    <a:pt x="1852" y="393"/>
                  </a:cubicBezTo>
                  <a:cubicBezTo>
                    <a:pt x="1852" y="393"/>
                    <a:pt x="1826" y="447"/>
                    <a:pt x="1802" y="450"/>
                  </a:cubicBezTo>
                  <a:cubicBezTo>
                    <a:pt x="1778" y="453"/>
                    <a:pt x="1818" y="413"/>
                    <a:pt x="1816" y="403"/>
                  </a:cubicBezTo>
                  <a:cubicBezTo>
                    <a:pt x="1814" y="393"/>
                    <a:pt x="1750" y="392"/>
                    <a:pt x="1750" y="392"/>
                  </a:cubicBezTo>
                  <a:cubicBezTo>
                    <a:pt x="1744" y="405"/>
                    <a:pt x="1744" y="405"/>
                    <a:pt x="1744" y="405"/>
                  </a:cubicBezTo>
                  <a:cubicBezTo>
                    <a:pt x="1744" y="405"/>
                    <a:pt x="1708" y="420"/>
                    <a:pt x="1671" y="423"/>
                  </a:cubicBezTo>
                  <a:cubicBezTo>
                    <a:pt x="1635" y="425"/>
                    <a:pt x="1687" y="412"/>
                    <a:pt x="1723" y="400"/>
                  </a:cubicBezTo>
                  <a:cubicBezTo>
                    <a:pt x="1761" y="388"/>
                    <a:pt x="1704" y="386"/>
                    <a:pt x="1704" y="386"/>
                  </a:cubicBezTo>
                  <a:cubicBezTo>
                    <a:pt x="1664" y="398"/>
                    <a:pt x="1664" y="398"/>
                    <a:pt x="1664" y="398"/>
                  </a:cubicBezTo>
                  <a:cubicBezTo>
                    <a:pt x="1636" y="401"/>
                    <a:pt x="1636" y="401"/>
                    <a:pt x="1636" y="401"/>
                  </a:cubicBezTo>
                  <a:cubicBezTo>
                    <a:pt x="1636" y="401"/>
                    <a:pt x="1651" y="391"/>
                    <a:pt x="1667" y="380"/>
                  </a:cubicBezTo>
                  <a:cubicBezTo>
                    <a:pt x="1682" y="369"/>
                    <a:pt x="1663" y="371"/>
                    <a:pt x="1663" y="371"/>
                  </a:cubicBezTo>
                  <a:cubicBezTo>
                    <a:pt x="1564" y="402"/>
                    <a:pt x="1564" y="402"/>
                    <a:pt x="1564" y="402"/>
                  </a:cubicBezTo>
                  <a:cubicBezTo>
                    <a:pt x="1550" y="403"/>
                    <a:pt x="1550" y="403"/>
                    <a:pt x="1550" y="403"/>
                  </a:cubicBezTo>
                  <a:cubicBezTo>
                    <a:pt x="1494" y="420"/>
                    <a:pt x="1494" y="420"/>
                    <a:pt x="1494" y="420"/>
                  </a:cubicBezTo>
                  <a:cubicBezTo>
                    <a:pt x="1496" y="428"/>
                    <a:pt x="1496" y="428"/>
                    <a:pt x="1496" y="428"/>
                  </a:cubicBezTo>
                  <a:cubicBezTo>
                    <a:pt x="1456" y="443"/>
                    <a:pt x="1456" y="443"/>
                    <a:pt x="1456" y="443"/>
                  </a:cubicBezTo>
                  <a:cubicBezTo>
                    <a:pt x="1447" y="453"/>
                    <a:pt x="1447" y="453"/>
                    <a:pt x="1447" y="453"/>
                  </a:cubicBezTo>
                  <a:cubicBezTo>
                    <a:pt x="1465" y="461"/>
                    <a:pt x="1465" y="461"/>
                    <a:pt x="1465" y="461"/>
                  </a:cubicBezTo>
                  <a:cubicBezTo>
                    <a:pt x="1465" y="461"/>
                    <a:pt x="1487" y="446"/>
                    <a:pt x="1492" y="458"/>
                  </a:cubicBezTo>
                  <a:cubicBezTo>
                    <a:pt x="1497" y="470"/>
                    <a:pt x="1451" y="464"/>
                    <a:pt x="1440" y="483"/>
                  </a:cubicBezTo>
                  <a:cubicBezTo>
                    <a:pt x="1428" y="503"/>
                    <a:pt x="1587" y="484"/>
                    <a:pt x="1565" y="502"/>
                  </a:cubicBezTo>
                  <a:cubicBezTo>
                    <a:pt x="1544" y="519"/>
                    <a:pt x="1417" y="508"/>
                    <a:pt x="1406" y="525"/>
                  </a:cubicBezTo>
                  <a:cubicBezTo>
                    <a:pt x="1395" y="542"/>
                    <a:pt x="1427" y="540"/>
                    <a:pt x="1450" y="552"/>
                  </a:cubicBezTo>
                  <a:cubicBezTo>
                    <a:pt x="1473" y="564"/>
                    <a:pt x="1438" y="557"/>
                    <a:pt x="1434" y="574"/>
                  </a:cubicBezTo>
                  <a:cubicBezTo>
                    <a:pt x="1430" y="590"/>
                    <a:pt x="1533" y="582"/>
                    <a:pt x="1533" y="582"/>
                  </a:cubicBezTo>
                  <a:cubicBezTo>
                    <a:pt x="1533" y="582"/>
                    <a:pt x="1702" y="566"/>
                    <a:pt x="1741" y="554"/>
                  </a:cubicBezTo>
                  <a:cubicBezTo>
                    <a:pt x="1768" y="545"/>
                    <a:pt x="1819" y="583"/>
                    <a:pt x="1851" y="586"/>
                  </a:cubicBezTo>
                  <a:cubicBezTo>
                    <a:pt x="1884" y="588"/>
                    <a:pt x="1895" y="551"/>
                    <a:pt x="1895" y="551"/>
                  </a:cubicBezTo>
                  <a:cubicBezTo>
                    <a:pt x="1843" y="550"/>
                    <a:pt x="1843" y="550"/>
                    <a:pt x="1843" y="550"/>
                  </a:cubicBezTo>
                  <a:cubicBezTo>
                    <a:pt x="1865" y="533"/>
                    <a:pt x="1865" y="533"/>
                    <a:pt x="1865" y="533"/>
                  </a:cubicBezTo>
                  <a:cubicBezTo>
                    <a:pt x="1865" y="533"/>
                    <a:pt x="1897" y="539"/>
                    <a:pt x="1929" y="532"/>
                  </a:cubicBezTo>
                  <a:cubicBezTo>
                    <a:pt x="1962" y="525"/>
                    <a:pt x="1931" y="506"/>
                    <a:pt x="1929" y="499"/>
                  </a:cubicBezTo>
                  <a:close/>
                  <a:moveTo>
                    <a:pt x="1909" y="590"/>
                  </a:moveTo>
                  <a:cubicBezTo>
                    <a:pt x="1941" y="591"/>
                    <a:pt x="1947" y="573"/>
                    <a:pt x="1925" y="574"/>
                  </a:cubicBezTo>
                  <a:cubicBezTo>
                    <a:pt x="1903" y="574"/>
                    <a:pt x="1909" y="590"/>
                    <a:pt x="1909" y="590"/>
                  </a:cubicBezTo>
                  <a:close/>
                  <a:moveTo>
                    <a:pt x="2183" y="224"/>
                  </a:moveTo>
                  <a:cubicBezTo>
                    <a:pt x="2201" y="221"/>
                    <a:pt x="2202" y="193"/>
                    <a:pt x="2187" y="193"/>
                  </a:cubicBezTo>
                  <a:cubicBezTo>
                    <a:pt x="2173" y="193"/>
                    <a:pt x="2166" y="226"/>
                    <a:pt x="2183" y="224"/>
                  </a:cubicBezTo>
                  <a:close/>
                  <a:moveTo>
                    <a:pt x="2307" y="155"/>
                  </a:moveTo>
                  <a:cubicBezTo>
                    <a:pt x="2307" y="155"/>
                    <a:pt x="2289" y="172"/>
                    <a:pt x="2303" y="173"/>
                  </a:cubicBezTo>
                  <a:cubicBezTo>
                    <a:pt x="2317" y="174"/>
                    <a:pt x="2349" y="175"/>
                    <a:pt x="2349" y="175"/>
                  </a:cubicBezTo>
                  <a:cubicBezTo>
                    <a:pt x="2349" y="175"/>
                    <a:pt x="2363" y="191"/>
                    <a:pt x="2380" y="191"/>
                  </a:cubicBezTo>
                  <a:cubicBezTo>
                    <a:pt x="2398" y="191"/>
                    <a:pt x="2411" y="177"/>
                    <a:pt x="2411" y="177"/>
                  </a:cubicBezTo>
                  <a:cubicBezTo>
                    <a:pt x="2402" y="169"/>
                    <a:pt x="2402" y="169"/>
                    <a:pt x="2402" y="169"/>
                  </a:cubicBezTo>
                  <a:cubicBezTo>
                    <a:pt x="2423" y="165"/>
                    <a:pt x="2423" y="165"/>
                    <a:pt x="2423" y="165"/>
                  </a:cubicBezTo>
                  <a:cubicBezTo>
                    <a:pt x="2393" y="143"/>
                    <a:pt x="2393" y="143"/>
                    <a:pt x="2393" y="143"/>
                  </a:cubicBezTo>
                  <a:cubicBezTo>
                    <a:pt x="2365" y="147"/>
                    <a:pt x="2365" y="147"/>
                    <a:pt x="2365" y="147"/>
                  </a:cubicBezTo>
                  <a:cubicBezTo>
                    <a:pt x="2355" y="132"/>
                    <a:pt x="2355" y="132"/>
                    <a:pt x="2355" y="132"/>
                  </a:cubicBezTo>
                  <a:cubicBezTo>
                    <a:pt x="2336" y="132"/>
                    <a:pt x="2336" y="132"/>
                    <a:pt x="2336" y="132"/>
                  </a:cubicBezTo>
                  <a:cubicBezTo>
                    <a:pt x="2314" y="132"/>
                    <a:pt x="2279" y="132"/>
                    <a:pt x="2278" y="144"/>
                  </a:cubicBezTo>
                  <a:cubicBezTo>
                    <a:pt x="2277" y="156"/>
                    <a:pt x="2307" y="155"/>
                    <a:pt x="2307" y="155"/>
                  </a:cubicBezTo>
                  <a:close/>
                  <a:moveTo>
                    <a:pt x="2285" y="872"/>
                  </a:moveTo>
                  <a:cubicBezTo>
                    <a:pt x="2230" y="922"/>
                    <a:pt x="2320" y="886"/>
                    <a:pt x="2320" y="886"/>
                  </a:cubicBezTo>
                  <a:cubicBezTo>
                    <a:pt x="2366" y="843"/>
                    <a:pt x="2339" y="821"/>
                    <a:pt x="2285" y="872"/>
                  </a:cubicBezTo>
                  <a:close/>
                  <a:moveTo>
                    <a:pt x="2943" y="929"/>
                  </a:moveTo>
                  <a:cubicBezTo>
                    <a:pt x="2953" y="921"/>
                    <a:pt x="2946" y="918"/>
                    <a:pt x="2946" y="918"/>
                  </a:cubicBezTo>
                  <a:cubicBezTo>
                    <a:pt x="2946" y="918"/>
                    <a:pt x="2924" y="913"/>
                    <a:pt x="2921" y="922"/>
                  </a:cubicBezTo>
                  <a:cubicBezTo>
                    <a:pt x="2921" y="922"/>
                    <a:pt x="2932" y="936"/>
                    <a:pt x="2943" y="929"/>
                  </a:cubicBezTo>
                  <a:close/>
                  <a:moveTo>
                    <a:pt x="2077" y="1360"/>
                  </a:moveTo>
                  <a:cubicBezTo>
                    <a:pt x="2105" y="1356"/>
                    <a:pt x="2070" y="1342"/>
                    <a:pt x="2070" y="1342"/>
                  </a:cubicBezTo>
                  <a:cubicBezTo>
                    <a:pt x="2026" y="1351"/>
                    <a:pt x="2048" y="1363"/>
                    <a:pt x="2077" y="1360"/>
                  </a:cubicBezTo>
                  <a:close/>
                  <a:moveTo>
                    <a:pt x="3172" y="665"/>
                  </a:moveTo>
                  <a:cubicBezTo>
                    <a:pt x="3167" y="669"/>
                    <a:pt x="3155" y="660"/>
                    <a:pt x="3155" y="660"/>
                  </a:cubicBezTo>
                  <a:cubicBezTo>
                    <a:pt x="3133" y="673"/>
                    <a:pt x="3133" y="673"/>
                    <a:pt x="3133" y="673"/>
                  </a:cubicBezTo>
                  <a:cubicBezTo>
                    <a:pt x="3135" y="656"/>
                    <a:pt x="3135" y="656"/>
                    <a:pt x="3135" y="656"/>
                  </a:cubicBezTo>
                  <a:cubicBezTo>
                    <a:pt x="3107" y="656"/>
                    <a:pt x="3107" y="656"/>
                    <a:pt x="3107" y="656"/>
                  </a:cubicBezTo>
                  <a:cubicBezTo>
                    <a:pt x="3107" y="656"/>
                    <a:pt x="3139" y="646"/>
                    <a:pt x="3133" y="636"/>
                  </a:cubicBezTo>
                  <a:cubicBezTo>
                    <a:pt x="3128" y="625"/>
                    <a:pt x="3079" y="624"/>
                    <a:pt x="3079" y="624"/>
                  </a:cubicBezTo>
                  <a:cubicBezTo>
                    <a:pt x="3073" y="613"/>
                    <a:pt x="3073" y="613"/>
                    <a:pt x="3073" y="613"/>
                  </a:cubicBezTo>
                  <a:cubicBezTo>
                    <a:pt x="3041" y="612"/>
                    <a:pt x="3041" y="612"/>
                    <a:pt x="3041" y="612"/>
                  </a:cubicBezTo>
                  <a:cubicBezTo>
                    <a:pt x="2997" y="581"/>
                    <a:pt x="2997" y="581"/>
                    <a:pt x="2997" y="581"/>
                  </a:cubicBezTo>
                  <a:cubicBezTo>
                    <a:pt x="3044" y="578"/>
                    <a:pt x="3044" y="578"/>
                    <a:pt x="3044" y="578"/>
                  </a:cubicBezTo>
                  <a:cubicBezTo>
                    <a:pt x="3024" y="564"/>
                    <a:pt x="3024" y="564"/>
                    <a:pt x="3024" y="564"/>
                  </a:cubicBezTo>
                  <a:cubicBezTo>
                    <a:pt x="3024" y="564"/>
                    <a:pt x="3037" y="560"/>
                    <a:pt x="3041" y="560"/>
                  </a:cubicBezTo>
                  <a:cubicBezTo>
                    <a:pt x="3045" y="560"/>
                    <a:pt x="3097" y="572"/>
                    <a:pt x="3091" y="558"/>
                  </a:cubicBezTo>
                  <a:cubicBezTo>
                    <a:pt x="3084" y="545"/>
                    <a:pt x="3029" y="548"/>
                    <a:pt x="3029" y="548"/>
                  </a:cubicBezTo>
                  <a:cubicBezTo>
                    <a:pt x="3011" y="546"/>
                    <a:pt x="3011" y="546"/>
                    <a:pt x="3011" y="546"/>
                  </a:cubicBezTo>
                  <a:cubicBezTo>
                    <a:pt x="3011" y="546"/>
                    <a:pt x="3088" y="544"/>
                    <a:pt x="3091" y="534"/>
                  </a:cubicBezTo>
                  <a:cubicBezTo>
                    <a:pt x="3093" y="525"/>
                    <a:pt x="3069" y="525"/>
                    <a:pt x="3069" y="525"/>
                  </a:cubicBezTo>
                  <a:cubicBezTo>
                    <a:pt x="3000" y="536"/>
                    <a:pt x="3000" y="536"/>
                    <a:pt x="3000" y="536"/>
                  </a:cubicBezTo>
                  <a:cubicBezTo>
                    <a:pt x="3040" y="512"/>
                    <a:pt x="3040" y="512"/>
                    <a:pt x="3040" y="512"/>
                  </a:cubicBezTo>
                  <a:cubicBezTo>
                    <a:pt x="3040" y="512"/>
                    <a:pt x="3093" y="518"/>
                    <a:pt x="3077" y="504"/>
                  </a:cubicBezTo>
                  <a:cubicBezTo>
                    <a:pt x="3061" y="489"/>
                    <a:pt x="3035" y="489"/>
                    <a:pt x="3035" y="489"/>
                  </a:cubicBezTo>
                  <a:cubicBezTo>
                    <a:pt x="3009" y="504"/>
                    <a:pt x="3009" y="504"/>
                    <a:pt x="3009" y="504"/>
                  </a:cubicBezTo>
                  <a:cubicBezTo>
                    <a:pt x="2999" y="500"/>
                    <a:pt x="2999" y="500"/>
                    <a:pt x="2999" y="500"/>
                  </a:cubicBezTo>
                  <a:cubicBezTo>
                    <a:pt x="2971" y="520"/>
                    <a:pt x="2971" y="520"/>
                    <a:pt x="2971" y="520"/>
                  </a:cubicBezTo>
                  <a:cubicBezTo>
                    <a:pt x="2973" y="505"/>
                    <a:pt x="2973" y="505"/>
                    <a:pt x="2973" y="505"/>
                  </a:cubicBezTo>
                  <a:cubicBezTo>
                    <a:pt x="2959" y="517"/>
                    <a:pt x="2959" y="517"/>
                    <a:pt x="2959" y="517"/>
                  </a:cubicBezTo>
                  <a:cubicBezTo>
                    <a:pt x="2973" y="497"/>
                    <a:pt x="2973" y="497"/>
                    <a:pt x="2973" y="497"/>
                  </a:cubicBezTo>
                  <a:cubicBezTo>
                    <a:pt x="2973" y="497"/>
                    <a:pt x="2993" y="502"/>
                    <a:pt x="3003" y="493"/>
                  </a:cubicBezTo>
                  <a:cubicBezTo>
                    <a:pt x="3012" y="484"/>
                    <a:pt x="3012" y="470"/>
                    <a:pt x="3005" y="472"/>
                  </a:cubicBezTo>
                  <a:cubicBezTo>
                    <a:pt x="2999" y="473"/>
                    <a:pt x="2991" y="485"/>
                    <a:pt x="2991" y="485"/>
                  </a:cubicBezTo>
                  <a:cubicBezTo>
                    <a:pt x="2967" y="486"/>
                    <a:pt x="2967" y="486"/>
                    <a:pt x="2967" y="486"/>
                  </a:cubicBezTo>
                  <a:cubicBezTo>
                    <a:pt x="2952" y="493"/>
                    <a:pt x="2952" y="493"/>
                    <a:pt x="2952" y="493"/>
                  </a:cubicBezTo>
                  <a:cubicBezTo>
                    <a:pt x="2968" y="474"/>
                    <a:pt x="2968" y="474"/>
                    <a:pt x="2968" y="474"/>
                  </a:cubicBezTo>
                  <a:cubicBezTo>
                    <a:pt x="2988" y="474"/>
                    <a:pt x="2988" y="474"/>
                    <a:pt x="2988" y="474"/>
                  </a:cubicBezTo>
                  <a:cubicBezTo>
                    <a:pt x="2988" y="474"/>
                    <a:pt x="3012" y="465"/>
                    <a:pt x="2999" y="457"/>
                  </a:cubicBezTo>
                  <a:cubicBezTo>
                    <a:pt x="2985" y="449"/>
                    <a:pt x="2941" y="469"/>
                    <a:pt x="2941" y="469"/>
                  </a:cubicBezTo>
                  <a:cubicBezTo>
                    <a:pt x="2933" y="460"/>
                    <a:pt x="2933" y="460"/>
                    <a:pt x="2933" y="460"/>
                  </a:cubicBezTo>
                  <a:cubicBezTo>
                    <a:pt x="2917" y="472"/>
                    <a:pt x="2917" y="472"/>
                    <a:pt x="2917" y="472"/>
                  </a:cubicBezTo>
                  <a:cubicBezTo>
                    <a:pt x="2932" y="452"/>
                    <a:pt x="2932" y="452"/>
                    <a:pt x="2932" y="452"/>
                  </a:cubicBezTo>
                  <a:cubicBezTo>
                    <a:pt x="2895" y="465"/>
                    <a:pt x="2895" y="465"/>
                    <a:pt x="2895" y="465"/>
                  </a:cubicBezTo>
                  <a:cubicBezTo>
                    <a:pt x="2895" y="450"/>
                    <a:pt x="2895" y="450"/>
                    <a:pt x="2895" y="450"/>
                  </a:cubicBezTo>
                  <a:cubicBezTo>
                    <a:pt x="2895" y="450"/>
                    <a:pt x="2931" y="441"/>
                    <a:pt x="2931" y="437"/>
                  </a:cubicBezTo>
                  <a:cubicBezTo>
                    <a:pt x="2931" y="433"/>
                    <a:pt x="2881" y="442"/>
                    <a:pt x="2881" y="442"/>
                  </a:cubicBezTo>
                  <a:cubicBezTo>
                    <a:pt x="2880" y="434"/>
                    <a:pt x="2880" y="434"/>
                    <a:pt x="2880" y="434"/>
                  </a:cubicBezTo>
                  <a:cubicBezTo>
                    <a:pt x="2880" y="434"/>
                    <a:pt x="2928" y="424"/>
                    <a:pt x="2923" y="417"/>
                  </a:cubicBezTo>
                  <a:cubicBezTo>
                    <a:pt x="2917" y="410"/>
                    <a:pt x="2852" y="409"/>
                    <a:pt x="2844" y="406"/>
                  </a:cubicBezTo>
                  <a:cubicBezTo>
                    <a:pt x="2836" y="404"/>
                    <a:pt x="2820" y="406"/>
                    <a:pt x="2819" y="410"/>
                  </a:cubicBezTo>
                  <a:cubicBezTo>
                    <a:pt x="2817" y="414"/>
                    <a:pt x="2828" y="428"/>
                    <a:pt x="2828" y="428"/>
                  </a:cubicBezTo>
                  <a:cubicBezTo>
                    <a:pt x="2804" y="424"/>
                    <a:pt x="2804" y="424"/>
                    <a:pt x="2804" y="424"/>
                  </a:cubicBezTo>
                  <a:cubicBezTo>
                    <a:pt x="2807" y="442"/>
                    <a:pt x="2807" y="442"/>
                    <a:pt x="2807" y="442"/>
                  </a:cubicBezTo>
                  <a:cubicBezTo>
                    <a:pt x="2793" y="425"/>
                    <a:pt x="2793" y="425"/>
                    <a:pt x="2793" y="425"/>
                  </a:cubicBezTo>
                  <a:cubicBezTo>
                    <a:pt x="2768" y="441"/>
                    <a:pt x="2768" y="441"/>
                    <a:pt x="2768" y="441"/>
                  </a:cubicBezTo>
                  <a:cubicBezTo>
                    <a:pt x="2768" y="441"/>
                    <a:pt x="2773" y="426"/>
                    <a:pt x="2768" y="422"/>
                  </a:cubicBezTo>
                  <a:cubicBezTo>
                    <a:pt x="2763" y="418"/>
                    <a:pt x="2715" y="438"/>
                    <a:pt x="2715" y="438"/>
                  </a:cubicBezTo>
                  <a:cubicBezTo>
                    <a:pt x="2727" y="413"/>
                    <a:pt x="2727" y="413"/>
                    <a:pt x="2727" y="413"/>
                  </a:cubicBezTo>
                  <a:cubicBezTo>
                    <a:pt x="2727" y="413"/>
                    <a:pt x="2767" y="412"/>
                    <a:pt x="2767" y="402"/>
                  </a:cubicBezTo>
                  <a:cubicBezTo>
                    <a:pt x="2767" y="393"/>
                    <a:pt x="2753" y="381"/>
                    <a:pt x="2753" y="381"/>
                  </a:cubicBezTo>
                  <a:cubicBezTo>
                    <a:pt x="2753" y="381"/>
                    <a:pt x="2777" y="364"/>
                    <a:pt x="2761" y="361"/>
                  </a:cubicBezTo>
                  <a:cubicBezTo>
                    <a:pt x="2745" y="358"/>
                    <a:pt x="2699" y="362"/>
                    <a:pt x="2699" y="362"/>
                  </a:cubicBezTo>
                  <a:cubicBezTo>
                    <a:pt x="2684" y="373"/>
                    <a:pt x="2684" y="373"/>
                    <a:pt x="2684" y="373"/>
                  </a:cubicBezTo>
                  <a:cubicBezTo>
                    <a:pt x="2625" y="374"/>
                    <a:pt x="2625" y="374"/>
                    <a:pt x="2625" y="374"/>
                  </a:cubicBezTo>
                  <a:cubicBezTo>
                    <a:pt x="2632" y="385"/>
                    <a:pt x="2632" y="385"/>
                    <a:pt x="2632" y="385"/>
                  </a:cubicBezTo>
                  <a:cubicBezTo>
                    <a:pt x="2652" y="393"/>
                    <a:pt x="2652" y="393"/>
                    <a:pt x="2652" y="393"/>
                  </a:cubicBezTo>
                  <a:cubicBezTo>
                    <a:pt x="2623" y="385"/>
                    <a:pt x="2623" y="385"/>
                    <a:pt x="2623" y="385"/>
                  </a:cubicBezTo>
                  <a:cubicBezTo>
                    <a:pt x="2629" y="401"/>
                    <a:pt x="2629" y="401"/>
                    <a:pt x="2629" y="401"/>
                  </a:cubicBezTo>
                  <a:cubicBezTo>
                    <a:pt x="2629" y="401"/>
                    <a:pt x="2597" y="388"/>
                    <a:pt x="2588" y="400"/>
                  </a:cubicBezTo>
                  <a:cubicBezTo>
                    <a:pt x="2579" y="412"/>
                    <a:pt x="2596" y="424"/>
                    <a:pt x="2596" y="424"/>
                  </a:cubicBezTo>
                  <a:cubicBezTo>
                    <a:pt x="2599" y="441"/>
                    <a:pt x="2599" y="441"/>
                    <a:pt x="2599" y="441"/>
                  </a:cubicBezTo>
                  <a:cubicBezTo>
                    <a:pt x="2599" y="441"/>
                    <a:pt x="2579" y="429"/>
                    <a:pt x="2568" y="432"/>
                  </a:cubicBezTo>
                  <a:cubicBezTo>
                    <a:pt x="2557" y="434"/>
                    <a:pt x="2543" y="453"/>
                    <a:pt x="2555" y="454"/>
                  </a:cubicBezTo>
                  <a:cubicBezTo>
                    <a:pt x="2567" y="456"/>
                    <a:pt x="2571" y="462"/>
                    <a:pt x="2571" y="462"/>
                  </a:cubicBezTo>
                  <a:cubicBezTo>
                    <a:pt x="2540" y="477"/>
                    <a:pt x="2540" y="477"/>
                    <a:pt x="2540" y="477"/>
                  </a:cubicBezTo>
                  <a:cubicBezTo>
                    <a:pt x="2500" y="481"/>
                    <a:pt x="2500" y="481"/>
                    <a:pt x="2500" y="481"/>
                  </a:cubicBezTo>
                  <a:cubicBezTo>
                    <a:pt x="2500" y="481"/>
                    <a:pt x="2539" y="473"/>
                    <a:pt x="2539" y="464"/>
                  </a:cubicBezTo>
                  <a:cubicBezTo>
                    <a:pt x="2539" y="454"/>
                    <a:pt x="2515" y="453"/>
                    <a:pt x="2525" y="440"/>
                  </a:cubicBezTo>
                  <a:cubicBezTo>
                    <a:pt x="2536" y="426"/>
                    <a:pt x="2549" y="425"/>
                    <a:pt x="2549" y="425"/>
                  </a:cubicBezTo>
                  <a:cubicBezTo>
                    <a:pt x="2549" y="406"/>
                    <a:pt x="2549" y="406"/>
                    <a:pt x="2549" y="406"/>
                  </a:cubicBezTo>
                  <a:cubicBezTo>
                    <a:pt x="2549" y="406"/>
                    <a:pt x="2584" y="384"/>
                    <a:pt x="2596" y="378"/>
                  </a:cubicBezTo>
                  <a:cubicBezTo>
                    <a:pt x="2608" y="373"/>
                    <a:pt x="2653" y="366"/>
                    <a:pt x="2645" y="362"/>
                  </a:cubicBezTo>
                  <a:cubicBezTo>
                    <a:pt x="2637" y="358"/>
                    <a:pt x="2591" y="357"/>
                    <a:pt x="2565" y="358"/>
                  </a:cubicBezTo>
                  <a:cubicBezTo>
                    <a:pt x="2540" y="360"/>
                    <a:pt x="2472" y="401"/>
                    <a:pt x="2472" y="401"/>
                  </a:cubicBezTo>
                  <a:cubicBezTo>
                    <a:pt x="2472" y="401"/>
                    <a:pt x="2443" y="414"/>
                    <a:pt x="2433" y="416"/>
                  </a:cubicBezTo>
                  <a:cubicBezTo>
                    <a:pt x="2424" y="417"/>
                    <a:pt x="2420" y="428"/>
                    <a:pt x="2420" y="428"/>
                  </a:cubicBezTo>
                  <a:cubicBezTo>
                    <a:pt x="2420" y="428"/>
                    <a:pt x="2373" y="454"/>
                    <a:pt x="2391" y="461"/>
                  </a:cubicBezTo>
                  <a:cubicBezTo>
                    <a:pt x="2408" y="468"/>
                    <a:pt x="2460" y="464"/>
                    <a:pt x="2453" y="473"/>
                  </a:cubicBezTo>
                  <a:cubicBezTo>
                    <a:pt x="2447" y="482"/>
                    <a:pt x="2360" y="481"/>
                    <a:pt x="2381" y="496"/>
                  </a:cubicBezTo>
                  <a:cubicBezTo>
                    <a:pt x="2403" y="510"/>
                    <a:pt x="2429" y="513"/>
                    <a:pt x="2429" y="513"/>
                  </a:cubicBezTo>
                  <a:cubicBezTo>
                    <a:pt x="2460" y="501"/>
                    <a:pt x="2460" y="501"/>
                    <a:pt x="2460" y="501"/>
                  </a:cubicBezTo>
                  <a:cubicBezTo>
                    <a:pt x="2460" y="501"/>
                    <a:pt x="2451" y="517"/>
                    <a:pt x="2473" y="517"/>
                  </a:cubicBezTo>
                  <a:cubicBezTo>
                    <a:pt x="2496" y="517"/>
                    <a:pt x="2584" y="536"/>
                    <a:pt x="2595" y="530"/>
                  </a:cubicBezTo>
                  <a:cubicBezTo>
                    <a:pt x="2605" y="525"/>
                    <a:pt x="2581" y="513"/>
                    <a:pt x="2581" y="513"/>
                  </a:cubicBezTo>
                  <a:cubicBezTo>
                    <a:pt x="2581" y="513"/>
                    <a:pt x="2648" y="520"/>
                    <a:pt x="2659" y="521"/>
                  </a:cubicBezTo>
                  <a:cubicBezTo>
                    <a:pt x="2669" y="522"/>
                    <a:pt x="2696" y="533"/>
                    <a:pt x="2705" y="528"/>
                  </a:cubicBezTo>
                  <a:cubicBezTo>
                    <a:pt x="2715" y="522"/>
                    <a:pt x="2696" y="502"/>
                    <a:pt x="2696" y="502"/>
                  </a:cubicBezTo>
                  <a:cubicBezTo>
                    <a:pt x="2727" y="496"/>
                    <a:pt x="2727" y="496"/>
                    <a:pt x="2727" y="496"/>
                  </a:cubicBezTo>
                  <a:cubicBezTo>
                    <a:pt x="2727" y="496"/>
                    <a:pt x="2735" y="518"/>
                    <a:pt x="2739" y="517"/>
                  </a:cubicBezTo>
                  <a:cubicBezTo>
                    <a:pt x="2743" y="516"/>
                    <a:pt x="2757" y="532"/>
                    <a:pt x="2757" y="532"/>
                  </a:cubicBezTo>
                  <a:cubicBezTo>
                    <a:pt x="2777" y="525"/>
                    <a:pt x="2777" y="525"/>
                    <a:pt x="2777" y="525"/>
                  </a:cubicBezTo>
                  <a:cubicBezTo>
                    <a:pt x="2777" y="525"/>
                    <a:pt x="2769" y="545"/>
                    <a:pt x="2773" y="546"/>
                  </a:cubicBezTo>
                  <a:cubicBezTo>
                    <a:pt x="2777" y="548"/>
                    <a:pt x="2807" y="554"/>
                    <a:pt x="2807" y="554"/>
                  </a:cubicBezTo>
                  <a:cubicBezTo>
                    <a:pt x="2807" y="554"/>
                    <a:pt x="2785" y="573"/>
                    <a:pt x="2793" y="573"/>
                  </a:cubicBezTo>
                  <a:cubicBezTo>
                    <a:pt x="2801" y="573"/>
                    <a:pt x="2820" y="573"/>
                    <a:pt x="2820" y="573"/>
                  </a:cubicBezTo>
                  <a:cubicBezTo>
                    <a:pt x="2816" y="590"/>
                    <a:pt x="2816" y="590"/>
                    <a:pt x="2816" y="590"/>
                  </a:cubicBezTo>
                  <a:cubicBezTo>
                    <a:pt x="2816" y="590"/>
                    <a:pt x="2849" y="594"/>
                    <a:pt x="2849" y="610"/>
                  </a:cubicBezTo>
                  <a:cubicBezTo>
                    <a:pt x="2849" y="626"/>
                    <a:pt x="2827" y="660"/>
                    <a:pt x="2821" y="661"/>
                  </a:cubicBezTo>
                  <a:cubicBezTo>
                    <a:pt x="2816" y="662"/>
                    <a:pt x="2728" y="701"/>
                    <a:pt x="2728" y="701"/>
                  </a:cubicBezTo>
                  <a:cubicBezTo>
                    <a:pt x="2728" y="701"/>
                    <a:pt x="2756" y="720"/>
                    <a:pt x="2741" y="726"/>
                  </a:cubicBezTo>
                  <a:cubicBezTo>
                    <a:pt x="2727" y="733"/>
                    <a:pt x="2707" y="734"/>
                    <a:pt x="2707" y="734"/>
                  </a:cubicBezTo>
                  <a:cubicBezTo>
                    <a:pt x="2655" y="741"/>
                    <a:pt x="2655" y="741"/>
                    <a:pt x="2655" y="741"/>
                  </a:cubicBezTo>
                  <a:cubicBezTo>
                    <a:pt x="2649" y="756"/>
                    <a:pt x="2649" y="756"/>
                    <a:pt x="2649" y="756"/>
                  </a:cubicBezTo>
                  <a:cubicBezTo>
                    <a:pt x="2640" y="742"/>
                    <a:pt x="2640" y="742"/>
                    <a:pt x="2640" y="742"/>
                  </a:cubicBezTo>
                  <a:cubicBezTo>
                    <a:pt x="2640" y="742"/>
                    <a:pt x="2613" y="733"/>
                    <a:pt x="2600" y="736"/>
                  </a:cubicBezTo>
                  <a:cubicBezTo>
                    <a:pt x="2587" y="738"/>
                    <a:pt x="2588" y="750"/>
                    <a:pt x="2588" y="750"/>
                  </a:cubicBezTo>
                  <a:cubicBezTo>
                    <a:pt x="2588" y="750"/>
                    <a:pt x="2543" y="760"/>
                    <a:pt x="2543" y="776"/>
                  </a:cubicBezTo>
                  <a:cubicBezTo>
                    <a:pt x="2543" y="800"/>
                    <a:pt x="2577" y="794"/>
                    <a:pt x="2604" y="785"/>
                  </a:cubicBezTo>
                  <a:cubicBezTo>
                    <a:pt x="2631" y="776"/>
                    <a:pt x="2637" y="777"/>
                    <a:pt x="2637" y="777"/>
                  </a:cubicBezTo>
                  <a:cubicBezTo>
                    <a:pt x="2637" y="777"/>
                    <a:pt x="2656" y="790"/>
                    <a:pt x="2663" y="785"/>
                  </a:cubicBezTo>
                  <a:cubicBezTo>
                    <a:pt x="2669" y="780"/>
                    <a:pt x="2665" y="769"/>
                    <a:pt x="2665" y="769"/>
                  </a:cubicBezTo>
                  <a:cubicBezTo>
                    <a:pt x="2681" y="754"/>
                    <a:pt x="2681" y="754"/>
                    <a:pt x="2681" y="754"/>
                  </a:cubicBezTo>
                  <a:cubicBezTo>
                    <a:pt x="2681" y="754"/>
                    <a:pt x="2668" y="766"/>
                    <a:pt x="2677" y="769"/>
                  </a:cubicBezTo>
                  <a:cubicBezTo>
                    <a:pt x="2687" y="772"/>
                    <a:pt x="2721" y="772"/>
                    <a:pt x="2721" y="772"/>
                  </a:cubicBezTo>
                  <a:cubicBezTo>
                    <a:pt x="2721" y="772"/>
                    <a:pt x="2707" y="778"/>
                    <a:pt x="2708" y="785"/>
                  </a:cubicBezTo>
                  <a:cubicBezTo>
                    <a:pt x="2709" y="792"/>
                    <a:pt x="2731" y="796"/>
                    <a:pt x="2731" y="796"/>
                  </a:cubicBezTo>
                  <a:cubicBezTo>
                    <a:pt x="2731" y="796"/>
                    <a:pt x="2717" y="805"/>
                    <a:pt x="2728" y="812"/>
                  </a:cubicBezTo>
                  <a:cubicBezTo>
                    <a:pt x="2739" y="818"/>
                    <a:pt x="2763" y="818"/>
                    <a:pt x="2763" y="818"/>
                  </a:cubicBezTo>
                  <a:cubicBezTo>
                    <a:pt x="2732" y="829"/>
                    <a:pt x="2732" y="829"/>
                    <a:pt x="2732" y="829"/>
                  </a:cubicBezTo>
                  <a:cubicBezTo>
                    <a:pt x="2732" y="829"/>
                    <a:pt x="2737" y="850"/>
                    <a:pt x="2743" y="849"/>
                  </a:cubicBezTo>
                  <a:cubicBezTo>
                    <a:pt x="2748" y="848"/>
                    <a:pt x="2759" y="841"/>
                    <a:pt x="2759" y="841"/>
                  </a:cubicBezTo>
                  <a:cubicBezTo>
                    <a:pt x="2759" y="841"/>
                    <a:pt x="2761" y="856"/>
                    <a:pt x="2771" y="857"/>
                  </a:cubicBezTo>
                  <a:cubicBezTo>
                    <a:pt x="2780" y="858"/>
                    <a:pt x="2801" y="861"/>
                    <a:pt x="2801" y="861"/>
                  </a:cubicBezTo>
                  <a:cubicBezTo>
                    <a:pt x="2801" y="861"/>
                    <a:pt x="2800" y="878"/>
                    <a:pt x="2816" y="882"/>
                  </a:cubicBezTo>
                  <a:cubicBezTo>
                    <a:pt x="2832" y="886"/>
                    <a:pt x="2843" y="878"/>
                    <a:pt x="2857" y="886"/>
                  </a:cubicBezTo>
                  <a:cubicBezTo>
                    <a:pt x="2872" y="894"/>
                    <a:pt x="2908" y="909"/>
                    <a:pt x="2908" y="909"/>
                  </a:cubicBezTo>
                  <a:cubicBezTo>
                    <a:pt x="2908" y="909"/>
                    <a:pt x="2919" y="889"/>
                    <a:pt x="2907" y="876"/>
                  </a:cubicBezTo>
                  <a:cubicBezTo>
                    <a:pt x="2895" y="862"/>
                    <a:pt x="2875" y="850"/>
                    <a:pt x="2875" y="850"/>
                  </a:cubicBezTo>
                  <a:cubicBezTo>
                    <a:pt x="2875" y="850"/>
                    <a:pt x="2855" y="825"/>
                    <a:pt x="2860" y="817"/>
                  </a:cubicBezTo>
                  <a:cubicBezTo>
                    <a:pt x="2865" y="809"/>
                    <a:pt x="2888" y="832"/>
                    <a:pt x="2888" y="832"/>
                  </a:cubicBezTo>
                  <a:cubicBezTo>
                    <a:pt x="2888" y="812"/>
                    <a:pt x="2888" y="812"/>
                    <a:pt x="2888" y="812"/>
                  </a:cubicBezTo>
                  <a:cubicBezTo>
                    <a:pt x="2888" y="812"/>
                    <a:pt x="2897" y="837"/>
                    <a:pt x="2907" y="837"/>
                  </a:cubicBezTo>
                  <a:cubicBezTo>
                    <a:pt x="2916" y="837"/>
                    <a:pt x="2931" y="833"/>
                    <a:pt x="2931" y="833"/>
                  </a:cubicBezTo>
                  <a:cubicBezTo>
                    <a:pt x="2931" y="833"/>
                    <a:pt x="2927" y="854"/>
                    <a:pt x="2937" y="853"/>
                  </a:cubicBezTo>
                  <a:cubicBezTo>
                    <a:pt x="2948" y="852"/>
                    <a:pt x="2952" y="864"/>
                    <a:pt x="2952" y="864"/>
                  </a:cubicBezTo>
                  <a:cubicBezTo>
                    <a:pt x="2965" y="849"/>
                    <a:pt x="2965" y="849"/>
                    <a:pt x="2965" y="849"/>
                  </a:cubicBezTo>
                  <a:cubicBezTo>
                    <a:pt x="2965" y="849"/>
                    <a:pt x="2975" y="861"/>
                    <a:pt x="2980" y="858"/>
                  </a:cubicBezTo>
                  <a:cubicBezTo>
                    <a:pt x="2985" y="856"/>
                    <a:pt x="2979" y="840"/>
                    <a:pt x="2979" y="840"/>
                  </a:cubicBezTo>
                  <a:cubicBezTo>
                    <a:pt x="2989" y="809"/>
                    <a:pt x="2989" y="809"/>
                    <a:pt x="2989" y="809"/>
                  </a:cubicBezTo>
                  <a:cubicBezTo>
                    <a:pt x="2989" y="809"/>
                    <a:pt x="2989" y="836"/>
                    <a:pt x="2997" y="836"/>
                  </a:cubicBezTo>
                  <a:cubicBezTo>
                    <a:pt x="3005" y="836"/>
                    <a:pt x="3009" y="808"/>
                    <a:pt x="3009" y="808"/>
                  </a:cubicBezTo>
                  <a:cubicBezTo>
                    <a:pt x="2995" y="792"/>
                    <a:pt x="2995" y="792"/>
                    <a:pt x="2995" y="792"/>
                  </a:cubicBezTo>
                  <a:cubicBezTo>
                    <a:pt x="3009" y="788"/>
                    <a:pt x="3009" y="788"/>
                    <a:pt x="3009" y="788"/>
                  </a:cubicBezTo>
                  <a:cubicBezTo>
                    <a:pt x="2997" y="778"/>
                    <a:pt x="2997" y="778"/>
                    <a:pt x="2997" y="778"/>
                  </a:cubicBezTo>
                  <a:cubicBezTo>
                    <a:pt x="2999" y="765"/>
                    <a:pt x="2999" y="765"/>
                    <a:pt x="2999" y="765"/>
                  </a:cubicBezTo>
                  <a:cubicBezTo>
                    <a:pt x="2979" y="768"/>
                    <a:pt x="2979" y="768"/>
                    <a:pt x="2979" y="768"/>
                  </a:cubicBezTo>
                  <a:cubicBezTo>
                    <a:pt x="2979" y="757"/>
                    <a:pt x="2979" y="757"/>
                    <a:pt x="2979" y="757"/>
                  </a:cubicBezTo>
                  <a:cubicBezTo>
                    <a:pt x="2964" y="757"/>
                    <a:pt x="2964" y="757"/>
                    <a:pt x="2964" y="757"/>
                  </a:cubicBezTo>
                  <a:cubicBezTo>
                    <a:pt x="2963" y="724"/>
                    <a:pt x="2963" y="724"/>
                    <a:pt x="2963" y="724"/>
                  </a:cubicBezTo>
                  <a:cubicBezTo>
                    <a:pt x="2941" y="725"/>
                    <a:pt x="2941" y="725"/>
                    <a:pt x="2941" y="725"/>
                  </a:cubicBezTo>
                  <a:cubicBezTo>
                    <a:pt x="2941" y="725"/>
                    <a:pt x="2929" y="705"/>
                    <a:pt x="2941" y="702"/>
                  </a:cubicBezTo>
                  <a:cubicBezTo>
                    <a:pt x="2953" y="700"/>
                    <a:pt x="2961" y="717"/>
                    <a:pt x="2969" y="714"/>
                  </a:cubicBezTo>
                  <a:cubicBezTo>
                    <a:pt x="2977" y="712"/>
                    <a:pt x="2976" y="686"/>
                    <a:pt x="2976" y="686"/>
                  </a:cubicBezTo>
                  <a:cubicBezTo>
                    <a:pt x="2991" y="690"/>
                    <a:pt x="2991" y="690"/>
                    <a:pt x="2991" y="690"/>
                  </a:cubicBezTo>
                  <a:cubicBezTo>
                    <a:pt x="3016" y="678"/>
                    <a:pt x="3016" y="678"/>
                    <a:pt x="3016" y="678"/>
                  </a:cubicBezTo>
                  <a:cubicBezTo>
                    <a:pt x="3016" y="678"/>
                    <a:pt x="3017" y="710"/>
                    <a:pt x="3024" y="704"/>
                  </a:cubicBezTo>
                  <a:cubicBezTo>
                    <a:pt x="3031" y="697"/>
                    <a:pt x="3044" y="697"/>
                    <a:pt x="3044" y="697"/>
                  </a:cubicBezTo>
                  <a:cubicBezTo>
                    <a:pt x="3036" y="709"/>
                    <a:pt x="3036" y="709"/>
                    <a:pt x="3036" y="709"/>
                  </a:cubicBezTo>
                  <a:cubicBezTo>
                    <a:pt x="3051" y="710"/>
                    <a:pt x="3051" y="710"/>
                    <a:pt x="3051" y="710"/>
                  </a:cubicBezTo>
                  <a:cubicBezTo>
                    <a:pt x="3044" y="729"/>
                    <a:pt x="3044" y="729"/>
                    <a:pt x="3044" y="729"/>
                  </a:cubicBezTo>
                  <a:cubicBezTo>
                    <a:pt x="3044" y="729"/>
                    <a:pt x="3067" y="770"/>
                    <a:pt x="3083" y="760"/>
                  </a:cubicBezTo>
                  <a:cubicBezTo>
                    <a:pt x="3099" y="749"/>
                    <a:pt x="3101" y="724"/>
                    <a:pt x="3101" y="724"/>
                  </a:cubicBezTo>
                  <a:cubicBezTo>
                    <a:pt x="3108" y="714"/>
                    <a:pt x="3108" y="714"/>
                    <a:pt x="3108" y="714"/>
                  </a:cubicBezTo>
                  <a:cubicBezTo>
                    <a:pt x="3108" y="714"/>
                    <a:pt x="3127" y="730"/>
                    <a:pt x="3140" y="721"/>
                  </a:cubicBezTo>
                  <a:cubicBezTo>
                    <a:pt x="3153" y="712"/>
                    <a:pt x="3152" y="694"/>
                    <a:pt x="3152" y="694"/>
                  </a:cubicBezTo>
                  <a:cubicBezTo>
                    <a:pt x="3152" y="694"/>
                    <a:pt x="3187" y="704"/>
                    <a:pt x="3201" y="688"/>
                  </a:cubicBezTo>
                  <a:cubicBezTo>
                    <a:pt x="3216" y="672"/>
                    <a:pt x="3177" y="661"/>
                    <a:pt x="3172" y="665"/>
                  </a:cubicBezTo>
                  <a:close/>
                  <a:moveTo>
                    <a:pt x="2983" y="872"/>
                  </a:moveTo>
                  <a:cubicBezTo>
                    <a:pt x="2963" y="876"/>
                    <a:pt x="2963" y="876"/>
                    <a:pt x="2963" y="876"/>
                  </a:cubicBezTo>
                  <a:cubicBezTo>
                    <a:pt x="2960" y="885"/>
                    <a:pt x="2960" y="885"/>
                    <a:pt x="2960" y="885"/>
                  </a:cubicBezTo>
                  <a:cubicBezTo>
                    <a:pt x="2983" y="882"/>
                    <a:pt x="2983" y="882"/>
                    <a:pt x="2983" y="882"/>
                  </a:cubicBezTo>
                  <a:lnTo>
                    <a:pt x="2983" y="872"/>
                  </a:lnTo>
                  <a:close/>
                  <a:moveTo>
                    <a:pt x="2758" y="861"/>
                  </a:moveTo>
                  <a:cubicBezTo>
                    <a:pt x="2746" y="862"/>
                    <a:pt x="2747" y="878"/>
                    <a:pt x="2761" y="878"/>
                  </a:cubicBezTo>
                  <a:cubicBezTo>
                    <a:pt x="2785" y="878"/>
                    <a:pt x="2771" y="859"/>
                    <a:pt x="2758" y="861"/>
                  </a:cubicBezTo>
                  <a:close/>
                  <a:moveTo>
                    <a:pt x="2555" y="832"/>
                  </a:moveTo>
                  <a:cubicBezTo>
                    <a:pt x="2565" y="822"/>
                    <a:pt x="2540" y="818"/>
                    <a:pt x="2540" y="818"/>
                  </a:cubicBezTo>
                  <a:cubicBezTo>
                    <a:pt x="2540" y="818"/>
                    <a:pt x="2540" y="847"/>
                    <a:pt x="2555" y="832"/>
                  </a:cubicBezTo>
                  <a:close/>
                  <a:moveTo>
                    <a:pt x="2800" y="969"/>
                  </a:moveTo>
                  <a:cubicBezTo>
                    <a:pt x="2777" y="971"/>
                    <a:pt x="2777" y="971"/>
                    <a:pt x="2777" y="971"/>
                  </a:cubicBezTo>
                  <a:cubicBezTo>
                    <a:pt x="2801" y="987"/>
                    <a:pt x="2801" y="987"/>
                    <a:pt x="2801" y="987"/>
                  </a:cubicBezTo>
                  <a:cubicBezTo>
                    <a:pt x="2820" y="978"/>
                    <a:pt x="2800" y="969"/>
                    <a:pt x="2800" y="969"/>
                  </a:cubicBezTo>
                  <a:close/>
                  <a:moveTo>
                    <a:pt x="2779" y="582"/>
                  </a:moveTo>
                  <a:cubicBezTo>
                    <a:pt x="2752" y="576"/>
                    <a:pt x="2779" y="594"/>
                    <a:pt x="2779" y="594"/>
                  </a:cubicBezTo>
                  <a:cubicBezTo>
                    <a:pt x="2795" y="592"/>
                    <a:pt x="2807" y="588"/>
                    <a:pt x="2779" y="582"/>
                  </a:cubicBezTo>
                  <a:close/>
                  <a:moveTo>
                    <a:pt x="2779" y="626"/>
                  </a:moveTo>
                  <a:cubicBezTo>
                    <a:pt x="2821" y="624"/>
                    <a:pt x="2821" y="624"/>
                    <a:pt x="2821" y="624"/>
                  </a:cubicBezTo>
                  <a:cubicBezTo>
                    <a:pt x="2821" y="613"/>
                    <a:pt x="2821" y="613"/>
                    <a:pt x="2821" y="613"/>
                  </a:cubicBezTo>
                  <a:cubicBezTo>
                    <a:pt x="2791" y="615"/>
                    <a:pt x="2791" y="615"/>
                    <a:pt x="2791" y="615"/>
                  </a:cubicBezTo>
                  <a:lnTo>
                    <a:pt x="2779" y="626"/>
                  </a:lnTo>
                  <a:close/>
                  <a:moveTo>
                    <a:pt x="3715" y="26"/>
                  </a:moveTo>
                  <a:cubicBezTo>
                    <a:pt x="3713" y="23"/>
                    <a:pt x="3658" y="28"/>
                    <a:pt x="3658" y="28"/>
                  </a:cubicBezTo>
                  <a:cubicBezTo>
                    <a:pt x="3660" y="18"/>
                    <a:pt x="3660" y="18"/>
                    <a:pt x="3660" y="18"/>
                  </a:cubicBezTo>
                  <a:cubicBezTo>
                    <a:pt x="3660" y="18"/>
                    <a:pt x="3625" y="10"/>
                    <a:pt x="3612" y="10"/>
                  </a:cubicBezTo>
                  <a:cubicBezTo>
                    <a:pt x="3599" y="10"/>
                    <a:pt x="3527" y="25"/>
                    <a:pt x="3527" y="25"/>
                  </a:cubicBezTo>
                  <a:cubicBezTo>
                    <a:pt x="3560" y="10"/>
                    <a:pt x="3560" y="10"/>
                    <a:pt x="3560" y="10"/>
                  </a:cubicBezTo>
                  <a:cubicBezTo>
                    <a:pt x="3515" y="12"/>
                    <a:pt x="3515" y="12"/>
                    <a:pt x="3515" y="12"/>
                  </a:cubicBezTo>
                  <a:cubicBezTo>
                    <a:pt x="3515" y="12"/>
                    <a:pt x="3479" y="0"/>
                    <a:pt x="3469" y="2"/>
                  </a:cubicBezTo>
                  <a:cubicBezTo>
                    <a:pt x="3458" y="4"/>
                    <a:pt x="3453" y="15"/>
                    <a:pt x="3453" y="15"/>
                  </a:cubicBezTo>
                  <a:cubicBezTo>
                    <a:pt x="3453" y="15"/>
                    <a:pt x="3427" y="3"/>
                    <a:pt x="3418" y="3"/>
                  </a:cubicBezTo>
                  <a:cubicBezTo>
                    <a:pt x="3409" y="3"/>
                    <a:pt x="3389" y="18"/>
                    <a:pt x="3389" y="18"/>
                  </a:cubicBezTo>
                  <a:cubicBezTo>
                    <a:pt x="3363" y="10"/>
                    <a:pt x="3363" y="10"/>
                    <a:pt x="3363" y="10"/>
                  </a:cubicBezTo>
                  <a:cubicBezTo>
                    <a:pt x="3290" y="7"/>
                    <a:pt x="3290" y="7"/>
                    <a:pt x="3290" y="7"/>
                  </a:cubicBezTo>
                  <a:cubicBezTo>
                    <a:pt x="3308" y="25"/>
                    <a:pt x="3308" y="25"/>
                    <a:pt x="3308" y="25"/>
                  </a:cubicBezTo>
                  <a:cubicBezTo>
                    <a:pt x="3266" y="11"/>
                    <a:pt x="3266" y="11"/>
                    <a:pt x="3266" y="11"/>
                  </a:cubicBezTo>
                  <a:cubicBezTo>
                    <a:pt x="3225" y="18"/>
                    <a:pt x="3225" y="18"/>
                    <a:pt x="3225" y="18"/>
                  </a:cubicBezTo>
                  <a:cubicBezTo>
                    <a:pt x="3225" y="18"/>
                    <a:pt x="3195" y="12"/>
                    <a:pt x="3179" y="12"/>
                  </a:cubicBezTo>
                  <a:cubicBezTo>
                    <a:pt x="3163" y="12"/>
                    <a:pt x="3114" y="24"/>
                    <a:pt x="3114" y="24"/>
                  </a:cubicBezTo>
                  <a:cubicBezTo>
                    <a:pt x="3172" y="42"/>
                    <a:pt x="3172" y="42"/>
                    <a:pt x="3172" y="42"/>
                  </a:cubicBezTo>
                  <a:cubicBezTo>
                    <a:pt x="3114" y="34"/>
                    <a:pt x="3114" y="34"/>
                    <a:pt x="3114" y="34"/>
                  </a:cubicBezTo>
                  <a:cubicBezTo>
                    <a:pt x="3114" y="34"/>
                    <a:pt x="3059" y="23"/>
                    <a:pt x="3034" y="25"/>
                  </a:cubicBezTo>
                  <a:cubicBezTo>
                    <a:pt x="3010" y="28"/>
                    <a:pt x="3018" y="42"/>
                    <a:pt x="3018" y="42"/>
                  </a:cubicBezTo>
                  <a:cubicBezTo>
                    <a:pt x="3018" y="42"/>
                    <a:pt x="2956" y="36"/>
                    <a:pt x="2943" y="36"/>
                  </a:cubicBezTo>
                  <a:cubicBezTo>
                    <a:pt x="2930" y="36"/>
                    <a:pt x="2830" y="46"/>
                    <a:pt x="2826" y="48"/>
                  </a:cubicBezTo>
                  <a:cubicBezTo>
                    <a:pt x="2823" y="50"/>
                    <a:pt x="2849" y="56"/>
                    <a:pt x="2849" y="56"/>
                  </a:cubicBezTo>
                  <a:cubicBezTo>
                    <a:pt x="2905" y="59"/>
                    <a:pt x="2905" y="59"/>
                    <a:pt x="2905" y="59"/>
                  </a:cubicBezTo>
                  <a:cubicBezTo>
                    <a:pt x="2850" y="67"/>
                    <a:pt x="2850" y="67"/>
                    <a:pt x="2850" y="67"/>
                  </a:cubicBezTo>
                  <a:cubicBezTo>
                    <a:pt x="2850" y="67"/>
                    <a:pt x="2870" y="76"/>
                    <a:pt x="2884" y="76"/>
                  </a:cubicBezTo>
                  <a:cubicBezTo>
                    <a:pt x="2898" y="76"/>
                    <a:pt x="2935" y="70"/>
                    <a:pt x="2935" y="70"/>
                  </a:cubicBezTo>
                  <a:cubicBezTo>
                    <a:pt x="2935" y="70"/>
                    <a:pt x="2960" y="62"/>
                    <a:pt x="2978" y="62"/>
                  </a:cubicBezTo>
                  <a:cubicBezTo>
                    <a:pt x="2997" y="62"/>
                    <a:pt x="3040" y="71"/>
                    <a:pt x="3040" y="71"/>
                  </a:cubicBezTo>
                  <a:cubicBezTo>
                    <a:pt x="3040" y="71"/>
                    <a:pt x="2989" y="72"/>
                    <a:pt x="2977" y="73"/>
                  </a:cubicBezTo>
                  <a:cubicBezTo>
                    <a:pt x="2965" y="74"/>
                    <a:pt x="2930" y="87"/>
                    <a:pt x="2930" y="87"/>
                  </a:cubicBezTo>
                  <a:cubicBezTo>
                    <a:pt x="2930" y="87"/>
                    <a:pt x="2958" y="87"/>
                    <a:pt x="2979" y="89"/>
                  </a:cubicBezTo>
                  <a:cubicBezTo>
                    <a:pt x="3001" y="91"/>
                    <a:pt x="3006" y="83"/>
                    <a:pt x="3006" y="83"/>
                  </a:cubicBezTo>
                  <a:cubicBezTo>
                    <a:pt x="3050" y="83"/>
                    <a:pt x="3050" y="83"/>
                    <a:pt x="3050" y="83"/>
                  </a:cubicBezTo>
                  <a:cubicBezTo>
                    <a:pt x="3050" y="83"/>
                    <a:pt x="3064" y="84"/>
                    <a:pt x="3081" y="84"/>
                  </a:cubicBezTo>
                  <a:cubicBezTo>
                    <a:pt x="3098" y="84"/>
                    <a:pt x="3138" y="73"/>
                    <a:pt x="3142" y="70"/>
                  </a:cubicBezTo>
                  <a:cubicBezTo>
                    <a:pt x="3147" y="66"/>
                    <a:pt x="3173" y="63"/>
                    <a:pt x="3186" y="59"/>
                  </a:cubicBezTo>
                  <a:cubicBezTo>
                    <a:pt x="3199" y="54"/>
                    <a:pt x="3220" y="59"/>
                    <a:pt x="3220" y="59"/>
                  </a:cubicBezTo>
                  <a:cubicBezTo>
                    <a:pt x="3162" y="76"/>
                    <a:pt x="3162" y="76"/>
                    <a:pt x="3162" y="76"/>
                  </a:cubicBezTo>
                  <a:cubicBezTo>
                    <a:pt x="3185" y="77"/>
                    <a:pt x="3185" y="77"/>
                    <a:pt x="3185" y="77"/>
                  </a:cubicBezTo>
                  <a:cubicBezTo>
                    <a:pt x="3153" y="87"/>
                    <a:pt x="3153" y="87"/>
                    <a:pt x="3153" y="87"/>
                  </a:cubicBezTo>
                  <a:cubicBezTo>
                    <a:pt x="3153" y="87"/>
                    <a:pt x="3040" y="92"/>
                    <a:pt x="3027" y="92"/>
                  </a:cubicBezTo>
                  <a:cubicBezTo>
                    <a:pt x="3014" y="92"/>
                    <a:pt x="3014" y="104"/>
                    <a:pt x="3014" y="104"/>
                  </a:cubicBezTo>
                  <a:cubicBezTo>
                    <a:pt x="3065" y="119"/>
                    <a:pt x="3065" y="119"/>
                    <a:pt x="3065" y="119"/>
                  </a:cubicBezTo>
                  <a:cubicBezTo>
                    <a:pt x="3065" y="119"/>
                    <a:pt x="3045" y="125"/>
                    <a:pt x="3033" y="125"/>
                  </a:cubicBezTo>
                  <a:cubicBezTo>
                    <a:pt x="3022" y="125"/>
                    <a:pt x="2974" y="99"/>
                    <a:pt x="2974" y="99"/>
                  </a:cubicBezTo>
                  <a:cubicBezTo>
                    <a:pt x="2974" y="99"/>
                    <a:pt x="2925" y="100"/>
                    <a:pt x="2912" y="100"/>
                  </a:cubicBezTo>
                  <a:cubicBezTo>
                    <a:pt x="2899" y="100"/>
                    <a:pt x="2891" y="115"/>
                    <a:pt x="2891" y="115"/>
                  </a:cubicBezTo>
                  <a:cubicBezTo>
                    <a:pt x="2912" y="126"/>
                    <a:pt x="2912" y="126"/>
                    <a:pt x="2912" y="126"/>
                  </a:cubicBezTo>
                  <a:cubicBezTo>
                    <a:pt x="2912" y="126"/>
                    <a:pt x="2923" y="142"/>
                    <a:pt x="2940" y="145"/>
                  </a:cubicBezTo>
                  <a:cubicBezTo>
                    <a:pt x="2956" y="148"/>
                    <a:pt x="2989" y="144"/>
                    <a:pt x="2989" y="144"/>
                  </a:cubicBezTo>
                  <a:cubicBezTo>
                    <a:pt x="2989" y="144"/>
                    <a:pt x="2981" y="153"/>
                    <a:pt x="2964" y="155"/>
                  </a:cubicBezTo>
                  <a:cubicBezTo>
                    <a:pt x="2948" y="157"/>
                    <a:pt x="2917" y="151"/>
                    <a:pt x="2909" y="149"/>
                  </a:cubicBezTo>
                  <a:cubicBezTo>
                    <a:pt x="2902" y="147"/>
                    <a:pt x="2846" y="157"/>
                    <a:pt x="2828" y="157"/>
                  </a:cubicBezTo>
                  <a:cubicBezTo>
                    <a:pt x="2809" y="157"/>
                    <a:pt x="2774" y="182"/>
                    <a:pt x="2774" y="182"/>
                  </a:cubicBezTo>
                  <a:cubicBezTo>
                    <a:pt x="2823" y="174"/>
                    <a:pt x="2823" y="174"/>
                    <a:pt x="2823" y="174"/>
                  </a:cubicBezTo>
                  <a:cubicBezTo>
                    <a:pt x="2821" y="186"/>
                    <a:pt x="2821" y="186"/>
                    <a:pt x="2821" y="186"/>
                  </a:cubicBezTo>
                  <a:cubicBezTo>
                    <a:pt x="2863" y="174"/>
                    <a:pt x="2863" y="174"/>
                    <a:pt x="2863" y="174"/>
                  </a:cubicBezTo>
                  <a:cubicBezTo>
                    <a:pt x="2816" y="192"/>
                    <a:pt x="2816" y="192"/>
                    <a:pt x="2816" y="192"/>
                  </a:cubicBezTo>
                  <a:cubicBezTo>
                    <a:pt x="2816" y="192"/>
                    <a:pt x="2824" y="203"/>
                    <a:pt x="2840" y="203"/>
                  </a:cubicBezTo>
                  <a:cubicBezTo>
                    <a:pt x="2857" y="203"/>
                    <a:pt x="2902" y="186"/>
                    <a:pt x="2902" y="186"/>
                  </a:cubicBezTo>
                  <a:cubicBezTo>
                    <a:pt x="2834" y="212"/>
                    <a:pt x="2834" y="212"/>
                    <a:pt x="2834" y="212"/>
                  </a:cubicBezTo>
                  <a:cubicBezTo>
                    <a:pt x="2789" y="209"/>
                    <a:pt x="2789" y="209"/>
                    <a:pt x="2789" y="209"/>
                  </a:cubicBezTo>
                  <a:cubicBezTo>
                    <a:pt x="2780" y="192"/>
                    <a:pt x="2780" y="192"/>
                    <a:pt x="2780" y="192"/>
                  </a:cubicBezTo>
                  <a:cubicBezTo>
                    <a:pt x="2780" y="192"/>
                    <a:pt x="2747" y="189"/>
                    <a:pt x="2737" y="191"/>
                  </a:cubicBezTo>
                  <a:cubicBezTo>
                    <a:pt x="2727" y="193"/>
                    <a:pt x="2741" y="218"/>
                    <a:pt x="2741" y="218"/>
                  </a:cubicBezTo>
                  <a:cubicBezTo>
                    <a:pt x="2741" y="218"/>
                    <a:pt x="2697" y="222"/>
                    <a:pt x="2691" y="222"/>
                  </a:cubicBezTo>
                  <a:cubicBezTo>
                    <a:pt x="2684" y="222"/>
                    <a:pt x="2654" y="237"/>
                    <a:pt x="2634" y="239"/>
                  </a:cubicBezTo>
                  <a:cubicBezTo>
                    <a:pt x="2622" y="240"/>
                    <a:pt x="2613" y="241"/>
                    <a:pt x="2610" y="241"/>
                  </a:cubicBezTo>
                  <a:cubicBezTo>
                    <a:pt x="2607" y="241"/>
                    <a:pt x="2626" y="247"/>
                    <a:pt x="2641" y="247"/>
                  </a:cubicBezTo>
                  <a:cubicBezTo>
                    <a:pt x="2656" y="247"/>
                    <a:pt x="2663" y="240"/>
                    <a:pt x="2663" y="240"/>
                  </a:cubicBezTo>
                  <a:cubicBezTo>
                    <a:pt x="2655" y="252"/>
                    <a:pt x="2655" y="252"/>
                    <a:pt x="2655" y="252"/>
                  </a:cubicBezTo>
                  <a:cubicBezTo>
                    <a:pt x="2680" y="247"/>
                    <a:pt x="2680" y="247"/>
                    <a:pt x="2680" y="247"/>
                  </a:cubicBezTo>
                  <a:cubicBezTo>
                    <a:pt x="2695" y="240"/>
                    <a:pt x="2695" y="240"/>
                    <a:pt x="2695" y="240"/>
                  </a:cubicBezTo>
                  <a:cubicBezTo>
                    <a:pt x="2695" y="248"/>
                    <a:pt x="2695" y="248"/>
                    <a:pt x="2695" y="248"/>
                  </a:cubicBezTo>
                  <a:cubicBezTo>
                    <a:pt x="2712" y="246"/>
                    <a:pt x="2712" y="246"/>
                    <a:pt x="2712" y="246"/>
                  </a:cubicBezTo>
                  <a:cubicBezTo>
                    <a:pt x="2728" y="244"/>
                    <a:pt x="2728" y="244"/>
                    <a:pt x="2728" y="244"/>
                  </a:cubicBezTo>
                  <a:cubicBezTo>
                    <a:pt x="2728" y="244"/>
                    <a:pt x="2729" y="253"/>
                    <a:pt x="2740" y="254"/>
                  </a:cubicBezTo>
                  <a:cubicBezTo>
                    <a:pt x="2751" y="255"/>
                    <a:pt x="2773" y="241"/>
                    <a:pt x="2773" y="241"/>
                  </a:cubicBezTo>
                  <a:cubicBezTo>
                    <a:pt x="2778" y="250"/>
                    <a:pt x="2778" y="250"/>
                    <a:pt x="2778" y="250"/>
                  </a:cubicBezTo>
                  <a:cubicBezTo>
                    <a:pt x="2796" y="240"/>
                    <a:pt x="2796" y="240"/>
                    <a:pt x="2796" y="240"/>
                  </a:cubicBezTo>
                  <a:cubicBezTo>
                    <a:pt x="2796" y="240"/>
                    <a:pt x="2802" y="248"/>
                    <a:pt x="2810" y="251"/>
                  </a:cubicBezTo>
                  <a:cubicBezTo>
                    <a:pt x="2819" y="253"/>
                    <a:pt x="2828" y="242"/>
                    <a:pt x="2828" y="242"/>
                  </a:cubicBezTo>
                  <a:cubicBezTo>
                    <a:pt x="2828" y="242"/>
                    <a:pt x="2837" y="250"/>
                    <a:pt x="2850" y="250"/>
                  </a:cubicBezTo>
                  <a:cubicBezTo>
                    <a:pt x="2863" y="250"/>
                    <a:pt x="2853" y="238"/>
                    <a:pt x="2853" y="238"/>
                  </a:cubicBezTo>
                  <a:cubicBezTo>
                    <a:pt x="2891" y="252"/>
                    <a:pt x="2891" y="252"/>
                    <a:pt x="2891" y="252"/>
                  </a:cubicBezTo>
                  <a:cubicBezTo>
                    <a:pt x="2891" y="252"/>
                    <a:pt x="2898" y="261"/>
                    <a:pt x="2902" y="261"/>
                  </a:cubicBezTo>
                  <a:cubicBezTo>
                    <a:pt x="2906" y="261"/>
                    <a:pt x="2964" y="248"/>
                    <a:pt x="2975" y="248"/>
                  </a:cubicBezTo>
                  <a:cubicBezTo>
                    <a:pt x="2986" y="248"/>
                    <a:pt x="3011" y="238"/>
                    <a:pt x="3015" y="231"/>
                  </a:cubicBezTo>
                  <a:cubicBezTo>
                    <a:pt x="3019" y="225"/>
                    <a:pt x="2973" y="230"/>
                    <a:pt x="2973" y="230"/>
                  </a:cubicBezTo>
                  <a:cubicBezTo>
                    <a:pt x="2973" y="230"/>
                    <a:pt x="2982" y="223"/>
                    <a:pt x="2975" y="220"/>
                  </a:cubicBezTo>
                  <a:cubicBezTo>
                    <a:pt x="2969" y="218"/>
                    <a:pt x="2943" y="220"/>
                    <a:pt x="2943" y="220"/>
                  </a:cubicBezTo>
                  <a:cubicBezTo>
                    <a:pt x="2905" y="214"/>
                    <a:pt x="2905" y="214"/>
                    <a:pt x="2905" y="214"/>
                  </a:cubicBezTo>
                  <a:cubicBezTo>
                    <a:pt x="2917" y="201"/>
                    <a:pt x="2917" y="201"/>
                    <a:pt x="2917" y="201"/>
                  </a:cubicBezTo>
                  <a:cubicBezTo>
                    <a:pt x="2959" y="215"/>
                    <a:pt x="2959" y="215"/>
                    <a:pt x="2959" y="215"/>
                  </a:cubicBezTo>
                  <a:cubicBezTo>
                    <a:pt x="2959" y="215"/>
                    <a:pt x="3014" y="212"/>
                    <a:pt x="3034" y="211"/>
                  </a:cubicBezTo>
                  <a:cubicBezTo>
                    <a:pt x="3055" y="210"/>
                    <a:pt x="3050" y="192"/>
                    <a:pt x="3050" y="192"/>
                  </a:cubicBezTo>
                  <a:cubicBezTo>
                    <a:pt x="3050" y="192"/>
                    <a:pt x="3075" y="187"/>
                    <a:pt x="3094" y="187"/>
                  </a:cubicBezTo>
                  <a:cubicBezTo>
                    <a:pt x="3112" y="187"/>
                    <a:pt x="3150" y="178"/>
                    <a:pt x="3150" y="178"/>
                  </a:cubicBezTo>
                  <a:cubicBezTo>
                    <a:pt x="3132" y="167"/>
                    <a:pt x="3132" y="167"/>
                    <a:pt x="3132" y="167"/>
                  </a:cubicBezTo>
                  <a:cubicBezTo>
                    <a:pt x="3132" y="167"/>
                    <a:pt x="3155" y="167"/>
                    <a:pt x="3180" y="161"/>
                  </a:cubicBezTo>
                  <a:cubicBezTo>
                    <a:pt x="3205" y="156"/>
                    <a:pt x="3147" y="146"/>
                    <a:pt x="3147" y="146"/>
                  </a:cubicBezTo>
                  <a:cubicBezTo>
                    <a:pt x="3147" y="146"/>
                    <a:pt x="3115" y="147"/>
                    <a:pt x="3104" y="143"/>
                  </a:cubicBezTo>
                  <a:cubicBezTo>
                    <a:pt x="3094" y="139"/>
                    <a:pt x="3152" y="125"/>
                    <a:pt x="3155" y="126"/>
                  </a:cubicBezTo>
                  <a:cubicBezTo>
                    <a:pt x="3158" y="127"/>
                    <a:pt x="3200" y="131"/>
                    <a:pt x="3200" y="131"/>
                  </a:cubicBezTo>
                  <a:cubicBezTo>
                    <a:pt x="3200" y="131"/>
                    <a:pt x="3248" y="129"/>
                    <a:pt x="3263" y="126"/>
                  </a:cubicBezTo>
                  <a:cubicBezTo>
                    <a:pt x="3278" y="122"/>
                    <a:pt x="3229" y="120"/>
                    <a:pt x="3247" y="113"/>
                  </a:cubicBezTo>
                  <a:cubicBezTo>
                    <a:pt x="3264" y="105"/>
                    <a:pt x="3296" y="119"/>
                    <a:pt x="3316" y="119"/>
                  </a:cubicBezTo>
                  <a:cubicBezTo>
                    <a:pt x="3335" y="119"/>
                    <a:pt x="3328" y="102"/>
                    <a:pt x="3328" y="102"/>
                  </a:cubicBezTo>
                  <a:cubicBezTo>
                    <a:pt x="3376" y="105"/>
                    <a:pt x="3376" y="105"/>
                    <a:pt x="3376" y="105"/>
                  </a:cubicBezTo>
                  <a:cubicBezTo>
                    <a:pt x="3379" y="91"/>
                    <a:pt x="3379" y="91"/>
                    <a:pt x="3379" y="91"/>
                  </a:cubicBezTo>
                  <a:cubicBezTo>
                    <a:pt x="3379" y="91"/>
                    <a:pt x="3392" y="95"/>
                    <a:pt x="3401" y="95"/>
                  </a:cubicBezTo>
                  <a:cubicBezTo>
                    <a:pt x="3409" y="95"/>
                    <a:pt x="3440" y="83"/>
                    <a:pt x="3440" y="83"/>
                  </a:cubicBezTo>
                  <a:cubicBezTo>
                    <a:pt x="3440" y="83"/>
                    <a:pt x="3499" y="73"/>
                    <a:pt x="3531" y="67"/>
                  </a:cubicBezTo>
                  <a:cubicBezTo>
                    <a:pt x="3564" y="62"/>
                    <a:pt x="3567" y="57"/>
                    <a:pt x="3562" y="57"/>
                  </a:cubicBezTo>
                  <a:cubicBezTo>
                    <a:pt x="3558" y="57"/>
                    <a:pt x="3491" y="60"/>
                    <a:pt x="3491" y="60"/>
                  </a:cubicBezTo>
                  <a:cubicBezTo>
                    <a:pt x="3474" y="67"/>
                    <a:pt x="3474" y="67"/>
                    <a:pt x="3474" y="67"/>
                  </a:cubicBezTo>
                  <a:cubicBezTo>
                    <a:pt x="3428" y="64"/>
                    <a:pt x="3428" y="64"/>
                    <a:pt x="3428" y="64"/>
                  </a:cubicBezTo>
                  <a:cubicBezTo>
                    <a:pt x="3481" y="61"/>
                    <a:pt x="3481" y="61"/>
                    <a:pt x="3481" y="61"/>
                  </a:cubicBezTo>
                  <a:cubicBezTo>
                    <a:pt x="3479" y="52"/>
                    <a:pt x="3479" y="52"/>
                    <a:pt x="3479" y="52"/>
                  </a:cubicBezTo>
                  <a:cubicBezTo>
                    <a:pt x="3512" y="57"/>
                    <a:pt x="3512" y="57"/>
                    <a:pt x="3512" y="57"/>
                  </a:cubicBezTo>
                  <a:cubicBezTo>
                    <a:pt x="3512" y="57"/>
                    <a:pt x="3517" y="49"/>
                    <a:pt x="3526" y="49"/>
                  </a:cubicBezTo>
                  <a:cubicBezTo>
                    <a:pt x="3534" y="49"/>
                    <a:pt x="3635" y="45"/>
                    <a:pt x="3653" y="44"/>
                  </a:cubicBezTo>
                  <a:cubicBezTo>
                    <a:pt x="3671" y="43"/>
                    <a:pt x="3718" y="30"/>
                    <a:pt x="3715" y="26"/>
                  </a:cubicBezTo>
                  <a:close/>
                  <a:moveTo>
                    <a:pt x="2687" y="644"/>
                  </a:moveTo>
                  <a:cubicBezTo>
                    <a:pt x="2722" y="650"/>
                    <a:pt x="2732" y="643"/>
                    <a:pt x="2747" y="633"/>
                  </a:cubicBezTo>
                  <a:cubicBezTo>
                    <a:pt x="2763" y="624"/>
                    <a:pt x="2759" y="608"/>
                    <a:pt x="2745" y="604"/>
                  </a:cubicBezTo>
                  <a:cubicBezTo>
                    <a:pt x="2731" y="601"/>
                    <a:pt x="2698" y="610"/>
                    <a:pt x="2698" y="610"/>
                  </a:cubicBezTo>
                  <a:cubicBezTo>
                    <a:pt x="2660" y="634"/>
                    <a:pt x="2652" y="639"/>
                    <a:pt x="2687" y="644"/>
                  </a:cubicBezTo>
                  <a:close/>
                  <a:moveTo>
                    <a:pt x="2674" y="560"/>
                  </a:moveTo>
                  <a:cubicBezTo>
                    <a:pt x="2658" y="565"/>
                    <a:pt x="2633" y="576"/>
                    <a:pt x="2657" y="571"/>
                  </a:cubicBezTo>
                  <a:cubicBezTo>
                    <a:pt x="2680" y="566"/>
                    <a:pt x="2700" y="558"/>
                    <a:pt x="2700" y="558"/>
                  </a:cubicBezTo>
                  <a:cubicBezTo>
                    <a:pt x="2724" y="540"/>
                    <a:pt x="2690" y="555"/>
                    <a:pt x="2674" y="560"/>
                  </a:cubicBezTo>
                  <a:close/>
                  <a:moveTo>
                    <a:pt x="2747" y="549"/>
                  </a:moveTo>
                  <a:cubicBezTo>
                    <a:pt x="2733" y="543"/>
                    <a:pt x="2722" y="562"/>
                    <a:pt x="2735" y="566"/>
                  </a:cubicBezTo>
                  <a:cubicBezTo>
                    <a:pt x="2735" y="566"/>
                    <a:pt x="2761" y="555"/>
                    <a:pt x="2747" y="549"/>
                  </a:cubicBezTo>
                  <a:close/>
                  <a:moveTo>
                    <a:pt x="2349" y="710"/>
                  </a:moveTo>
                  <a:cubicBezTo>
                    <a:pt x="2337" y="712"/>
                    <a:pt x="2327" y="729"/>
                    <a:pt x="2346" y="729"/>
                  </a:cubicBezTo>
                  <a:cubicBezTo>
                    <a:pt x="2357" y="729"/>
                    <a:pt x="2362" y="708"/>
                    <a:pt x="2349" y="710"/>
                  </a:cubicBezTo>
                  <a:close/>
                  <a:moveTo>
                    <a:pt x="2390" y="712"/>
                  </a:moveTo>
                  <a:cubicBezTo>
                    <a:pt x="2374" y="710"/>
                    <a:pt x="2385" y="727"/>
                    <a:pt x="2385" y="727"/>
                  </a:cubicBezTo>
                  <a:cubicBezTo>
                    <a:pt x="2396" y="726"/>
                    <a:pt x="2405" y="713"/>
                    <a:pt x="2390" y="712"/>
                  </a:cubicBezTo>
                  <a:close/>
                  <a:moveTo>
                    <a:pt x="2500" y="829"/>
                  </a:moveTo>
                  <a:cubicBezTo>
                    <a:pt x="2477" y="841"/>
                    <a:pt x="2509" y="849"/>
                    <a:pt x="2509" y="849"/>
                  </a:cubicBezTo>
                  <a:cubicBezTo>
                    <a:pt x="2532" y="836"/>
                    <a:pt x="2524" y="816"/>
                    <a:pt x="2500" y="829"/>
                  </a:cubicBezTo>
                  <a:close/>
                  <a:moveTo>
                    <a:pt x="2653" y="1691"/>
                  </a:moveTo>
                  <a:cubicBezTo>
                    <a:pt x="2633" y="1687"/>
                    <a:pt x="2622" y="1678"/>
                    <a:pt x="2622" y="1678"/>
                  </a:cubicBezTo>
                  <a:cubicBezTo>
                    <a:pt x="2612" y="1687"/>
                    <a:pt x="2612" y="1687"/>
                    <a:pt x="2612" y="1687"/>
                  </a:cubicBezTo>
                  <a:cubicBezTo>
                    <a:pt x="2612" y="1687"/>
                    <a:pt x="2629" y="1696"/>
                    <a:pt x="2633" y="1699"/>
                  </a:cubicBezTo>
                  <a:cubicBezTo>
                    <a:pt x="2637" y="1702"/>
                    <a:pt x="2656" y="1701"/>
                    <a:pt x="2656" y="1701"/>
                  </a:cubicBezTo>
                  <a:cubicBezTo>
                    <a:pt x="2656" y="1701"/>
                    <a:pt x="2666" y="1706"/>
                    <a:pt x="2676" y="1705"/>
                  </a:cubicBezTo>
                  <a:cubicBezTo>
                    <a:pt x="2687" y="1704"/>
                    <a:pt x="2691" y="1693"/>
                    <a:pt x="2691" y="1693"/>
                  </a:cubicBezTo>
                  <a:cubicBezTo>
                    <a:pt x="2691" y="1693"/>
                    <a:pt x="2674" y="1695"/>
                    <a:pt x="2653" y="1691"/>
                  </a:cubicBezTo>
                  <a:close/>
                  <a:moveTo>
                    <a:pt x="2731" y="1524"/>
                  </a:moveTo>
                  <a:cubicBezTo>
                    <a:pt x="2731" y="1524"/>
                    <a:pt x="2698" y="1516"/>
                    <a:pt x="2671" y="1515"/>
                  </a:cubicBezTo>
                  <a:cubicBezTo>
                    <a:pt x="2644" y="1514"/>
                    <a:pt x="2686" y="1526"/>
                    <a:pt x="2686" y="1526"/>
                  </a:cubicBezTo>
                  <a:cubicBezTo>
                    <a:pt x="2686" y="1536"/>
                    <a:pt x="2686" y="1536"/>
                    <a:pt x="2686" y="1536"/>
                  </a:cubicBezTo>
                  <a:cubicBezTo>
                    <a:pt x="2686" y="1536"/>
                    <a:pt x="2719" y="1541"/>
                    <a:pt x="2748" y="1546"/>
                  </a:cubicBezTo>
                  <a:cubicBezTo>
                    <a:pt x="2777" y="1551"/>
                    <a:pt x="2804" y="1540"/>
                    <a:pt x="2731" y="1524"/>
                  </a:cubicBezTo>
                  <a:close/>
                  <a:moveTo>
                    <a:pt x="2793" y="1702"/>
                  </a:moveTo>
                  <a:cubicBezTo>
                    <a:pt x="2780" y="1699"/>
                    <a:pt x="2766" y="1706"/>
                    <a:pt x="2761" y="1709"/>
                  </a:cubicBezTo>
                  <a:cubicBezTo>
                    <a:pt x="2765" y="1706"/>
                    <a:pt x="2774" y="1700"/>
                    <a:pt x="2783" y="1690"/>
                  </a:cubicBezTo>
                  <a:cubicBezTo>
                    <a:pt x="2795" y="1677"/>
                    <a:pt x="2764" y="1676"/>
                    <a:pt x="2750" y="1692"/>
                  </a:cubicBezTo>
                  <a:cubicBezTo>
                    <a:pt x="2744" y="1706"/>
                    <a:pt x="2744" y="1706"/>
                    <a:pt x="2744" y="1706"/>
                  </a:cubicBezTo>
                  <a:cubicBezTo>
                    <a:pt x="2736" y="1720"/>
                    <a:pt x="2736" y="1720"/>
                    <a:pt x="2736" y="1720"/>
                  </a:cubicBezTo>
                  <a:cubicBezTo>
                    <a:pt x="2773" y="1715"/>
                    <a:pt x="2773" y="1715"/>
                    <a:pt x="2773" y="1715"/>
                  </a:cubicBezTo>
                  <a:cubicBezTo>
                    <a:pt x="2773" y="1715"/>
                    <a:pt x="2810" y="1706"/>
                    <a:pt x="2793" y="1702"/>
                  </a:cubicBezTo>
                  <a:close/>
                  <a:moveTo>
                    <a:pt x="3058" y="1312"/>
                  </a:moveTo>
                  <a:cubicBezTo>
                    <a:pt x="3051" y="1320"/>
                    <a:pt x="3052" y="1335"/>
                    <a:pt x="3037" y="1324"/>
                  </a:cubicBezTo>
                  <a:cubicBezTo>
                    <a:pt x="3022" y="1313"/>
                    <a:pt x="3046" y="1306"/>
                    <a:pt x="3046" y="1306"/>
                  </a:cubicBezTo>
                  <a:cubicBezTo>
                    <a:pt x="3043" y="1289"/>
                    <a:pt x="3043" y="1289"/>
                    <a:pt x="3043" y="1289"/>
                  </a:cubicBezTo>
                  <a:cubicBezTo>
                    <a:pt x="3023" y="1288"/>
                    <a:pt x="3023" y="1288"/>
                    <a:pt x="3023" y="1288"/>
                  </a:cubicBezTo>
                  <a:cubicBezTo>
                    <a:pt x="3023" y="1288"/>
                    <a:pt x="2977" y="1308"/>
                    <a:pt x="2974" y="1312"/>
                  </a:cubicBezTo>
                  <a:cubicBezTo>
                    <a:pt x="2971" y="1316"/>
                    <a:pt x="2935" y="1320"/>
                    <a:pt x="2935" y="1320"/>
                  </a:cubicBezTo>
                  <a:cubicBezTo>
                    <a:pt x="2914" y="1334"/>
                    <a:pt x="2914" y="1334"/>
                    <a:pt x="2914" y="1334"/>
                  </a:cubicBezTo>
                  <a:cubicBezTo>
                    <a:pt x="2922" y="1319"/>
                    <a:pt x="2922" y="1319"/>
                    <a:pt x="2922" y="1319"/>
                  </a:cubicBezTo>
                  <a:cubicBezTo>
                    <a:pt x="2907" y="1308"/>
                    <a:pt x="2907" y="1308"/>
                    <a:pt x="2907" y="1308"/>
                  </a:cubicBezTo>
                  <a:cubicBezTo>
                    <a:pt x="2930" y="1313"/>
                    <a:pt x="2930" y="1313"/>
                    <a:pt x="2930" y="1313"/>
                  </a:cubicBezTo>
                  <a:cubicBezTo>
                    <a:pt x="2940" y="1305"/>
                    <a:pt x="2940" y="1305"/>
                    <a:pt x="2940" y="1305"/>
                  </a:cubicBezTo>
                  <a:cubicBezTo>
                    <a:pt x="2958" y="1304"/>
                    <a:pt x="2958" y="1304"/>
                    <a:pt x="2958" y="1304"/>
                  </a:cubicBezTo>
                  <a:cubicBezTo>
                    <a:pt x="2960" y="1291"/>
                    <a:pt x="2960" y="1291"/>
                    <a:pt x="2960" y="1291"/>
                  </a:cubicBezTo>
                  <a:cubicBezTo>
                    <a:pt x="2960" y="1291"/>
                    <a:pt x="2981" y="1294"/>
                    <a:pt x="2993" y="1289"/>
                  </a:cubicBezTo>
                  <a:cubicBezTo>
                    <a:pt x="3005" y="1284"/>
                    <a:pt x="3022" y="1275"/>
                    <a:pt x="3022" y="1275"/>
                  </a:cubicBezTo>
                  <a:cubicBezTo>
                    <a:pt x="3022" y="1275"/>
                    <a:pt x="3070" y="1280"/>
                    <a:pt x="3069" y="1275"/>
                  </a:cubicBezTo>
                  <a:cubicBezTo>
                    <a:pt x="3068" y="1270"/>
                    <a:pt x="3050" y="1262"/>
                    <a:pt x="3050" y="1262"/>
                  </a:cubicBezTo>
                  <a:cubicBezTo>
                    <a:pt x="3049" y="1246"/>
                    <a:pt x="3049" y="1246"/>
                    <a:pt x="3049" y="1246"/>
                  </a:cubicBezTo>
                  <a:cubicBezTo>
                    <a:pt x="3049" y="1246"/>
                    <a:pt x="3021" y="1255"/>
                    <a:pt x="3015" y="1254"/>
                  </a:cubicBezTo>
                  <a:cubicBezTo>
                    <a:pt x="3009" y="1253"/>
                    <a:pt x="3007" y="1241"/>
                    <a:pt x="3007" y="1241"/>
                  </a:cubicBezTo>
                  <a:cubicBezTo>
                    <a:pt x="2967" y="1253"/>
                    <a:pt x="2967" y="1253"/>
                    <a:pt x="2967" y="1253"/>
                  </a:cubicBezTo>
                  <a:cubicBezTo>
                    <a:pt x="2969" y="1233"/>
                    <a:pt x="2969" y="1233"/>
                    <a:pt x="2969" y="1233"/>
                  </a:cubicBezTo>
                  <a:cubicBezTo>
                    <a:pt x="2940" y="1243"/>
                    <a:pt x="2940" y="1243"/>
                    <a:pt x="2940" y="1243"/>
                  </a:cubicBezTo>
                  <a:cubicBezTo>
                    <a:pt x="2940" y="1243"/>
                    <a:pt x="2971" y="1208"/>
                    <a:pt x="2963" y="1204"/>
                  </a:cubicBezTo>
                  <a:cubicBezTo>
                    <a:pt x="2955" y="1200"/>
                    <a:pt x="2930" y="1200"/>
                    <a:pt x="2930" y="1200"/>
                  </a:cubicBezTo>
                  <a:cubicBezTo>
                    <a:pt x="2933" y="1184"/>
                    <a:pt x="2933" y="1184"/>
                    <a:pt x="2933" y="1184"/>
                  </a:cubicBezTo>
                  <a:cubicBezTo>
                    <a:pt x="2911" y="1184"/>
                    <a:pt x="2911" y="1184"/>
                    <a:pt x="2911" y="1184"/>
                  </a:cubicBezTo>
                  <a:cubicBezTo>
                    <a:pt x="2920" y="1170"/>
                    <a:pt x="2920" y="1170"/>
                    <a:pt x="2920" y="1170"/>
                  </a:cubicBezTo>
                  <a:cubicBezTo>
                    <a:pt x="2902" y="1154"/>
                    <a:pt x="2902" y="1154"/>
                    <a:pt x="2902" y="1154"/>
                  </a:cubicBezTo>
                  <a:cubicBezTo>
                    <a:pt x="2902" y="1154"/>
                    <a:pt x="2932" y="1161"/>
                    <a:pt x="2940" y="1155"/>
                  </a:cubicBezTo>
                  <a:cubicBezTo>
                    <a:pt x="2948" y="1149"/>
                    <a:pt x="2959" y="1144"/>
                    <a:pt x="2959" y="1144"/>
                  </a:cubicBezTo>
                  <a:cubicBezTo>
                    <a:pt x="2929" y="1126"/>
                    <a:pt x="2929" y="1126"/>
                    <a:pt x="2929" y="1126"/>
                  </a:cubicBezTo>
                  <a:cubicBezTo>
                    <a:pt x="2962" y="1107"/>
                    <a:pt x="2962" y="1107"/>
                    <a:pt x="2962" y="1107"/>
                  </a:cubicBezTo>
                  <a:cubicBezTo>
                    <a:pt x="2929" y="1092"/>
                    <a:pt x="2929" y="1092"/>
                    <a:pt x="2929" y="1092"/>
                  </a:cubicBezTo>
                  <a:cubicBezTo>
                    <a:pt x="2899" y="1093"/>
                    <a:pt x="2899" y="1093"/>
                    <a:pt x="2899" y="1093"/>
                  </a:cubicBezTo>
                  <a:cubicBezTo>
                    <a:pt x="2935" y="1080"/>
                    <a:pt x="2935" y="1080"/>
                    <a:pt x="2935" y="1080"/>
                  </a:cubicBezTo>
                  <a:cubicBezTo>
                    <a:pt x="2910" y="1074"/>
                    <a:pt x="2910" y="1074"/>
                    <a:pt x="2910" y="1074"/>
                  </a:cubicBezTo>
                  <a:cubicBezTo>
                    <a:pt x="2940" y="1060"/>
                    <a:pt x="2940" y="1060"/>
                    <a:pt x="2940" y="1060"/>
                  </a:cubicBezTo>
                  <a:cubicBezTo>
                    <a:pt x="2935" y="1044"/>
                    <a:pt x="2935" y="1044"/>
                    <a:pt x="2935" y="1044"/>
                  </a:cubicBezTo>
                  <a:cubicBezTo>
                    <a:pt x="2913" y="1042"/>
                    <a:pt x="2913" y="1042"/>
                    <a:pt x="2913" y="1042"/>
                  </a:cubicBezTo>
                  <a:cubicBezTo>
                    <a:pt x="2913" y="1042"/>
                    <a:pt x="2931" y="1032"/>
                    <a:pt x="2923" y="1013"/>
                  </a:cubicBezTo>
                  <a:cubicBezTo>
                    <a:pt x="2915" y="994"/>
                    <a:pt x="2907" y="997"/>
                    <a:pt x="2907" y="997"/>
                  </a:cubicBezTo>
                  <a:cubicBezTo>
                    <a:pt x="2916" y="983"/>
                    <a:pt x="2916" y="983"/>
                    <a:pt x="2916" y="983"/>
                  </a:cubicBezTo>
                  <a:cubicBezTo>
                    <a:pt x="2916" y="983"/>
                    <a:pt x="2892" y="994"/>
                    <a:pt x="2887" y="1001"/>
                  </a:cubicBezTo>
                  <a:cubicBezTo>
                    <a:pt x="2882" y="1008"/>
                    <a:pt x="2886" y="1014"/>
                    <a:pt x="2886" y="1014"/>
                  </a:cubicBezTo>
                  <a:cubicBezTo>
                    <a:pt x="2867" y="1008"/>
                    <a:pt x="2867" y="1008"/>
                    <a:pt x="2867" y="1008"/>
                  </a:cubicBezTo>
                  <a:cubicBezTo>
                    <a:pt x="2871" y="1030"/>
                    <a:pt x="2871" y="1030"/>
                    <a:pt x="2871" y="1030"/>
                  </a:cubicBezTo>
                  <a:cubicBezTo>
                    <a:pt x="2853" y="1029"/>
                    <a:pt x="2853" y="1029"/>
                    <a:pt x="2853" y="1029"/>
                  </a:cubicBezTo>
                  <a:cubicBezTo>
                    <a:pt x="2845" y="1043"/>
                    <a:pt x="2845" y="1043"/>
                    <a:pt x="2845" y="1043"/>
                  </a:cubicBezTo>
                  <a:cubicBezTo>
                    <a:pt x="2850" y="1049"/>
                    <a:pt x="2850" y="1049"/>
                    <a:pt x="2850" y="1049"/>
                  </a:cubicBezTo>
                  <a:cubicBezTo>
                    <a:pt x="2834" y="1050"/>
                    <a:pt x="2834" y="1050"/>
                    <a:pt x="2834" y="1050"/>
                  </a:cubicBezTo>
                  <a:cubicBezTo>
                    <a:pt x="2819" y="1080"/>
                    <a:pt x="2819" y="1080"/>
                    <a:pt x="2819" y="1080"/>
                  </a:cubicBezTo>
                  <a:cubicBezTo>
                    <a:pt x="2811" y="1080"/>
                    <a:pt x="2811" y="1080"/>
                    <a:pt x="2811" y="1080"/>
                  </a:cubicBezTo>
                  <a:cubicBezTo>
                    <a:pt x="2821" y="1055"/>
                    <a:pt x="2821" y="1055"/>
                    <a:pt x="2821" y="1055"/>
                  </a:cubicBezTo>
                  <a:cubicBezTo>
                    <a:pt x="2821" y="1055"/>
                    <a:pt x="2811" y="1040"/>
                    <a:pt x="2802" y="1049"/>
                  </a:cubicBezTo>
                  <a:cubicBezTo>
                    <a:pt x="2793" y="1058"/>
                    <a:pt x="2781" y="1071"/>
                    <a:pt x="2774" y="1072"/>
                  </a:cubicBezTo>
                  <a:cubicBezTo>
                    <a:pt x="2767" y="1073"/>
                    <a:pt x="2739" y="1094"/>
                    <a:pt x="2739" y="1094"/>
                  </a:cubicBezTo>
                  <a:cubicBezTo>
                    <a:pt x="2744" y="1079"/>
                    <a:pt x="2744" y="1079"/>
                    <a:pt x="2744" y="1079"/>
                  </a:cubicBezTo>
                  <a:cubicBezTo>
                    <a:pt x="2743" y="1068"/>
                    <a:pt x="2743" y="1068"/>
                    <a:pt x="2743" y="1068"/>
                  </a:cubicBezTo>
                  <a:cubicBezTo>
                    <a:pt x="2718" y="1089"/>
                    <a:pt x="2718" y="1089"/>
                    <a:pt x="2718" y="1089"/>
                  </a:cubicBezTo>
                  <a:cubicBezTo>
                    <a:pt x="2674" y="1099"/>
                    <a:pt x="2674" y="1099"/>
                    <a:pt x="2674" y="1099"/>
                  </a:cubicBezTo>
                  <a:cubicBezTo>
                    <a:pt x="2715" y="1085"/>
                    <a:pt x="2715" y="1085"/>
                    <a:pt x="2715" y="1085"/>
                  </a:cubicBezTo>
                  <a:cubicBezTo>
                    <a:pt x="2715" y="1085"/>
                    <a:pt x="2739" y="1058"/>
                    <a:pt x="2726" y="1052"/>
                  </a:cubicBezTo>
                  <a:cubicBezTo>
                    <a:pt x="2713" y="1046"/>
                    <a:pt x="2698" y="1052"/>
                    <a:pt x="2698" y="1052"/>
                  </a:cubicBezTo>
                  <a:cubicBezTo>
                    <a:pt x="2698" y="1052"/>
                    <a:pt x="2665" y="1067"/>
                    <a:pt x="2667" y="1056"/>
                  </a:cubicBezTo>
                  <a:cubicBezTo>
                    <a:pt x="2669" y="1045"/>
                    <a:pt x="2686" y="1042"/>
                    <a:pt x="2686" y="1042"/>
                  </a:cubicBezTo>
                  <a:cubicBezTo>
                    <a:pt x="2685" y="1049"/>
                    <a:pt x="2685" y="1049"/>
                    <a:pt x="2685" y="1049"/>
                  </a:cubicBezTo>
                  <a:cubicBezTo>
                    <a:pt x="2699" y="1044"/>
                    <a:pt x="2699" y="1044"/>
                    <a:pt x="2699" y="1044"/>
                  </a:cubicBezTo>
                  <a:cubicBezTo>
                    <a:pt x="2696" y="1025"/>
                    <a:pt x="2696" y="1025"/>
                    <a:pt x="2696" y="1025"/>
                  </a:cubicBezTo>
                  <a:cubicBezTo>
                    <a:pt x="2696" y="1025"/>
                    <a:pt x="2721" y="1011"/>
                    <a:pt x="2712" y="1004"/>
                  </a:cubicBezTo>
                  <a:cubicBezTo>
                    <a:pt x="2703" y="997"/>
                    <a:pt x="2676" y="993"/>
                    <a:pt x="2676" y="993"/>
                  </a:cubicBezTo>
                  <a:cubicBezTo>
                    <a:pt x="2676" y="993"/>
                    <a:pt x="2721" y="995"/>
                    <a:pt x="2724" y="983"/>
                  </a:cubicBezTo>
                  <a:cubicBezTo>
                    <a:pt x="2727" y="971"/>
                    <a:pt x="2730" y="968"/>
                    <a:pt x="2736" y="964"/>
                  </a:cubicBezTo>
                  <a:cubicBezTo>
                    <a:pt x="2742" y="960"/>
                    <a:pt x="2762" y="959"/>
                    <a:pt x="2752" y="950"/>
                  </a:cubicBezTo>
                  <a:cubicBezTo>
                    <a:pt x="2742" y="941"/>
                    <a:pt x="2732" y="957"/>
                    <a:pt x="2732" y="957"/>
                  </a:cubicBezTo>
                  <a:cubicBezTo>
                    <a:pt x="2726" y="940"/>
                    <a:pt x="2726" y="940"/>
                    <a:pt x="2726" y="940"/>
                  </a:cubicBezTo>
                  <a:cubicBezTo>
                    <a:pt x="2726" y="940"/>
                    <a:pt x="2695" y="941"/>
                    <a:pt x="2686" y="941"/>
                  </a:cubicBezTo>
                  <a:cubicBezTo>
                    <a:pt x="2677" y="941"/>
                    <a:pt x="2675" y="926"/>
                    <a:pt x="2683" y="923"/>
                  </a:cubicBezTo>
                  <a:cubicBezTo>
                    <a:pt x="2691" y="920"/>
                    <a:pt x="2692" y="913"/>
                    <a:pt x="2685" y="911"/>
                  </a:cubicBezTo>
                  <a:cubicBezTo>
                    <a:pt x="2678" y="909"/>
                    <a:pt x="2672" y="916"/>
                    <a:pt x="2672" y="916"/>
                  </a:cubicBezTo>
                  <a:cubicBezTo>
                    <a:pt x="2677" y="900"/>
                    <a:pt x="2677" y="900"/>
                    <a:pt x="2677" y="900"/>
                  </a:cubicBezTo>
                  <a:cubicBezTo>
                    <a:pt x="2653" y="904"/>
                    <a:pt x="2653" y="904"/>
                    <a:pt x="2653" y="904"/>
                  </a:cubicBezTo>
                  <a:cubicBezTo>
                    <a:pt x="2653" y="904"/>
                    <a:pt x="2657" y="875"/>
                    <a:pt x="2640" y="875"/>
                  </a:cubicBezTo>
                  <a:cubicBezTo>
                    <a:pt x="2623" y="875"/>
                    <a:pt x="2595" y="892"/>
                    <a:pt x="2595" y="892"/>
                  </a:cubicBezTo>
                  <a:cubicBezTo>
                    <a:pt x="2595" y="892"/>
                    <a:pt x="2587" y="881"/>
                    <a:pt x="2579" y="881"/>
                  </a:cubicBezTo>
                  <a:cubicBezTo>
                    <a:pt x="2571" y="881"/>
                    <a:pt x="2554" y="890"/>
                    <a:pt x="2554" y="890"/>
                  </a:cubicBezTo>
                  <a:cubicBezTo>
                    <a:pt x="2554" y="890"/>
                    <a:pt x="2508" y="868"/>
                    <a:pt x="2492" y="871"/>
                  </a:cubicBezTo>
                  <a:cubicBezTo>
                    <a:pt x="2476" y="874"/>
                    <a:pt x="2470" y="886"/>
                    <a:pt x="2470" y="886"/>
                  </a:cubicBezTo>
                  <a:cubicBezTo>
                    <a:pt x="2470" y="886"/>
                    <a:pt x="2449" y="896"/>
                    <a:pt x="2456" y="904"/>
                  </a:cubicBezTo>
                  <a:cubicBezTo>
                    <a:pt x="2463" y="912"/>
                    <a:pt x="2476" y="913"/>
                    <a:pt x="2470" y="921"/>
                  </a:cubicBezTo>
                  <a:cubicBezTo>
                    <a:pt x="2464" y="929"/>
                    <a:pt x="2439" y="945"/>
                    <a:pt x="2439" y="945"/>
                  </a:cubicBezTo>
                  <a:cubicBezTo>
                    <a:pt x="2421" y="952"/>
                    <a:pt x="2421" y="952"/>
                    <a:pt x="2421" y="952"/>
                  </a:cubicBezTo>
                  <a:cubicBezTo>
                    <a:pt x="2438" y="961"/>
                    <a:pt x="2438" y="961"/>
                    <a:pt x="2438" y="961"/>
                  </a:cubicBezTo>
                  <a:cubicBezTo>
                    <a:pt x="2438" y="961"/>
                    <a:pt x="2423" y="968"/>
                    <a:pt x="2422" y="977"/>
                  </a:cubicBezTo>
                  <a:cubicBezTo>
                    <a:pt x="2421" y="986"/>
                    <a:pt x="2429" y="993"/>
                    <a:pt x="2421" y="1003"/>
                  </a:cubicBezTo>
                  <a:cubicBezTo>
                    <a:pt x="2413" y="1013"/>
                    <a:pt x="2406" y="1005"/>
                    <a:pt x="2393" y="1013"/>
                  </a:cubicBezTo>
                  <a:cubicBezTo>
                    <a:pt x="2380" y="1021"/>
                    <a:pt x="2382" y="1034"/>
                    <a:pt x="2382" y="1034"/>
                  </a:cubicBezTo>
                  <a:cubicBezTo>
                    <a:pt x="2382" y="1034"/>
                    <a:pt x="2366" y="1037"/>
                    <a:pt x="2360" y="1043"/>
                  </a:cubicBezTo>
                  <a:cubicBezTo>
                    <a:pt x="2354" y="1049"/>
                    <a:pt x="2334" y="1054"/>
                    <a:pt x="2336" y="1062"/>
                  </a:cubicBezTo>
                  <a:cubicBezTo>
                    <a:pt x="2338" y="1070"/>
                    <a:pt x="2375" y="1084"/>
                    <a:pt x="2375" y="1093"/>
                  </a:cubicBezTo>
                  <a:cubicBezTo>
                    <a:pt x="2375" y="1102"/>
                    <a:pt x="2374" y="1167"/>
                    <a:pt x="2339" y="1187"/>
                  </a:cubicBezTo>
                  <a:cubicBezTo>
                    <a:pt x="2304" y="1207"/>
                    <a:pt x="2259" y="1242"/>
                    <a:pt x="2241" y="1243"/>
                  </a:cubicBezTo>
                  <a:cubicBezTo>
                    <a:pt x="2223" y="1244"/>
                    <a:pt x="2174" y="1247"/>
                    <a:pt x="2171" y="1256"/>
                  </a:cubicBezTo>
                  <a:cubicBezTo>
                    <a:pt x="2168" y="1265"/>
                    <a:pt x="2180" y="1293"/>
                    <a:pt x="2180" y="1298"/>
                  </a:cubicBezTo>
                  <a:cubicBezTo>
                    <a:pt x="2180" y="1303"/>
                    <a:pt x="2159" y="1324"/>
                    <a:pt x="2155" y="1339"/>
                  </a:cubicBezTo>
                  <a:cubicBezTo>
                    <a:pt x="2151" y="1354"/>
                    <a:pt x="2154" y="1387"/>
                    <a:pt x="2154" y="1387"/>
                  </a:cubicBezTo>
                  <a:cubicBezTo>
                    <a:pt x="2154" y="1387"/>
                    <a:pt x="2120" y="1404"/>
                    <a:pt x="2119" y="1409"/>
                  </a:cubicBezTo>
                  <a:cubicBezTo>
                    <a:pt x="2118" y="1414"/>
                    <a:pt x="2117" y="1431"/>
                    <a:pt x="2117" y="1431"/>
                  </a:cubicBezTo>
                  <a:cubicBezTo>
                    <a:pt x="2104" y="1447"/>
                    <a:pt x="2104" y="1447"/>
                    <a:pt x="2104" y="1447"/>
                  </a:cubicBezTo>
                  <a:cubicBezTo>
                    <a:pt x="2104" y="1447"/>
                    <a:pt x="2111" y="1423"/>
                    <a:pt x="2100" y="1422"/>
                  </a:cubicBezTo>
                  <a:cubicBezTo>
                    <a:pt x="2089" y="1421"/>
                    <a:pt x="2067" y="1435"/>
                    <a:pt x="2072" y="1446"/>
                  </a:cubicBezTo>
                  <a:cubicBezTo>
                    <a:pt x="2077" y="1457"/>
                    <a:pt x="2071" y="1466"/>
                    <a:pt x="2071" y="1466"/>
                  </a:cubicBezTo>
                  <a:cubicBezTo>
                    <a:pt x="2071" y="1466"/>
                    <a:pt x="2069" y="1446"/>
                    <a:pt x="2063" y="1441"/>
                  </a:cubicBezTo>
                  <a:cubicBezTo>
                    <a:pt x="2057" y="1436"/>
                    <a:pt x="2019" y="1447"/>
                    <a:pt x="2019" y="1447"/>
                  </a:cubicBezTo>
                  <a:cubicBezTo>
                    <a:pt x="2019" y="1447"/>
                    <a:pt x="2055" y="1426"/>
                    <a:pt x="2051" y="1413"/>
                  </a:cubicBezTo>
                  <a:cubicBezTo>
                    <a:pt x="2047" y="1400"/>
                    <a:pt x="2011" y="1389"/>
                    <a:pt x="2011" y="1389"/>
                  </a:cubicBezTo>
                  <a:cubicBezTo>
                    <a:pt x="2011" y="1389"/>
                    <a:pt x="2028" y="1386"/>
                    <a:pt x="2028" y="1379"/>
                  </a:cubicBezTo>
                  <a:cubicBezTo>
                    <a:pt x="2028" y="1372"/>
                    <a:pt x="2016" y="1346"/>
                    <a:pt x="2016" y="1346"/>
                  </a:cubicBezTo>
                  <a:cubicBezTo>
                    <a:pt x="2038" y="1331"/>
                    <a:pt x="2038" y="1331"/>
                    <a:pt x="2038" y="1331"/>
                  </a:cubicBezTo>
                  <a:cubicBezTo>
                    <a:pt x="2037" y="1316"/>
                    <a:pt x="2037" y="1316"/>
                    <a:pt x="2037" y="1316"/>
                  </a:cubicBezTo>
                  <a:cubicBezTo>
                    <a:pt x="2054" y="1305"/>
                    <a:pt x="2054" y="1305"/>
                    <a:pt x="2054" y="1305"/>
                  </a:cubicBezTo>
                  <a:cubicBezTo>
                    <a:pt x="2053" y="1280"/>
                    <a:pt x="2053" y="1280"/>
                    <a:pt x="2053" y="1280"/>
                  </a:cubicBezTo>
                  <a:cubicBezTo>
                    <a:pt x="2053" y="1280"/>
                    <a:pt x="2102" y="1253"/>
                    <a:pt x="2078" y="1241"/>
                  </a:cubicBezTo>
                  <a:cubicBezTo>
                    <a:pt x="2054" y="1229"/>
                    <a:pt x="1982" y="1233"/>
                    <a:pt x="1982" y="1233"/>
                  </a:cubicBezTo>
                  <a:cubicBezTo>
                    <a:pt x="1958" y="1241"/>
                    <a:pt x="1958" y="1241"/>
                    <a:pt x="1958" y="1241"/>
                  </a:cubicBezTo>
                  <a:cubicBezTo>
                    <a:pt x="1958" y="1241"/>
                    <a:pt x="1976" y="1220"/>
                    <a:pt x="1966" y="1215"/>
                  </a:cubicBezTo>
                  <a:cubicBezTo>
                    <a:pt x="1956" y="1210"/>
                    <a:pt x="1908" y="1200"/>
                    <a:pt x="1908" y="1200"/>
                  </a:cubicBezTo>
                  <a:cubicBezTo>
                    <a:pt x="1908" y="1200"/>
                    <a:pt x="1913" y="1178"/>
                    <a:pt x="1894" y="1164"/>
                  </a:cubicBezTo>
                  <a:cubicBezTo>
                    <a:pt x="1875" y="1150"/>
                    <a:pt x="1850" y="1149"/>
                    <a:pt x="1850" y="1149"/>
                  </a:cubicBezTo>
                  <a:cubicBezTo>
                    <a:pt x="1850" y="1149"/>
                    <a:pt x="1851" y="1137"/>
                    <a:pt x="1823" y="1136"/>
                  </a:cubicBezTo>
                  <a:cubicBezTo>
                    <a:pt x="1795" y="1135"/>
                    <a:pt x="1726" y="1147"/>
                    <a:pt x="1726" y="1147"/>
                  </a:cubicBezTo>
                  <a:cubicBezTo>
                    <a:pt x="1726" y="1147"/>
                    <a:pt x="1759" y="1137"/>
                    <a:pt x="1760" y="1125"/>
                  </a:cubicBezTo>
                  <a:cubicBezTo>
                    <a:pt x="1761" y="1113"/>
                    <a:pt x="1779" y="1061"/>
                    <a:pt x="1779" y="1061"/>
                  </a:cubicBezTo>
                  <a:cubicBezTo>
                    <a:pt x="1779" y="1061"/>
                    <a:pt x="1749" y="1055"/>
                    <a:pt x="1746" y="1057"/>
                  </a:cubicBezTo>
                  <a:cubicBezTo>
                    <a:pt x="1743" y="1059"/>
                    <a:pt x="1720" y="1075"/>
                    <a:pt x="1720" y="1075"/>
                  </a:cubicBezTo>
                  <a:cubicBezTo>
                    <a:pt x="1730" y="1056"/>
                    <a:pt x="1730" y="1056"/>
                    <a:pt x="1730" y="1056"/>
                  </a:cubicBezTo>
                  <a:cubicBezTo>
                    <a:pt x="1726" y="1041"/>
                    <a:pt x="1726" y="1041"/>
                    <a:pt x="1726" y="1041"/>
                  </a:cubicBezTo>
                  <a:cubicBezTo>
                    <a:pt x="1726" y="1041"/>
                    <a:pt x="1752" y="1019"/>
                    <a:pt x="1764" y="998"/>
                  </a:cubicBezTo>
                  <a:cubicBezTo>
                    <a:pt x="1776" y="977"/>
                    <a:pt x="1844" y="940"/>
                    <a:pt x="1844" y="940"/>
                  </a:cubicBezTo>
                  <a:cubicBezTo>
                    <a:pt x="1838" y="929"/>
                    <a:pt x="1838" y="929"/>
                    <a:pt x="1838" y="929"/>
                  </a:cubicBezTo>
                  <a:cubicBezTo>
                    <a:pt x="1881" y="915"/>
                    <a:pt x="1881" y="915"/>
                    <a:pt x="1881" y="915"/>
                  </a:cubicBezTo>
                  <a:cubicBezTo>
                    <a:pt x="1882" y="904"/>
                    <a:pt x="1882" y="904"/>
                    <a:pt x="1882" y="904"/>
                  </a:cubicBezTo>
                  <a:cubicBezTo>
                    <a:pt x="1909" y="900"/>
                    <a:pt x="1909" y="900"/>
                    <a:pt x="1909" y="900"/>
                  </a:cubicBezTo>
                  <a:cubicBezTo>
                    <a:pt x="1911" y="887"/>
                    <a:pt x="1911" y="887"/>
                    <a:pt x="1911" y="887"/>
                  </a:cubicBezTo>
                  <a:cubicBezTo>
                    <a:pt x="1932" y="884"/>
                    <a:pt x="1932" y="884"/>
                    <a:pt x="1932" y="884"/>
                  </a:cubicBezTo>
                  <a:cubicBezTo>
                    <a:pt x="1966" y="857"/>
                    <a:pt x="1966" y="857"/>
                    <a:pt x="1966" y="857"/>
                  </a:cubicBezTo>
                  <a:cubicBezTo>
                    <a:pt x="1966" y="857"/>
                    <a:pt x="2040" y="860"/>
                    <a:pt x="2040" y="847"/>
                  </a:cubicBezTo>
                  <a:cubicBezTo>
                    <a:pt x="2040" y="834"/>
                    <a:pt x="2020" y="819"/>
                    <a:pt x="2020" y="819"/>
                  </a:cubicBezTo>
                  <a:cubicBezTo>
                    <a:pt x="1980" y="824"/>
                    <a:pt x="1980" y="824"/>
                    <a:pt x="1980" y="824"/>
                  </a:cubicBezTo>
                  <a:cubicBezTo>
                    <a:pt x="1986" y="814"/>
                    <a:pt x="1986" y="814"/>
                    <a:pt x="1986" y="814"/>
                  </a:cubicBezTo>
                  <a:cubicBezTo>
                    <a:pt x="1950" y="800"/>
                    <a:pt x="1950" y="800"/>
                    <a:pt x="1950" y="800"/>
                  </a:cubicBezTo>
                  <a:cubicBezTo>
                    <a:pt x="1966" y="795"/>
                    <a:pt x="1966" y="795"/>
                    <a:pt x="1966" y="795"/>
                  </a:cubicBezTo>
                  <a:cubicBezTo>
                    <a:pt x="2021" y="811"/>
                    <a:pt x="2021" y="811"/>
                    <a:pt x="2021" y="811"/>
                  </a:cubicBezTo>
                  <a:cubicBezTo>
                    <a:pt x="2021" y="811"/>
                    <a:pt x="2042" y="833"/>
                    <a:pt x="2061" y="825"/>
                  </a:cubicBezTo>
                  <a:cubicBezTo>
                    <a:pt x="2080" y="817"/>
                    <a:pt x="2096" y="784"/>
                    <a:pt x="2103" y="789"/>
                  </a:cubicBezTo>
                  <a:cubicBezTo>
                    <a:pt x="2110" y="794"/>
                    <a:pt x="2131" y="804"/>
                    <a:pt x="2140" y="802"/>
                  </a:cubicBezTo>
                  <a:cubicBezTo>
                    <a:pt x="2140" y="802"/>
                    <a:pt x="2185" y="783"/>
                    <a:pt x="2203" y="776"/>
                  </a:cubicBezTo>
                  <a:cubicBezTo>
                    <a:pt x="2221" y="769"/>
                    <a:pt x="2255" y="750"/>
                    <a:pt x="2243" y="747"/>
                  </a:cubicBezTo>
                  <a:cubicBezTo>
                    <a:pt x="2231" y="744"/>
                    <a:pt x="2175" y="744"/>
                    <a:pt x="2175" y="744"/>
                  </a:cubicBezTo>
                  <a:cubicBezTo>
                    <a:pt x="2171" y="728"/>
                    <a:pt x="2171" y="728"/>
                    <a:pt x="2171" y="728"/>
                  </a:cubicBezTo>
                  <a:cubicBezTo>
                    <a:pt x="2115" y="708"/>
                    <a:pt x="2115" y="708"/>
                    <a:pt x="2115" y="708"/>
                  </a:cubicBezTo>
                  <a:cubicBezTo>
                    <a:pt x="2115" y="708"/>
                    <a:pt x="2171" y="700"/>
                    <a:pt x="2186" y="706"/>
                  </a:cubicBezTo>
                  <a:cubicBezTo>
                    <a:pt x="2201" y="712"/>
                    <a:pt x="2215" y="738"/>
                    <a:pt x="2230" y="738"/>
                  </a:cubicBezTo>
                  <a:cubicBezTo>
                    <a:pt x="2245" y="738"/>
                    <a:pt x="2324" y="700"/>
                    <a:pt x="2324" y="700"/>
                  </a:cubicBezTo>
                  <a:cubicBezTo>
                    <a:pt x="2305" y="692"/>
                    <a:pt x="2305" y="692"/>
                    <a:pt x="2305" y="692"/>
                  </a:cubicBezTo>
                  <a:cubicBezTo>
                    <a:pt x="2305" y="692"/>
                    <a:pt x="2319" y="680"/>
                    <a:pt x="2337" y="680"/>
                  </a:cubicBezTo>
                  <a:cubicBezTo>
                    <a:pt x="2355" y="680"/>
                    <a:pt x="2360" y="694"/>
                    <a:pt x="2360" y="694"/>
                  </a:cubicBezTo>
                  <a:cubicBezTo>
                    <a:pt x="2380" y="701"/>
                    <a:pt x="2380" y="701"/>
                    <a:pt x="2380" y="701"/>
                  </a:cubicBezTo>
                  <a:cubicBezTo>
                    <a:pt x="2381" y="688"/>
                    <a:pt x="2381" y="688"/>
                    <a:pt x="2381" y="688"/>
                  </a:cubicBezTo>
                  <a:cubicBezTo>
                    <a:pt x="2381" y="688"/>
                    <a:pt x="2395" y="705"/>
                    <a:pt x="2400" y="696"/>
                  </a:cubicBezTo>
                  <a:cubicBezTo>
                    <a:pt x="2405" y="687"/>
                    <a:pt x="2388" y="669"/>
                    <a:pt x="2388" y="669"/>
                  </a:cubicBezTo>
                  <a:cubicBezTo>
                    <a:pt x="2374" y="663"/>
                    <a:pt x="2374" y="663"/>
                    <a:pt x="2374" y="663"/>
                  </a:cubicBezTo>
                  <a:cubicBezTo>
                    <a:pt x="2401" y="658"/>
                    <a:pt x="2401" y="658"/>
                    <a:pt x="2401" y="658"/>
                  </a:cubicBezTo>
                  <a:cubicBezTo>
                    <a:pt x="2401" y="658"/>
                    <a:pt x="2415" y="697"/>
                    <a:pt x="2424" y="695"/>
                  </a:cubicBezTo>
                  <a:cubicBezTo>
                    <a:pt x="2433" y="693"/>
                    <a:pt x="2546" y="660"/>
                    <a:pt x="2532" y="641"/>
                  </a:cubicBezTo>
                  <a:cubicBezTo>
                    <a:pt x="2518" y="622"/>
                    <a:pt x="2507" y="607"/>
                    <a:pt x="2518" y="600"/>
                  </a:cubicBezTo>
                  <a:cubicBezTo>
                    <a:pt x="2529" y="593"/>
                    <a:pt x="2579" y="591"/>
                    <a:pt x="2580" y="585"/>
                  </a:cubicBezTo>
                  <a:cubicBezTo>
                    <a:pt x="2581" y="579"/>
                    <a:pt x="2570" y="553"/>
                    <a:pt x="2570" y="553"/>
                  </a:cubicBezTo>
                  <a:cubicBezTo>
                    <a:pt x="2558" y="538"/>
                    <a:pt x="2558" y="538"/>
                    <a:pt x="2558" y="538"/>
                  </a:cubicBezTo>
                  <a:cubicBezTo>
                    <a:pt x="2558" y="538"/>
                    <a:pt x="2496" y="520"/>
                    <a:pt x="2470" y="538"/>
                  </a:cubicBezTo>
                  <a:cubicBezTo>
                    <a:pt x="2444" y="556"/>
                    <a:pt x="2466" y="568"/>
                    <a:pt x="2466" y="568"/>
                  </a:cubicBezTo>
                  <a:cubicBezTo>
                    <a:pt x="2442" y="583"/>
                    <a:pt x="2442" y="583"/>
                    <a:pt x="2442" y="583"/>
                  </a:cubicBezTo>
                  <a:cubicBezTo>
                    <a:pt x="2428" y="583"/>
                    <a:pt x="2428" y="583"/>
                    <a:pt x="2428" y="583"/>
                  </a:cubicBezTo>
                  <a:cubicBezTo>
                    <a:pt x="2383" y="614"/>
                    <a:pt x="2383" y="614"/>
                    <a:pt x="2383" y="614"/>
                  </a:cubicBezTo>
                  <a:cubicBezTo>
                    <a:pt x="2366" y="621"/>
                    <a:pt x="2366" y="621"/>
                    <a:pt x="2366" y="621"/>
                  </a:cubicBezTo>
                  <a:cubicBezTo>
                    <a:pt x="2366" y="621"/>
                    <a:pt x="2354" y="639"/>
                    <a:pt x="2350" y="642"/>
                  </a:cubicBezTo>
                  <a:cubicBezTo>
                    <a:pt x="2346" y="645"/>
                    <a:pt x="2327" y="646"/>
                    <a:pt x="2327" y="646"/>
                  </a:cubicBezTo>
                  <a:cubicBezTo>
                    <a:pt x="2304" y="658"/>
                    <a:pt x="2304" y="658"/>
                    <a:pt x="2304" y="658"/>
                  </a:cubicBezTo>
                  <a:cubicBezTo>
                    <a:pt x="2304" y="658"/>
                    <a:pt x="2293" y="624"/>
                    <a:pt x="2299" y="613"/>
                  </a:cubicBezTo>
                  <a:cubicBezTo>
                    <a:pt x="2305" y="602"/>
                    <a:pt x="2336" y="607"/>
                    <a:pt x="2341" y="591"/>
                  </a:cubicBezTo>
                  <a:cubicBezTo>
                    <a:pt x="2346" y="575"/>
                    <a:pt x="2330" y="558"/>
                    <a:pt x="2327" y="558"/>
                  </a:cubicBezTo>
                  <a:cubicBezTo>
                    <a:pt x="2324" y="558"/>
                    <a:pt x="2271" y="582"/>
                    <a:pt x="2271" y="582"/>
                  </a:cubicBezTo>
                  <a:cubicBezTo>
                    <a:pt x="2252" y="603"/>
                    <a:pt x="2252" y="603"/>
                    <a:pt x="2252" y="603"/>
                  </a:cubicBezTo>
                  <a:cubicBezTo>
                    <a:pt x="2246" y="594"/>
                    <a:pt x="2246" y="594"/>
                    <a:pt x="2246" y="594"/>
                  </a:cubicBezTo>
                  <a:cubicBezTo>
                    <a:pt x="2264" y="576"/>
                    <a:pt x="2264" y="576"/>
                    <a:pt x="2264" y="576"/>
                  </a:cubicBezTo>
                  <a:cubicBezTo>
                    <a:pt x="2262" y="563"/>
                    <a:pt x="2262" y="563"/>
                    <a:pt x="2262" y="563"/>
                  </a:cubicBezTo>
                  <a:cubicBezTo>
                    <a:pt x="2292" y="552"/>
                    <a:pt x="2292" y="552"/>
                    <a:pt x="2292" y="552"/>
                  </a:cubicBezTo>
                  <a:cubicBezTo>
                    <a:pt x="2265" y="547"/>
                    <a:pt x="2265" y="547"/>
                    <a:pt x="2265" y="547"/>
                  </a:cubicBezTo>
                  <a:cubicBezTo>
                    <a:pt x="2270" y="537"/>
                    <a:pt x="2270" y="537"/>
                    <a:pt x="2270" y="537"/>
                  </a:cubicBezTo>
                  <a:cubicBezTo>
                    <a:pt x="2238" y="547"/>
                    <a:pt x="2238" y="547"/>
                    <a:pt x="2238" y="547"/>
                  </a:cubicBezTo>
                  <a:cubicBezTo>
                    <a:pt x="2224" y="539"/>
                    <a:pt x="2224" y="539"/>
                    <a:pt x="2224" y="539"/>
                  </a:cubicBezTo>
                  <a:cubicBezTo>
                    <a:pt x="2249" y="530"/>
                    <a:pt x="2249" y="530"/>
                    <a:pt x="2249" y="530"/>
                  </a:cubicBezTo>
                  <a:cubicBezTo>
                    <a:pt x="2250" y="520"/>
                    <a:pt x="2250" y="520"/>
                    <a:pt x="2250" y="520"/>
                  </a:cubicBezTo>
                  <a:cubicBezTo>
                    <a:pt x="2250" y="520"/>
                    <a:pt x="2286" y="528"/>
                    <a:pt x="2284" y="515"/>
                  </a:cubicBezTo>
                  <a:cubicBezTo>
                    <a:pt x="2282" y="502"/>
                    <a:pt x="2254" y="505"/>
                    <a:pt x="2266" y="488"/>
                  </a:cubicBezTo>
                  <a:cubicBezTo>
                    <a:pt x="2278" y="471"/>
                    <a:pt x="2289" y="446"/>
                    <a:pt x="2273" y="445"/>
                  </a:cubicBezTo>
                  <a:cubicBezTo>
                    <a:pt x="2248" y="435"/>
                    <a:pt x="2248" y="435"/>
                    <a:pt x="2248" y="435"/>
                  </a:cubicBezTo>
                  <a:cubicBezTo>
                    <a:pt x="2229" y="443"/>
                    <a:pt x="2229" y="443"/>
                    <a:pt x="2229" y="443"/>
                  </a:cubicBezTo>
                  <a:cubicBezTo>
                    <a:pt x="2229" y="443"/>
                    <a:pt x="2202" y="445"/>
                    <a:pt x="2201" y="449"/>
                  </a:cubicBezTo>
                  <a:cubicBezTo>
                    <a:pt x="2200" y="453"/>
                    <a:pt x="2208" y="462"/>
                    <a:pt x="2202" y="463"/>
                  </a:cubicBezTo>
                  <a:cubicBezTo>
                    <a:pt x="2196" y="464"/>
                    <a:pt x="2160" y="457"/>
                    <a:pt x="2152" y="466"/>
                  </a:cubicBezTo>
                  <a:cubicBezTo>
                    <a:pt x="2144" y="475"/>
                    <a:pt x="2127" y="484"/>
                    <a:pt x="2136" y="488"/>
                  </a:cubicBezTo>
                  <a:cubicBezTo>
                    <a:pt x="2145" y="492"/>
                    <a:pt x="2156" y="494"/>
                    <a:pt x="2156" y="494"/>
                  </a:cubicBezTo>
                  <a:cubicBezTo>
                    <a:pt x="2156" y="494"/>
                    <a:pt x="2107" y="507"/>
                    <a:pt x="2109" y="520"/>
                  </a:cubicBezTo>
                  <a:cubicBezTo>
                    <a:pt x="2111" y="533"/>
                    <a:pt x="2138" y="543"/>
                    <a:pt x="2138" y="543"/>
                  </a:cubicBezTo>
                  <a:cubicBezTo>
                    <a:pt x="2154" y="536"/>
                    <a:pt x="2154" y="536"/>
                    <a:pt x="2154" y="536"/>
                  </a:cubicBezTo>
                  <a:cubicBezTo>
                    <a:pt x="2154" y="536"/>
                    <a:pt x="2153" y="557"/>
                    <a:pt x="2159" y="554"/>
                  </a:cubicBezTo>
                  <a:cubicBezTo>
                    <a:pt x="2165" y="551"/>
                    <a:pt x="2194" y="546"/>
                    <a:pt x="2183" y="554"/>
                  </a:cubicBezTo>
                  <a:cubicBezTo>
                    <a:pt x="2172" y="562"/>
                    <a:pt x="2163" y="561"/>
                    <a:pt x="2163" y="561"/>
                  </a:cubicBezTo>
                  <a:cubicBezTo>
                    <a:pt x="2150" y="556"/>
                    <a:pt x="2150" y="556"/>
                    <a:pt x="2150" y="556"/>
                  </a:cubicBezTo>
                  <a:cubicBezTo>
                    <a:pt x="2148" y="565"/>
                    <a:pt x="2148" y="565"/>
                    <a:pt x="2148" y="565"/>
                  </a:cubicBezTo>
                  <a:cubicBezTo>
                    <a:pt x="2148" y="565"/>
                    <a:pt x="2112" y="571"/>
                    <a:pt x="2124" y="575"/>
                  </a:cubicBezTo>
                  <a:cubicBezTo>
                    <a:pt x="2136" y="579"/>
                    <a:pt x="2163" y="559"/>
                    <a:pt x="2157" y="572"/>
                  </a:cubicBezTo>
                  <a:cubicBezTo>
                    <a:pt x="2151" y="585"/>
                    <a:pt x="2132" y="594"/>
                    <a:pt x="2119" y="598"/>
                  </a:cubicBezTo>
                  <a:cubicBezTo>
                    <a:pt x="2106" y="602"/>
                    <a:pt x="2086" y="617"/>
                    <a:pt x="2086" y="617"/>
                  </a:cubicBezTo>
                  <a:cubicBezTo>
                    <a:pt x="2086" y="617"/>
                    <a:pt x="2064" y="605"/>
                    <a:pt x="2060" y="612"/>
                  </a:cubicBezTo>
                  <a:cubicBezTo>
                    <a:pt x="2056" y="619"/>
                    <a:pt x="2035" y="625"/>
                    <a:pt x="2036" y="635"/>
                  </a:cubicBezTo>
                  <a:cubicBezTo>
                    <a:pt x="2037" y="645"/>
                    <a:pt x="2030" y="654"/>
                    <a:pt x="2030" y="654"/>
                  </a:cubicBezTo>
                  <a:cubicBezTo>
                    <a:pt x="2026" y="645"/>
                    <a:pt x="2026" y="645"/>
                    <a:pt x="2026" y="645"/>
                  </a:cubicBezTo>
                  <a:cubicBezTo>
                    <a:pt x="2026" y="645"/>
                    <a:pt x="2001" y="644"/>
                    <a:pt x="2003" y="638"/>
                  </a:cubicBezTo>
                  <a:cubicBezTo>
                    <a:pt x="2005" y="632"/>
                    <a:pt x="2047" y="604"/>
                    <a:pt x="2047" y="604"/>
                  </a:cubicBezTo>
                  <a:cubicBezTo>
                    <a:pt x="2022" y="604"/>
                    <a:pt x="2022" y="604"/>
                    <a:pt x="2022" y="604"/>
                  </a:cubicBezTo>
                  <a:cubicBezTo>
                    <a:pt x="2022" y="604"/>
                    <a:pt x="2015" y="590"/>
                    <a:pt x="2008" y="590"/>
                  </a:cubicBezTo>
                  <a:cubicBezTo>
                    <a:pt x="2001" y="590"/>
                    <a:pt x="1985" y="596"/>
                    <a:pt x="1985" y="596"/>
                  </a:cubicBezTo>
                  <a:cubicBezTo>
                    <a:pt x="1985" y="596"/>
                    <a:pt x="1964" y="589"/>
                    <a:pt x="1961" y="597"/>
                  </a:cubicBezTo>
                  <a:cubicBezTo>
                    <a:pt x="1958" y="605"/>
                    <a:pt x="1956" y="612"/>
                    <a:pt x="1960" y="613"/>
                  </a:cubicBezTo>
                  <a:cubicBezTo>
                    <a:pt x="1964" y="614"/>
                    <a:pt x="1993" y="627"/>
                    <a:pt x="1983" y="630"/>
                  </a:cubicBezTo>
                  <a:cubicBezTo>
                    <a:pt x="1973" y="633"/>
                    <a:pt x="1955" y="618"/>
                    <a:pt x="1955" y="618"/>
                  </a:cubicBezTo>
                  <a:cubicBezTo>
                    <a:pt x="1941" y="609"/>
                    <a:pt x="1941" y="609"/>
                    <a:pt x="1941" y="609"/>
                  </a:cubicBezTo>
                  <a:cubicBezTo>
                    <a:pt x="1940" y="629"/>
                    <a:pt x="1940" y="629"/>
                    <a:pt x="1940" y="629"/>
                  </a:cubicBezTo>
                  <a:cubicBezTo>
                    <a:pt x="1940" y="629"/>
                    <a:pt x="1925" y="638"/>
                    <a:pt x="1916" y="636"/>
                  </a:cubicBezTo>
                  <a:cubicBezTo>
                    <a:pt x="1907" y="634"/>
                    <a:pt x="1874" y="625"/>
                    <a:pt x="1863" y="625"/>
                  </a:cubicBezTo>
                  <a:cubicBezTo>
                    <a:pt x="1852" y="625"/>
                    <a:pt x="1830" y="629"/>
                    <a:pt x="1819" y="628"/>
                  </a:cubicBezTo>
                  <a:cubicBezTo>
                    <a:pt x="1808" y="627"/>
                    <a:pt x="1791" y="610"/>
                    <a:pt x="1791" y="610"/>
                  </a:cubicBezTo>
                  <a:cubicBezTo>
                    <a:pt x="1752" y="613"/>
                    <a:pt x="1752" y="613"/>
                    <a:pt x="1752" y="613"/>
                  </a:cubicBezTo>
                  <a:cubicBezTo>
                    <a:pt x="1752" y="613"/>
                    <a:pt x="1737" y="599"/>
                    <a:pt x="1729" y="597"/>
                  </a:cubicBezTo>
                  <a:cubicBezTo>
                    <a:pt x="1721" y="595"/>
                    <a:pt x="1704" y="595"/>
                    <a:pt x="1692" y="601"/>
                  </a:cubicBezTo>
                  <a:cubicBezTo>
                    <a:pt x="1680" y="607"/>
                    <a:pt x="1685" y="609"/>
                    <a:pt x="1672" y="609"/>
                  </a:cubicBezTo>
                  <a:cubicBezTo>
                    <a:pt x="1659" y="609"/>
                    <a:pt x="1631" y="602"/>
                    <a:pt x="1624" y="611"/>
                  </a:cubicBezTo>
                  <a:cubicBezTo>
                    <a:pt x="1617" y="620"/>
                    <a:pt x="1605" y="646"/>
                    <a:pt x="1605" y="646"/>
                  </a:cubicBezTo>
                  <a:cubicBezTo>
                    <a:pt x="1597" y="666"/>
                    <a:pt x="1597" y="666"/>
                    <a:pt x="1597" y="666"/>
                  </a:cubicBezTo>
                  <a:cubicBezTo>
                    <a:pt x="1576" y="668"/>
                    <a:pt x="1576" y="668"/>
                    <a:pt x="1576" y="668"/>
                  </a:cubicBezTo>
                  <a:cubicBezTo>
                    <a:pt x="1571" y="687"/>
                    <a:pt x="1571" y="687"/>
                    <a:pt x="1571" y="687"/>
                  </a:cubicBezTo>
                  <a:cubicBezTo>
                    <a:pt x="1556" y="654"/>
                    <a:pt x="1556" y="654"/>
                    <a:pt x="1556" y="654"/>
                  </a:cubicBezTo>
                  <a:cubicBezTo>
                    <a:pt x="1556" y="654"/>
                    <a:pt x="1598" y="665"/>
                    <a:pt x="1587" y="646"/>
                  </a:cubicBezTo>
                  <a:cubicBezTo>
                    <a:pt x="1576" y="627"/>
                    <a:pt x="1544" y="625"/>
                    <a:pt x="1544" y="625"/>
                  </a:cubicBezTo>
                  <a:cubicBezTo>
                    <a:pt x="1546" y="616"/>
                    <a:pt x="1546" y="616"/>
                    <a:pt x="1546" y="616"/>
                  </a:cubicBezTo>
                  <a:cubicBezTo>
                    <a:pt x="1546" y="616"/>
                    <a:pt x="1477" y="629"/>
                    <a:pt x="1440" y="629"/>
                  </a:cubicBezTo>
                  <a:cubicBezTo>
                    <a:pt x="1403" y="629"/>
                    <a:pt x="1337" y="625"/>
                    <a:pt x="1350" y="619"/>
                  </a:cubicBezTo>
                  <a:cubicBezTo>
                    <a:pt x="1363" y="613"/>
                    <a:pt x="1447" y="616"/>
                    <a:pt x="1427" y="594"/>
                  </a:cubicBezTo>
                  <a:cubicBezTo>
                    <a:pt x="1407" y="572"/>
                    <a:pt x="1388" y="570"/>
                    <a:pt x="1364" y="572"/>
                  </a:cubicBezTo>
                  <a:cubicBezTo>
                    <a:pt x="1340" y="574"/>
                    <a:pt x="1301" y="560"/>
                    <a:pt x="1295" y="557"/>
                  </a:cubicBezTo>
                  <a:cubicBezTo>
                    <a:pt x="1289" y="554"/>
                    <a:pt x="1271" y="554"/>
                    <a:pt x="1271" y="554"/>
                  </a:cubicBezTo>
                  <a:cubicBezTo>
                    <a:pt x="1271" y="554"/>
                    <a:pt x="1223" y="527"/>
                    <a:pt x="1205" y="528"/>
                  </a:cubicBezTo>
                  <a:cubicBezTo>
                    <a:pt x="1187" y="529"/>
                    <a:pt x="1155" y="554"/>
                    <a:pt x="1155" y="554"/>
                  </a:cubicBezTo>
                  <a:cubicBezTo>
                    <a:pt x="1119" y="554"/>
                    <a:pt x="1119" y="554"/>
                    <a:pt x="1119" y="554"/>
                  </a:cubicBezTo>
                  <a:cubicBezTo>
                    <a:pt x="1139" y="542"/>
                    <a:pt x="1139" y="542"/>
                    <a:pt x="1139" y="542"/>
                  </a:cubicBezTo>
                  <a:cubicBezTo>
                    <a:pt x="1139" y="534"/>
                    <a:pt x="1139" y="534"/>
                    <a:pt x="1139" y="534"/>
                  </a:cubicBezTo>
                  <a:cubicBezTo>
                    <a:pt x="1156" y="514"/>
                    <a:pt x="1156" y="514"/>
                    <a:pt x="1156" y="514"/>
                  </a:cubicBezTo>
                  <a:cubicBezTo>
                    <a:pt x="1156" y="514"/>
                    <a:pt x="1117" y="532"/>
                    <a:pt x="1110" y="539"/>
                  </a:cubicBezTo>
                  <a:cubicBezTo>
                    <a:pt x="1103" y="546"/>
                    <a:pt x="1087" y="568"/>
                    <a:pt x="1072" y="553"/>
                  </a:cubicBezTo>
                  <a:cubicBezTo>
                    <a:pt x="1057" y="538"/>
                    <a:pt x="1078" y="522"/>
                    <a:pt x="1075" y="511"/>
                  </a:cubicBezTo>
                  <a:cubicBezTo>
                    <a:pt x="1072" y="500"/>
                    <a:pt x="1049" y="489"/>
                    <a:pt x="1046" y="498"/>
                  </a:cubicBezTo>
                  <a:cubicBezTo>
                    <a:pt x="1043" y="507"/>
                    <a:pt x="1056" y="513"/>
                    <a:pt x="1056" y="513"/>
                  </a:cubicBezTo>
                  <a:cubicBezTo>
                    <a:pt x="1056" y="513"/>
                    <a:pt x="1036" y="511"/>
                    <a:pt x="1025" y="515"/>
                  </a:cubicBezTo>
                  <a:cubicBezTo>
                    <a:pt x="1014" y="519"/>
                    <a:pt x="998" y="530"/>
                    <a:pt x="993" y="534"/>
                  </a:cubicBezTo>
                  <a:cubicBezTo>
                    <a:pt x="988" y="538"/>
                    <a:pt x="970" y="533"/>
                    <a:pt x="970" y="533"/>
                  </a:cubicBezTo>
                  <a:cubicBezTo>
                    <a:pt x="970" y="533"/>
                    <a:pt x="923" y="543"/>
                    <a:pt x="919" y="544"/>
                  </a:cubicBezTo>
                  <a:cubicBezTo>
                    <a:pt x="915" y="545"/>
                    <a:pt x="890" y="560"/>
                    <a:pt x="890" y="560"/>
                  </a:cubicBezTo>
                  <a:cubicBezTo>
                    <a:pt x="876" y="547"/>
                    <a:pt x="876" y="547"/>
                    <a:pt x="876" y="547"/>
                  </a:cubicBezTo>
                  <a:cubicBezTo>
                    <a:pt x="876" y="547"/>
                    <a:pt x="843" y="564"/>
                    <a:pt x="833" y="565"/>
                  </a:cubicBezTo>
                  <a:cubicBezTo>
                    <a:pt x="823" y="566"/>
                    <a:pt x="805" y="578"/>
                    <a:pt x="805" y="578"/>
                  </a:cubicBezTo>
                  <a:cubicBezTo>
                    <a:pt x="783" y="580"/>
                    <a:pt x="783" y="580"/>
                    <a:pt x="783" y="580"/>
                  </a:cubicBezTo>
                  <a:cubicBezTo>
                    <a:pt x="783" y="580"/>
                    <a:pt x="800" y="562"/>
                    <a:pt x="815" y="559"/>
                  </a:cubicBezTo>
                  <a:cubicBezTo>
                    <a:pt x="830" y="556"/>
                    <a:pt x="864" y="543"/>
                    <a:pt x="864" y="543"/>
                  </a:cubicBezTo>
                  <a:cubicBezTo>
                    <a:pt x="864" y="543"/>
                    <a:pt x="895" y="546"/>
                    <a:pt x="906" y="541"/>
                  </a:cubicBezTo>
                  <a:cubicBezTo>
                    <a:pt x="917" y="536"/>
                    <a:pt x="978" y="522"/>
                    <a:pt x="978" y="522"/>
                  </a:cubicBezTo>
                  <a:cubicBezTo>
                    <a:pt x="978" y="522"/>
                    <a:pt x="990" y="519"/>
                    <a:pt x="983" y="514"/>
                  </a:cubicBezTo>
                  <a:cubicBezTo>
                    <a:pt x="976" y="509"/>
                    <a:pt x="955" y="516"/>
                    <a:pt x="955" y="516"/>
                  </a:cubicBezTo>
                  <a:cubicBezTo>
                    <a:pt x="955" y="516"/>
                    <a:pt x="937" y="515"/>
                    <a:pt x="930" y="517"/>
                  </a:cubicBezTo>
                  <a:cubicBezTo>
                    <a:pt x="923" y="519"/>
                    <a:pt x="916" y="527"/>
                    <a:pt x="911" y="528"/>
                  </a:cubicBezTo>
                  <a:cubicBezTo>
                    <a:pt x="906" y="529"/>
                    <a:pt x="887" y="529"/>
                    <a:pt x="887" y="529"/>
                  </a:cubicBezTo>
                  <a:cubicBezTo>
                    <a:pt x="872" y="532"/>
                    <a:pt x="872" y="532"/>
                    <a:pt x="872" y="532"/>
                  </a:cubicBezTo>
                  <a:cubicBezTo>
                    <a:pt x="872" y="532"/>
                    <a:pt x="855" y="532"/>
                    <a:pt x="843" y="535"/>
                  </a:cubicBezTo>
                  <a:cubicBezTo>
                    <a:pt x="831" y="538"/>
                    <a:pt x="820" y="550"/>
                    <a:pt x="820" y="550"/>
                  </a:cubicBezTo>
                  <a:cubicBezTo>
                    <a:pt x="806" y="552"/>
                    <a:pt x="806" y="552"/>
                    <a:pt x="806" y="552"/>
                  </a:cubicBezTo>
                  <a:cubicBezTo>
                    <a:pt x="771" y="565"/>
                    <a:pt x="771" y="565"/>
                    <a:pt x="771" y="565"/>
                  </a:cubicBezTo>
                  <a:cubicBezTo>
                    <a:pt x="771" y="565"/>
                    <a:pt x="756" y="568"/>
                    <a:pt x="753" y="571"/>
                  </a:cubicBezTo>
                  <a:cubicBezTo>
                    <a:pt x="750" y="574"/>
                    <a:pt x="748" y="590"/>
                    <a:pt x="741" y="586"/>
                  </a:cubicBezTo>
                  <a:cubicBezTo>
                    <a:pt x="734" y="582"/>
                    <a:pt x="733" y="567"/>
                    <a:pt x="744" y="565"/>
                  </a:cubicBezTo>
                  <a:cubicBezTo>
                    <a:pt x="755" y="563"/>
                    <a:pt x="784" y="553"/>
                    <a:pt x="793" y="547"/>
                  </a:cubicBezTo>
                  <a:cubicBezTo>
                    <a:pt x="802" y="541"/>
                    <a:pt x="760" y="535"/>
                    <a:pt x="753" y="544"/>
                  </a:cubicBezTo>
                  <a:cubicBezTo>
                    <a:pt x="746" y="553"/>
                    <a:pt x="719" y="558"/>
                    <a:pt x="712" y="558"/>
                  </a:cubicBezTo>
                  <a:cubicBezTo>
                    <a:pt x="705" y="558"/>
                    <a:pt x="705" y="585"/>
                    <a:pt x="705" y="585"/>
                  </a:cubicBezTo>
                  <a:cubicBezTo>
                    <a:pt x="689" y="576"/>
                    <a:pt x="689" y="576"/>
                    <a:pt x="689" y="576"/>
                  </a:cubicBezTo>
                  <a:cubicBezTo>
                    <a:pt x="647" y="570"/>
                    <a:pt x="647" y="570"/>
                    <a:pt x="647" y="570"/>
                  </a:cubicBezTo>
                  <a:cubicBezTo>
                    <a:pt x="647" y="570"/>
                    <a:pt x="621" y="558"/>
                    <a:pt x="623" y="553"/>
                  </a:cubicBezTo>
                  <a:cubicBezTo>
                    <a:pt x="625" y="548"/>
                    <a:pt x="629" y="539"/>
                    <a:pt x="629" y="539"/>
                  </a:cubicBezTo>
                  <a:cubicBezTo>
                    <a:pt x="555" y="540"/>
                    <a:pt x="555" y="540"/>
                    <a:pt x="555" y="540"/>
                  </a:cubicBezTo>
                  <a:cubicBezTo>
                    <a:pt x="567" y="540"/>
                    <a:pt x="567" y="540"/>
                    <a:pt x="567" y="540"/>
                  </a:cubicBezTo>
                  <a:cubicBezTo>
                    <a:pt x="52" y="964"/>
                    <a:pt x="52" y="964"/>
                    <a:pt x="52" y="964"/>
                  </a:cubicBezTo>
                  <a:cubicBezTo>
                    <a:pt x="52" y="964"/>
                    <a:pt x="26" y="978"/>
                    <a:pt x="32" y="984"/>
                  </a:cubicBezTo>
                  <a:cubicBezTo>
                    <a:pt x="38" y="990"/>
                    <a:pt x="67" y="984"/>
                    <a:pt x="67" y="984"/>
                  </a:cubicBezTo>
                  <a:cubicBezTo>
                    <a:pt x="70" y="984"/>
                    <a:pt x="79" y="979"/>
                    <a:pt x="79" y="979"/>
                  </a:cubicBezTo>
                  <a:cubicBezTo>
                    <a:pt x="103" y="979"/>
                    <a:pt x="103" y="979"/>
                    <a:pt x="103" y="979"/>
                  </a:cubicBezTo>
                  <a:cubicBezTo>
                    <a:pt x="88" y="994"/>
                    <a:pt x="88" y="994"/>
                    <a:pt x="88" y="994"/>
                  </a:cubicBezTo>
                  <a:cubicBezTo>
                    <a:pt x="88" y="994"/>
                    <a:pt x="88" y="1003"/>
                    <a:pt x="88" y="1013"/>
                  </a:cubicBezTo>
                  <a:cubicBezTo>
                    <a:pt x="88" y="1024"/>
                    <a:pt x="107" y="1032"/>
                    <a:pt x="107" y="1032"/>
                  </a:cubicBezTo>
                  <a:cubicBezTo>
                    <a:pt x="107" y="1032"/>
                    <a:pt x="88" y="1051"/>
                    <a:pt x="93" y="1051"/>
                  </a:cubicBezTo>
                  <a:cubicBezTo>
                    <a:pt x="99" y="1051"/>
                    <a:pt x="115" y="1038"/>
                    <a:pt x="115" y="1038"/>
                  </a:cubicBezTo>
                  <a:cubicBezTo>
                    <a:pt x="115" y="1038"/>
                    <a:pt x="136" y="1031"/>
                    <a:pt x="143" y="1031"/>
                  </a:cubicBezTo>
                  <a:cubicBezTo>
                    <a:pt x="151" y="1031"/>
                    <a:pt x="157" y="1021"/>
                    <a:pt x="157" y="1021"/>
                  </a:cubicBezTo>
                  <a:cubicBezTo>
                    <a:pt x="169" y="1021"/>
                    <a:pt x="169" y="1021"/>
                    <a:pt x="169" y="1021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99" y="1003"/>
                    <a:pt x="217" y="1008"/>
                  </a:cubicBezTo>
                  <a:cubicBezTo>
                    <a:pt x="236" y="1014"/>
                    <a:pt x="209" y="1024"/>
                    <a:pt x="209" y="1024"/>
                  </a:cubicBezTo>
                  <a:cubicBezTo>
                    <a:pt x="209" y="1041"/>
                    <a:pt x="209" y="1041"/>
                    <a:pt x="209" y="1041"/>
                  </a:cubicBezTo>
                  <a:cubicBezTo>
                    <a:pt x="203" y="1052"/>
                    <a:pt x="203" y="1052"/>
                    <a:pt x="203" y="1052"/>
                  </a:cubicBezTo>
                  <a:cubicBezTo>
                    <a:pt x="203" y="1052"/>
                    <a:pt x="210" y="1054"/>
                    <a:pt x="216" y="1072"/>
                  </a:cubicBezTo>
                  <a:cubicBezTo>
                    <a:pt x="223" y="1089"/>
                    <a:pt x="206" y="1108"/>
                    <a:pt x="206" y="1108"/>
                  </a:cubicBezTo>
                  <a:cubicBezTo>
                    <a:pt x="206" y="1132"/>
                    <a:pt x="206" y="1132"/>
                    <a:pt x="206" y="1132"/>
                  </a:cubicBezTo>
                  <a:cubicBezTo>
                    <a:pt x="206" y="1132"/>
                    <a:pt x="200" y="1149"/>
                    <a:pt x="195" y="1162"/>
                  </a:cubicBezTo>
                  <a:cubicBezTo>
                    <a:pt x="190" y="1175"/>
                    <a:pt x="218" y="1176"/>
                    <a:pt x="218" y="1180"/>
                  </a:cubicBezTo>
                  <a:cubicBezTo>
                    <a:pt x="218" y="1185"/>
                    <a:pt x="225" y="1187"/>
                    <a:pt x="225" y="1187"/>
                  </a:cubicBezTo>
                  <a:cubicBezTo>
                    <a:pt x="225" y="1187"/>
                    <a:pt x="235" y="1186"/>
                    <a:pt x="235" y="1194"/>
                  </a:cubicBezTo>
                  <a:cubicBezTo>
                    <a:pt x="235" y="1202"/>
                    <a:pt x="208" y="1213"/>
                    <a:pt x="208" y="1213"/>
                  </a:cubicBezTo>
                  <a:cubicBezTo>
                    <a:pt x="208" y="1213"/>
                    <a:pt x="208" y="1229"/>
                    <a:pt x="198" y="1239"/>
                  </a:cubicBezTo>
                  <a:cubicBezTo>
                    <a:pt x="194" y="1243"/>
                    <a:pt x="173" y="1254"/>
                    <a:pt x="152" y="1264"/>
                  </a:cubicBezTo>
                  <a:cubicBezTo>
                    <a:pt x="150" y="1269"/>
                    <a:pt x="149" y="1274"/>
                    <a:pt x="148" y="1278"/>
                  </a:cubicBezTo>
                  <a:cubicBezTo>
                    <a:pt x="147" y="1285"/>
                    <a:pt x="142" y="1299"/>
                    <a:pt x="142" y="1299"/>
                  </a:cubicBezTo>
                  <a:cubicBezTo>
                    <a:pt x="133" y="1305"/>
                    <a:pt x="133" y="1305"/>
                    <a:pt x="133" y="1305"/>
                  </a:cubicBezTo>
                  <a:cubicBezTo>
                    <a:pt x="133" y="1305"/>
                    <a:pt x="142" y="1309"/>
                    <a:pt x="143" y="1316"/>
                  </a:cubicBezTo>
                  <a:cubicBezTo>
                    <a:pt x="144" y="1323"/>
                    <a:pt x="151" y="1326"/>
                    <a:pt x="151" y="1326"/>
                  </a:cubicBezTo>
                  <a:cubicBezTo>
                    <a:pt x="151" y="1326"/>
                    <a:pt x="201" y="1287"/>
                    <a:pt x="201" y="1296"/>
                  </a:cubicBezTo>
                  <a:cubicBezTo>
                    <a:pt x="201" y="1305"/>
                    <a:pt x="185" y="1306"/>
                    <a:pt x="183" y="1311"/>
                  </a:cubicBezTo>
                  <a:cubicBezTo>
                    <a:pt x="181" y="1316"/>
                    <a:pt x="185" y="1326"/>
                    <a:pt x="185" y="1326"/>
                  </a:cubicBezTo>
                  <a:cubicBezTo>
                    <a:pt x="194" y="1333"/>
                    <a:pt x="194" y="1333"/>
                    <a:pt x="194" y="1333"/>
                  </a:cubicBezTo>
                  <a:cubicBezTo>
                    <a:pt x="165" y="1332"/>
                    <a:pt x="165" y="1332"/>
                    <a:pt x="165" y="1332"/>
                  </a:cubicBezTo>
                  <a:cubicBezTo>
                    <a:pt x="165" y="1332"/>
                    <a:pt x="143" y="1359"/>
                    <a:pt x="153" y="1360"/>
                  </a:cubicBezTo>
                  <a:cubicBezTo>
                    <a:pt x="163" y="1361"/>
                    <a:pt x="169" y="1367"/>
                    <a:pt x="169" y="1367"/>
                  </a:cubicBezTo>
                  <a:cubicBezTo>
                    <a:pt x="169" y="1367"/>
                    <a:pt x="157" y="1388"/>
                    <a:pt x="164" y="1385"/>
                  </a:cubicBezTo>
                  <a:cubicBezTo>
                    <a:pt x="171" y="1382"/>
                    <a:pt x="212" y="1354"/>
                    <a:pt x="212" y="1354"/>
                  </a:cubicBezTo>
                  <a:cubicBezTo>
                    <a:pt x="211" y="1363"/>
                    <a:pt x="211" y="1363"/>
                    <a:pt x="211" y="1363"/>
                  </a:cubicBezTo>
                  <a:cubicBezTo>
                    <a:pt x="192" y="1374"/>
                    <a:pt x="192" y="1374"/>
                    <a:pt x="192" y="1374"/>
                  </a:cubicBezTo>
                  <a:cubicBezTo>
                    <a:pt x="207" y="1380"/>
                    <a:pt x="207" y="1380"/>
                    <a:pt x="207" y="1380"/>
                  </a:cubicBezTo>
                  <a:cubicBezTo>
                    <a:pt x="207" y="1380"/>
                    <a:pt x="202" y="1400"/>
                    <a:pt x="194" y="1398"/>
                  </a:cubicBezTo>
                  <a:cubicBezTo>
                    <a:pt x="186" y="1396"/>
                    <a:pt x="184" y="1387"/>
                    <a:pt x="184" y="1387"/>
                  </a:cubicBezTo>
                  <a:cubicBezTo>
                    <a:pt x="184" y="1387"/>
                    <a:pt x="151" y="1397"/>
                    <a:pt x="145" y="1403"/>
                  </a:cubicBezTo>
                  <a:cubicBezTo>
                    <a:pt x="139" y="1409"/>
                    <a:pt x="133" y="1417"/>
                    <a:pt x="133" y="1417"/>
                  </a:cubicBezTo>
                  <a:cubicBezTo>
                    <a:pt x="133" y="1417"/>
                    <a:pt x="151" y="1412"/>
                    <a:pt x="156" y="1412"/>
                  </a:cubicBezTo>
                  <a:cubicBezTo>
                    <a:pt x="161" y="1412"/>
                    <a:pt x="182" y="1412"/>
                    <a:pt x="182" y="1412"/>
                  </a:cubicBezTo>
                  <a:cubicBezTo>
                    <a:pt x="182" y="1412"/>
                    <a:pt x="146" y="1421"/>
                    <a:pt x="140" y="1424"/>
                  </a:cubicBezTo>
                  <a:cubicBezTo>
                    <a:pt x="134" y="1427"/>
                    <a:pt x="138" y="1435"/>
                    <a:pt x="138" y="1435"/>
                  </a:cubicBezTo>
                  <a:cubicBezTo>
                    <a:pt x="138" y="1435"/>
                    <a:pt x="105" y="1423"/>
                    <a:pt x="114" y="1437"/>
                  </a:cubicBezTo>
                  <a:cubicBezTo>
                    <a:pt x="123" y="1451"/>
                    <a:pt x="132" y="1455"/>
                    <a:pt x="132" y="1455"/>
                  </a:cubicBezTo>
                  <a:cubicBezTo>
                    <a:pt x="164" y="1444"/>
                    <a:pt x="164" y="1444"/>
                    <a:pt x="164" y="1444"/>
                  </a:cubicBezTo>
                  <a:cubicBezTo>
                    <a:pt x="173" y="1459"/>
                    <a:pt x="173" y="1459"/>
                    <a:pt x="173" y="1459"/>
                  </a:cubicBezTo>
                  <a:cubicBezTo>
                    <a:pt x="198" y="1445"/>
                    <a:pt x="198" y="1445"/>
                    <a:pt x="198" y="1445"/>
                  </a:cubicBezTo>
                  <a:cubicBezTo>
                    <a:pt x="198" y="1445"/>
                    <a:pt x="165" y="1479"/>
                    <a:pt x="176" y="1478"/>
                  </a:cubicBezTo>
                  <a:cubicBezTo>
                    <a:pt x="187" y="1477"/>
                    <a:pt x="217" y="1454"/>
                    <a:pt x="217" y="1454"/>
                  </a:cubicBezTo>
                  <a:cubicBezTo>
                    <a:pt x="217" y="1454"/>
                    <a:pt x="190" y="1484"/>
                    <a:pt x="194" y="1484"/>
                  </a:cubicBezTo>
                  <a:cubicBezTo>
                    <a:pt x="198" y="1484"/>
                    <a:pt x="216" y="1479"/>
                    <a:pt x="216" y="1479"/>
                  </a:cubicBezTo>
                  <a:cubicBezTo>
                    <a:pt x="216" y="1479"/>
                    <a:pt x="178" y="1508"/>
                    <a:pt x="190" y="1509"/>
                  </a:cubicBezTo>
                  <a:cubicBezTo>
                    <a:pt x="202" y="1510"/>
                    <a:pt x="229" y="1490"/>
                    <a:pt x="229" y="1490"/>
                  </a:cubicBezTo>
                  <a:cubicBezTo>
                    <a:pt x="229" y="1490"/>
                    <a:pt x="203" y="1518"/>
                    <a:pt x="210" y="1520"/>
                  </a:cubicBezTo>
                  <a:cubicBezTo>
                    <a:pt x="217" y="1522"/>
                    <a:pt x="233" y="1526"/>
                    <a:pt x="233" y="1529"/>
                  </a:cubicBezTo>
                  <a:cubicBezTo>
                    <a:pt x="233" y="1531"/>
                    <a:pt x="231" y="1548"/>
                    <a:pt x="228" y="1561"/>
                  </a:cubicBezTo>
                  <a:cubicBezTo>
                    <a:pt x="228" y="1561"/>
                    <a:pt x="228" y="1561"/>
                    <a:pt x="228" y="1561"/>
                  </a:cubicBezTo>
                  <a:cubicBezTo>
                    <a:pt x="1370" y="1561"/>
                    <a:pt x="1370" y="1561"/>
                    <a:pt x="1370" y="1561"/>
                  </a:cubicBezTo>
                  <a:cubicBezTo>
                    <a:pt x="1370" y="1561"/>
                    <a:pt x="1384" y="1526"/>
                    <a:pt x="1394" y="1537"/>
                  </a:cubicBezTo>
                  <a:cubicBezTo>
                    <a:pt x="1404" y="1547"/>
                    <a:pt x="1379" y="1557"/>
                    <a:pt x="1388" y="1566"/>
                  </a:cubicBezTo>
                  <a:cubicBezTo>
                    <a:pt x="1396" y="1574"/>
                    <a:pt x="1415" y="1575"/>
                    <a:pt x="1415" y="1575"/>
                  </a:cubicBezTo>
                  <a:cubicBezTo>
                    <a:pt x="1415" y="1575"/>
                    <a:pt x="1422" y="1585"/>
                    <a:pt x="1430" y="1585"/>
                  </a:cubicBezTo>
                  <a:cubicBezTo>
                    <a:pt x="1438" y="1585"/>
                    <a:pt x="1436" y="1573"/>
                    <a:pt x="1449" y="1573"/>
                  </a:cubicBezTo>
                  <a:cubicBezTo>
                    <a:pt x="1462" y="1573"/>
                    <a:pt x="1465" y="1593"/>
                    <a:pt x="1471" y="1593"/>
                  </a:cubicBezTo>
                  <a:cubicBezTo>
                    <a:pt x="1477" y="1593"/>
                    <a:pt x="1484" y="1596"/>
                    <a:pt x="1487" y="1593"/>
                  </a:cubicBezTo>
                  <a:cubicBezTo>
                    <a:pt x="1490" y="1590"/>
                    <a:pt x="1503" y="1614"/>
                    <a:pt x="1509" y="1608"/>
                  </a:cubicBezTo>
                  <a:cubicBezTo>
                    <a:pt x="1515" y="1602"/>
                    <a:pt x="1531" y="1591"/>
                    <a:pt x="1531" y="1591"/>
                  </a:cubicBezTo>
                  <a:cubicBezTo>
                    <a:pt x="1531" y="1601"/>
                    <a:pt x="1531" y="1601"/>
                    <a:pt x="1531" y="1601"/>
                  </a:cubicBezTo>
                  <a:cubicBezTo>
                    <a:pt x="1561" y="1600"/>
                    <a:pt x="1561" y="1600"/>
                    <a:pt x="1561" y="1600"/>
                  </a:cubicBezTo>
                  <a:cubicBezTo>
                    <a:pt x="1561" y="1600"/>
                    <a:pt x="1558" y="1606"/>
                    <a:pt x="1586" y="1606"/>
                  </a:cubicBezTo>
                  <a:cubicBezTo>
                    <a:pt x="1598" y="1598"/>
                    <a:pt x="1605" y="1585"/>
                    <a:pt x="1606" y="1582"/>
                  </a:cubicBezTo>
                  <a:cubicBezTo>
                    <a:pt x="1607" y="1578"/>
                    <a:pt x="1626" y="1586"/>
                    <a:pt x="1626" y="1586"/>
                  </a:cubicBezTo>
                  <a:cubicBezTo>
                    <a:pt x="1634" y="1580"/>
                    <a:pt x="1634" y="1580"/>
                    <a:pt x="1634" y="1580"/>
                  </a:cubicBezTo>
                  <a:cubicBezTo>
                    <a:pt x="1634" y="1580"/>
                    <a:pt x="1641" y="1568"/>
                    <a:pt x="1642" y="1565"/>
                  </a:cubicBezTo>
                  <a:cubicBezTo>
                    <a:pt x="1643" y="1562"/>
                    <a:pt x="1651" y="1575"/>
                    <a:pt x="1651" y="1575"/>
                  </a:cubicBezTo>
                  <a:cubicBezTo>
                    <a:pt x="1668" y="1572"/>
                    <a:pt x="1668" y="1572"/>
                    <a:pt x="1668" y="1572"/>
                  </a:cubicBezTo>
                  <a:cubicBezTo>
                    <a:pt x="1668" y="1572"/>
                    <a:pt x="1659" y="1562"/>
                    <a:pt x="1668" y="1555"/>
                  </a:cubicBezTo>
                  <a:cubicBezTo>
                    <a:pt x="1677" y="1548"/>
                    <a:pt x="1686" y="1563"/>
                    <a:pt x="1686" y="1563"/>
                  </a:cubicBezTo>
                  <a:cubicBezTo>
                    <a:pt x="1704" y="1563"/>
                    <a:pt x="1704" y="1563"/>
                    <a:pt x="1704" y="1563"/>
                  </a:cubicBezTo>
                  <a:cubicBezTo>
                    <a:pt x="1708" y="1567"/>
                    <a:pt x="1708" y="1567"/>
                    <a:pt x="1708" y="1567"/>
                  </a:cubicBezTo>
                  <a:cubicBezTo>
                    <a:pt x="1708" y="1567"/>
                    <a:pt x="1728" y="1568"/>
                    <a:pt x="1733" y="1573"/>
                  </a:cubicBezTo>
                  <a:cubicBezTo>
                    <a:pt x="1738" y="1578"/>
                    <a:pt x="1727" y="1604"/>
                    <a:pt x="1727" y="1604"/>
                  </a:cubicBezTo>
                  <a:cubicBezTo>
                    <a:pt x="1733" y="1611"/>
                    <a:pt x="1733" y="1611"/>
                    <a:pt x="1733" y="1611"/>
                  </a:cubicBezTo>
                  <a:cubicBezTo>
                    <a:pt x="1727" y="1626"/>
                    <a:pt x="1727" y="1626"/>
                    <a:pt x="1727" y="1626"/>
                  </a:cubicBezTo>
                  <a:cubicBezTo>
                    <a:pt x="1727" y="1626"/>
                    <a:pt x="1766" y="1603"/>
                    <a:pt x="1777" y="1610"/>
                  </a:cubicBezTo>
                  <a:cubicBezTo>
                    <a:pt x="1788" y="1617"/>
                    <a:pt x="1760" y="1627"/>
                    <a:pt x="1759" y="1631"/>
                  </a:cubicBezTo>
                  <a:cubicBezTo>
                    <a:pt x="1758" y="1635"/>
                    <a:pt x="1773" y="1638"/>
                    <a:pt x="1773" y="1643"/>
                  </a:cubicBezTo>
                  <a:cubicBezTo>
                    <a:pt x="1773" y="1648"/>
                    <a:pt x="1757" y="1654"/>
                    <a:pt x="1757" y="1659"/>
                  </a:cubicBezTo>
                  <a:cubicBezTo>
                    <a:pt x="1757" y="1664"/>
                    <a:pt x="1770" y="1664"/>
                    <a:pt x="1767" y="1671"/>
                  </a:cubicBezTo>
                  <a:cubicBezTo>
                    <a:pt x="1764" y="1678"/>
                    <a:pt x="1758" y="1679"/>
                    <a:pt x="1758" y="1679"/>
                  </a:cubicBezTo>
                  <a:cubicBezTo>
                    <a:pt x="1756" y="1685"/>
                    <a:pt x="1756" y="1685"/>
                    <a:pt x="1756" y="1685"/>
                  </a:cubicBezTo>
                  <a:cubicBezTo>
                    <a:pt x="1769" y="1685"/>
                    <a:pt x="1769" y="1685"/>
                    <a:pt x="1769" y="1685"/>
                  </a:cubicBezTo>
                  <a:cubicBezTo>
                    <a:pt x="1765" y="1700"/>
                    <a:pt x="1765" y="1700"/>
                    <a:pt x="1765" y="1700"/>
                  </a:cubicBezTo>
                  <a:cubicBezTo>
                    <a:pt x="1771" y="1700"/>
                    <a:pt x="1778" y="1701"/>
                    <a:pt x="1781" y="1701"/>
                  </a:cubicBezTo>
                  <a:cubicBezTo>
                    <a:pt x="1786" y="1700"/>
                    <a:pt x="1794" y="1703"/>
                    <a:pt x="1806" y="1704"/>
                  </a:cubicBezTo>
                  <a:cubicBezTo>
                    <a:pt x="1818" y="1705"/>
                    <a:pt x="1825" y="1703"/>
                    <a:pt x="1825" y="1703"/>
                  </a:cubicBezTo>
                  <a:cubicBezTo>
                    <a:pt x="1837" y="1703"/>
                    <a:pt x="1852" y="1715"/>
                    <a:pt x="1863" y="1715"/>
                  </a:cubicBezTo>
                  <a:cubicBezTo>
                    <a:pt x="1874" y="1715"/>
                    <a:pt x="1884" y="1715"/>
                    <a:pt x="1884" y="1715"/>
                  </a:cubicBezTo>
                  <a:cubicBezTo>
                    <a:pt x="1906" y="1715"/>
                    <a:pt x="1904" y="1729"/>
                    <a:pt x="1904" y="1738"/>
                  </a:cubicBezTo>
                  <a:cubicBezTo>
                    <a:pt x="1904" y="1747"/>
                    <a:pt x="1914" y="1736"/>
                    <a:pt x="1914" y="1746"/>
                  </a:cubicBezTo>
                  <a:cubicBezTo>
                    <a:pt x="1914" y="1756"/>
                    <a:pt x="1910" y="1759"/>
                    <a:pt x="1905" y="1764"/>
                  </a:cubicBezTo>
                  <a:cubicBezTo>
                    <a:pt x="1900" y="1769"/>
                    <a:pt x="1918" y="1777"/>
                    <a:pt x="1918" y="1777"/>
                  </a:cubicBezTo>
                  <a:cubicBezTo>
                    <a:pt x="1903" y="1776"/>
                    <a:pt x="1903" y="1776"/>
                    <a:pt x="1903" y="1776"/>
                  </a:cubicBezTo>
                  <a:cubicBezTo>
                    <a:pt x="1903" y="1776"/>
                    <a:pt x="1903" y="1785"/>
                    <a:pt x="1896" y="1793"/>
                  </a:cubicBezTo>
                  <a:cubicBezTo>
                    <a:pt x="1888" y="1800"/>
                    <a:pt x="1887" y="1793"/>
                    <a:pt x="1868" y="1783"/>
                  </a:cubicBezTo>
                  <a:cubicBezTo>
                    <a:pt x="1849" y="1773"/>
                    <a:pt x="1855" y="1754"/>
                    <a:pt x="1855" y="1754"/>
                  </a:cubicBezTo>
                  <a:cubicBezTo>
                    <a:pt x="1844" y="1749"/>
                    <a:pt x="1844" y="1749"/>
                    <a:pt x="1844" y="1749"/>
                  </a:cubicBezTo>
                  <a:cubicBezTo>
                    <a:pt x="1846" y="1761"/>
                    <a:pt x="1846" y="1761"/>
                    <a:pt x="1846" y="1761"/>
                  </a:cubicBezTo>
                  <a:cubicBezTo>
                    <a:pt x="1846" y="1761"/>
                    <a:pt x="1854" y="1774"/>
                    <a:pt x="1846" y="1788"/>
                  </a:cubicBezTo>
                  <a:cubicBezTo>
                    <a:pt x="1838" y="1802"/>
                    <a:pt x="1820" y="1806"/>
                    <a:pt x="1812" y="1819"/>
                  </a:cubicBezTo>
                  <a:cubicBezTo>
                    <a:pt x="1804" y="1832"/>
                    <a:pt x="1801" y="1844"/>
                    <a:pt x="1793" y="1853"/>
                  </a:cubicBezTo>
                  <a:cubicBezTo>
                    <a:pt x="1785" y="1861"/>
                    <a:pt x="1769" y="1868"/>
                    <a:pt x="1762" y="1864"/>
                  </a:cubicBezTo>
                  <a:cubicBezTo>
                    <a:pt x="1758" y="1869"/>
                    <a:pt x="1755" y="1873"/>
                    <a:pt x="1755" y="1873"/>
                  </a:cubicBezTo>
                  <a:cubicBezTo>
                    <a:pt x="1755" y="1873"/>
                    <a:pt x="1757" y="1894"/>
                    <a:pt x="1749" y="1894"/>
                  </a:cubicBezTo>
                  <a:cubicBezTo>
                    <a:pt x="1741" y="1894"/>
                    <a:pt x="1696" y="1916"/>
                    <a:pt x="1706" y="1926"/>
                  </a:cubicBezTo>
                  <a:cubicBezTo>
                    <a:pt x="1707" y="1926"/>
                    <a:pt x="1707" y="1927"/>
                    <a:pt x="1708" y="1928"/>
                  </a:cubicBezTo>
                  <a:cubicBezTo>
                    <a:pt x="1716" y="1924"/>
                    <a:pt x="1723" y="1921"/>
                    <a:pt x="1724" y="1921"/>
                  </a:cubicBezTo>
                  <a:cubicBezTo>
                    <a:pt x="1727" y="1921"/>
                    <a:pt x="1731" y="1926"/>
                    <a:pt x="1731" y="1926"/>
                  </a:cubicBezTo>
                  <a:cubicBezTo>
                    <a:pt x="1731" y="1926"/>
                    <a:pt x="1746" y="1912"/>
                    <a:pt x="1754" y="1910"/>
                  </a:cubicBezTo>
                  <a:cubicBezTo>
                    <a:pt x="1762" y="1908"/>
                    <a:pt x="1770" y="1911"/>
                    <a:pt x="1770" y="1911"/>
                  </a:cubicBezTo>
                  <a:cubicBezTo>
                    <a:pt x="1770" y="1911"/>
                    <a:pt x="1775" y="1890"/>
                    <a:pt x="1800" y="1889"/>
                  </a:cubicBezTo>
                  <a:cubicBezTo>
                    <a:pt x="1825" y="1888"/>
                    <a:pt x="1842" y="1895"/>
                    <a:pt x="1842" y="1895"/>
                  </a:cubicBezTo>
                  <a:cubicBezTo>
                    <a:pt x="1858" y="1881"/>
                    <a:pt x="1858" y="1881"/>
                    <a:pt x="1858" y="1881"/>
                  </a:cubicBezTo>
                  <a:cubicBezTo>
                    <a:pt x="1900" y="1883"/>
                    <a:pt x="1900" y="1883"/>
                    <a:pt x="1900" y="1883"/>
                  </a:cubicBezTo>
                  <a:cubicBezTo>
                    <a:pt x="1903" y="1880"/>
                    <a:pt x="1905" y="1878"/>
                    <a:pt x="1906" y="1876"/>
                  </a:cubicBezTo>
                  <a:cubicBezTo>
                    <a:pt x="1908" y="1870"/>
                    <a:pt x="1908" y="1866"/>
                    <a:pt x="1907" y="1862"/>
                  </a:cubicBezTo>
                  <a:cubicBezTo>
                    <a:pt x="1889" y="1866"/>
                    <a:pt x="1883" y="1865"/>
                    <a:pt x="1882" y="1858"/>
                  </a:cubicBezTo>
                  <a:cubicBezTo>
                    <a:pt x="1881" y="1848"/>
                    <a:pt x="1915" y="1826"/>
                    <a:pt x="1928" y="1826"/>
                  </a:cubicBezTo>
                  <a:cubicBezTo>
                    <a:pt x="1941" y="1826"/>
                    <a:pt x="1960" y="1821"/>
                    <a:pt x="1964" y="1821"/>
                  </a:cubicBezTo>
                  <a:cubicBezTo>
                    <a:pt x="1968" y="1821"/>
                    <a:pt x="1985" y="1815"/>
                    <a:pt x="1985" y="1815"/>
                  </a:cubicBezTo>
                  <a:cubicBezTo>
                    <a:pt x="1985" y="1815"/>
                    <a:pt x="2012" y="1825"/>
                    <a:pt x="2016" y="1825"/>
                  </a:cubicBezTo>
                  <a:cubicBezTo>
                    <a:pt x="2020" y="1825"/>
                    <a:pt x="2020" y="1809"/>
                    <a:pt x="2020" y="1809"/>
                  </a:cubicBezTo>
                  <a:cubicBezTo>
                    <a:pt x="2020" y="1809"/>
                    <a:pt x="2027" y="1800"/>
                    <a:pt x="2037" y="1803"/>
                  </a:cubicBezTo>
                  <a:cubicBezTo>
                    <a:pt x="2040" y="1804"/>
                    <a:pt x="2042" y="1805"/>
                    <a:pt x="2043" y="1806"/>
                  </a:cubicBezTo>
                  <a:cubicBezTo>
                    <a:pt x="2045" y="1805"/>
                    <a:pt x="2047" y="1804"/>
                    <a:pt x="2048" y="1804"/>
                  </a:cubicBezTo>
                  <a:cubicBezTo>
                    <a:pt x="2054" y="1804"/>
                    <a:pt x="2056" y="1802"/>
                    <a:pt x="2064" y="1802"/>
                  </a:cubicBezTo>
                  <a:cubicBezTo>
                    <a:pt x="2072" y="1802"/>
                    <a:pt x="2106" y="1764"/>
                    <a:pt x="2123" y="1764"/>
                  </a:cubicBezTo>
                  <a:cubicBezTo>
                    <a:pt x="2140" y="1764"/>
                    <a:pt x="2271" y="1764"/>
                    <a:pt x="2271" y="1764"/>
                  </a:cubicBezTo>
                  <a:cubicBezTo>
                    <a:pt x="2271" y="1764"/>
                    <a:pt x="2271" y="1749"/>
                    <a:pt x="2283" y="1749"/>
                  </a:cubicBezTo>
                  <a:cubicBezTo>
                    <a:pt x="2295" y="1749"/>
                    <a:pt x="2303" y="1748"/>
                    <a:pt x="2303" y="1748"/>
                  </a:cubicBezTo>
                  <a:cubicBezTo>
                    <a:pt x="2303" y="1748"/>
                    <a:pt x="2314" y="1727"/>
                    <a:pt x="2323" y="1727"/>
                  </a:cubicBezTo>
                  <a:cubicBezTo>
                    <a:pt x="2333" y="1727"/>
                    <a:pt x="2340" y="1734"/>
                    <a:pt x="2340" y="1727"/>
                  </a:cubicBezTo>
                  <a:cubicBezTo>
                    <a:pt x="2340" y="1720"/>
                    <a:pt x="2343" y="1698"/>
                    <a:pt x="2349" y="1698"/>
                  </a:cubicBezTo>
                  <a:cubicBezTo>
                    <a:pt x="2355" y="1698"/>
                    <a:pt x="2363" y="1690"/>
                    <a:pt x="2363" y="1690"/>
                  </a:cubicBezTo>
                  <a:cubicBezTo>
                    <a:pt x="2363" y="1676"/>
                    <a:pt x="2363" y="1676"/>
                    <a:pt x="2363" y="1676"/>
                  </a:cubicBezTo>
                  <a:cubicBezTo>
                    <a:pt x="2390" y="1657"/>
                    <a:pt x="2390" y="1657"/>
                    <a:pt x="2390" y="1657"/>
                  </a:cubicBezTo>
                  <a:cubicBezTo>
                    <a:pt x="2390" y="1657"/>
                    <a:pt x="2401" y="1636"/>
                    <a:pt x="2414" y="1636"/>
                  </a:cubicBezTo>
                  <a:cubicBezTo>
                    <a:pt x="2427" y="1636"/>
                    <a:pt x="2418" y="1645"/>
                    <a:pt x="2430" y="1645"/>
                  </a:cubicBezTo>
                  <a:cubicBezTo>
                    <a:pt x="2442" y="1645"/>
                    <a:pt x="2469" y="1634"/>
                    <a:pt x="2469" y="1651"/>
                  </a:cubicBezTo>
                  <a:cubicBezTo>
                    <a:pt x="2469" y="1668"/>
                    <a:pt x="2439" y="1725"/>
                    <a:pt x="2442" y="1728"/>
                  </a:cubicBezTo>
                  <a:cubicBezTo>
                    <a:pt x="2445" y="1731"/>
                    <a:pt x="2453" y="1735"/>
                    <a:pt x="2453" y="1735"/>
                  </a:cubicBezTo>
                  <a:cubicBezTo>
                    <a:pt x="2453" y="1735"/>
                    <a:pt x="2439" y="1748"/>
                    <a:pt x="2444" y="1753"/>
                  </a:cubicBezTo>
                  <a:cubicBezTo>
                    <a:pt x="2449" y="1758"/>
                    <a:pt x="2457" y="1755"/>
                    <a:pt x="2457" y="1755"/>
                  </a:cubicBezTo>
                  <a:cubicBezTo>
                    <a:pt x="2458" y="1759"/>
                    <a:pt x="2458" y="1759"/>
                    <a:pt x="2458" y="1759"/>
                  </a:cubicBezTo>
                  <a:cubicBezTo>
                    <a:pt x="2462" y="1761"/>
                    <a:pt x="2472" y="1765"/>
                    <a:pt x="2484" y="1760"/>
                  </a:cubicBezTo>
                  <a:cubicBezTo>
                    <a:pt x="2499" y="1754"/>
                    <a:pt x="2511" y="1738"/>
                    <a:pt x="2511" y="1738"/>
                  </a:cubicBezTo>
                  <a:cubicBezTo>
                    <a:pt x="2517" y="1752"/>
                    <a:pt x="2517" y="1752"/>
                    <a:pt x="2517" y="1752"/>
                  </a:cubicBezTo>
                  <a:cubicBezTo>
                    <a:pt x="2517" y="1752"/>
                    <a:pt x="2549" y="1738"/>
                    <a:pt x="2554" y="1734"/>
                  </a:cubicBezTo>
                  <a:cubicBezTo>
                    <a:pt x="2559" y="1730"/>
                    <a:pt x="2580" y="1724"/>
                    <a:pt x="2580" y="1724"/>
                  </a:cubicBezTo>
                  <a:cubicBezTo>
                    <a:pt x="2590" y="1725"/>
                    <a:pt x="2590" y="1725"/>
                    <a:pt x="2590" y="1725"/>
                  </a:cubicBezTo>
                  <a:cubicBezTo>
                    <a:pt x="2561" y="1748"/>
                    <a:pt x="2561" y="1748"/>
                    <a:pt x="2561" y="1748"/>
                  </a:cubicBezTo>
                  <a:cubicBezTo>
                    <a:pt x="2622" y="1742"/>
                    <a:pt x="2622" y="1742"/>
                    <a:pt x="2622" y="1742"/>
                  </a:cubicBezTo>
                  <a:cubicBezTo>
                    <a:pt x="2622" y="1742"/>
                    <a:pt x="2593" y="1745"/>
                    <a:pt x="2592" y="1751"/>
                  </a:cubicBezTo>
                  <a:cubicBezTo>
                    <a:pt x="2591" y="1757"/>
                    <a:pt x="2587" y="1764"/>
                    <a:pt x="2587" y="1764"/>
                  </a:cubicBezTo>
                  <a:cubicBezTo>
                    <a:pt x="2587" y="1764"/>
                    <a:pt x="2568" y="1753"/>
                    <a:pt x="2561" y="1756"/>
                  </a:cubicBezTo>
                  <a:cubicBezTo>
                    <a:pt x="2554" y="1759"/>
                    <a:pt x="2486" y="1793"/>
                    <a:pt x="2483" y="1801"/>
                  </a:cubicBezTo>
                  <a:cubicBezTo>
                    <a:pt x="2480" y="1809"/>
                    <a:pt x="2474" y="1833"/>
                    <a:pt x="2479" y="1834"/>
                  </a:cubicBezTo>
                  <a:cubicBezTo>
                    <a:pt x="2484" y="1835"/>
                    <a:pt x="2491" y="1829"/>
                    <a:pt x="2491" y="1829"/>
                  </a:cubicBezTo>
                  <a:cubicBezTo>
                    <a:pt x="2491" y="1829"/>
                    <a:pt x="2489" y="1845"/>
                    <a:pt x="2498" y="1843"/>
                  </a:cubicBezTo>
                  <a:cubicBezTo>
                    <a:pt x="2507" y="1841"/>
                    <a:pt x="2513" y="1828"/>
                    <a:pt x="2513" y="1828"/>
                  </a:cubicBezTo>
                  <a:cubicBezTo>
                    <a:pt x="2513" y="1828"/>
                    <a:pt x="2539" y="1825"/>
                    <a:pt x="2553" y="1813"/>
                  </a:cubicBezTo>
                  <a:cubicBezTo>
                    <a:pt x="2567" y="1801"/>
                    <a:pt x="2582" y="1780"/>
                    <a:pt x="2582" y="1780"/>
                  </a:cubicBezTo>
                  <a:cubicBezTo>
                    <a:pt x="2582" y="1780"/>
                    <a:pt x="2582" y="1796"/>
                    <a:pt x="2596" y="1793"/>
                  </a:cubicBezTo>
                  <a:cubicBezTo>
                    <a:pt x="2610" y="1790"/>
                    <a:pt x="2644" y="1775"/>
                    <a:pt x="2655" y="1772"/>
                  </a:cubicBezTo>
                  <a:cubicBezTo>
                    <a:pt x="2666" y="1769"/>
                    <a:pt x="2718" y="1756"/>
                    <a:pt x="2718" y="1756"/>
                  </a:cubicBezTo>
                  <a:cubicBezTo>
                    <a:pt x="2709" y="1746"/>
                    <a:pt x="2709" y="1746"/>
                    <a:pt x="2709" y="1746"/>
                  </a:cubicBezTo>
                  <a:cubicBezTo>
                    <a:pt x="2713" y="1733"/>
                    <a:pt x="2713" y="1733"/>
                    <a:pt x="2713" y="1733"/>
                  </a:cubicBezTo>
                  <a:cubicBezTo>
                    <a:pt x="2692" y="1737"/>
                    <a:pt x="2692" y="1737"/>
                    <a:pt x="2692" y="1737"/>
                  </a:cubicBezTo>
                  <a:cubicBezTo>
                    <a:pt x="2691" y="1721"/>
                    <a:pt x="2691" y="1721"/>
                    <a:pt x="2691" y="1721"/>
                  </a:cubicBezTo>
                  <a:cubicBezTo>
                    <a:pt x="2691" y="1721"/>
                    <a:pt x="2667" y="1735"/>
                    <a:pt x="2661" y="1734"/>
                  </a:cubicBezTo>
                  <a:cubicBezTo>
                    <a:pt x="2655" y="1733"/>
                    <a:pt x="2657" y="1724"/>
                    <a:pt x="2657" y="1724"/>
                  </a:cubicBezTo>
                  <a:cubicBezTo>
                    <a:pt x="2657" y="1724"/>
                    <a:pt x="2625" y="1727"/>
                    <a:pt x="2619" y="1722"/>
                  </a:cubicBezTo>
                  <a:cubicBezTo>
                    <a:pt x="2613" y="1717"/>
                    <a:pt x="2605" y="1707"/>
                    <a:pt x="2614" y="1707"/>
                  </a:cubicBezTo>
                  <a:cubicBezTo>
                    <a:pt x="2623" y="1707"/>
                    <a:pt x="2610" y="1694"/>
                    <a:pt x="2599" y="1697"/>
                  </a:cubicBezTo>
                  <a:cubicBezTo>
                    <a:pt x="2588" y="1700"/>
                    <a:pt x="2584" y="1681"/>
                    <a:pt x="2584" y="1676"/>
                  </a:cubicBezTo>
                  <a:cubicBezTo>
                    <a:pt x="2584" y="1671"/>
                    <a:pt x="2596" y="1658"/>
                    <a:pt x="2596" y="1658"/>
                  </a:cubicBezTo>
                  <a:cubicBezTo>
                    <a:pt x="2580" y="1657"/>
                    <a:pt x="2580" y="1657"/>
                    <a:pt x="2580" y="1657"/>
                  </a:cubicBezTo>
                  <a:cubicBezTo>
                    <a:pt x="2580" y="1657"/>
                    <a:pt x="2599" y="1642"/>
                    <a:pt x="2606" y="1634"/>
                  </a:cubicBezTo>
                  <a:cubicBezTo>
                    <a:pt x="2613" y="1626"/>
                    <a:pt x="2632" y="1607"/>
                    <a:pt x="2632" y="1607"/>
                  </a:cubicBezTo>
                  <a:cubicBezTo>
                    <a:pt x="2622" y="1604"/>
                    <a:pt x="2622" y="1604"/>
                    <a:pt x="2622" y="1604"/>
                  </a:cubicBezTo>
                  <a:cubicBezTo>
                    <a:pt x="2608" y="1622"/>
                    <a:pt x="2608" y="1622"/>
                    <a:pt x="2608" y="1622"/>
                  </a:cubicBezTo>
                  <a:cubicBezTo>
                    <a:pt x="2593" y="1614"/>
                    <a:pt x="2593" y="1614"/>
                    <a:pt x="2593" y="1614"/>
                  </a:cubicBezTo>
                  <a:cubicBezTo>
                    <a:pt x="2574" y="1628"/>
                    <a:pt x="2574" y="1628"/>
                    <a:pt x="2574" y="1628"/>
                  </a:cubicBezTo>
                  <a:cubicBezTo>
                    <a:pt x="2571" y="1615"/>
                    <a:pt x="2571" y="1615"/>
                    <a:pt x="2571" y="1615"/>
                  </a:cubicBezTo>
                  <a:cubicBezTo>
                    <a:pt x="2552" y="1608"/>
                    <a:pt x="2552" y="1608"/>
                    <a:pt x="2552" y="1608"/>
                  </a:cubicBezTo>
                  <a:cubicBezTo>
                    <a:pt x="2537" y="1610"/>
                    <a:pt x="2537" y="1610"/>
                    <a:pt x="2537" y="1610"/>
                  </a:cubicBezTo>
                  <a:cubicBezTo>
                    <a:pt x="2574" y="1597"/>
                    <a:pt x="2574" y="1597"/>
                    <a:pt x="2574" y="1597"/>
                  </a:cubicBezTo>
                  <a:cubicBezTo>
                    <a:pt x="2574" y="1597"/>
                    <a:pt x="2581" y="1607"/>
                    <a:pt x="2591" y="1606"/>
                  </a:cubicBezTo>
                  <a:cubicBezTo>
                    <a:pt x="2601" y="1605"/>
                    <a:pt x="2624" y="1587"/>
                    <a:pt x="2624" y="1587"/>
                  </a:cubicBezTo>
                  <a:cubicBezTo>
                    <a:pt x="2624" y="1587"/>
                    <a:pt x="2650" y="1592"/>
                    <a:pt x="2651" y="1585"/>
                  </a:cubicBezTo>
                  <a:cubicBezTo>
                    <a:pt x="2652" y="1578"/>
                    <a:pt x="2644" y="1567"/>
                    <a:pt x="2644" y="1567"/>
                  </a:cubicBezTo>
                  <a:cubicBezTo>
                    <a:pt x="2660" y="1566"/>
                    <a:pt x="2660" y="1566"/>
                    <a:pt x="2660" y="1566"/>
                  </a:cubicBezTo>
                  <a:cubicBezTo>
                    <a:pt x="2660" y="1566"/>
                    <a:pt x="2651" y="1543"/>
                    <a:pt x="2609" y="1543"/>
                  </a:cubicBezTo>
                  <a:cubicBezTo>
                    <a:pt x="2567" y="1543"/>
                    <a:pt x="2517" y="1564"/>
                    <a:pt x="2494" y="1569"/>
                  </a:cubicBezTo>
                  <a:cubicBezTo>
                    <a:pt x="2471" y="1574"/>
                    <a:pt x="2434" y="1597"/>
                    <a:pt x="2427" y="1603"/>
                  </a:cubicBezTo>
                  <a:cubicBezTo>
                    <a:pt x="2420" y="1609"/>
                    <a:pt x="2378" y="1642"/>
                    <a:pt x="2368" y="1650"/>
                  </a:cubicBezTo>
                  <a:cubicBezTo>
                    <a:pt x="2358" y="1658"/>
                    <a:pt x="2322" y="1663"/>
                    <a:pt x="2322" y="1663"/>
                  </a:cubicBezTo>
                  <a:cubicBezTo>
                    <a:pt x="2322" y="1663"/>
                    <a:pt x="2372" y="1635"/>
                    <a:pt x="2381" y="1626"/>
                  </a:cubicBezTo>
                  <a:cubicBezTo>
                    <a:pt x="2390" y="1617"/>
                    <a:pt x="2403" y="1603"/>
                    <a:pt x="2403" y="1603"/>
                  </a:cubicBezTo>
                  <a:cubicBezTo>
                    <a:pt x="2388" y="1594"/>
                    <a:pt x="2388" y="1594"/>
                    <a:pt x="2388" y="1594"/>
                  </a:cubicBezTo>
                  <a:cubicBezTo>
                    <a:pt x="2388" y="1594"/>
                    <a:pt x="2409" y="1602"/>
                    <a:pt x="2414" y="1597"/>
                  </a:cubicBezTo>
                  <a:cubicBezTo>
                    <a:pt x="2419" y="1592"/>
                    <a:pt x="2469" y="1559"/>
                    <a:pt x="2481" y="1550"/>
                  </a:cubicBezTo>
                  <a:cubicBezTo>
                    <a:pt x="2493" y="1541"/>
                    <a:pt x="2531" y="1535"/>
                    <a:pt x="2535" y="1537"/>
                  </a:cubicBezTo>
                  <a:cubicBezTo>
                    <a:pt x="2539" y="1539"/>
                    <a:pt x="2561" y="1501"/>
                    <a:pt x="2591" y="1496"/>
                  </a:cubicBezTo>
                  <a:cubicBezTo>
                    <a:pt x="2621" y="1491"/>
                    <a:pt x="2697" y="1487"/>
                    <a:pt x="2713" y="1487"/>
                  </a:cubicBezTo>
                  <a:cubicBezTo>
                    <a:pt x="2729" y="1487"/>
                    <a:pt x="2788" y="1504"/>
                    <a:pt x="2798" y="1502"/>
                  </a:cubicBezTo>
                  <a:cubicBezTo>
                    <a:pt x="2808" y="1500"/>
                    <a:pt x="2829" y="1489"/>
                    <a:pt x="2839" y="1488"/>
                  </a:cubicBezTo>
                  <a:cubicBezTo>
                    <a:pt x="2849" y="1487"/>
                    <a:pt x="2880" y="1482"/>
                    <a:pt x="2892" y="1473"/>
                  </a:cubicBezTo>
                  <a:cubicBezTo>
                    <a:pt x="2904" y="1464"/>
                    <a:pt x="2930" y="1439"/>
                    <a:pt x="2940" y="1437"/>
                  </a:cubicBezTo>
                  <a:cubicBezTo>
                    <a:pt x="2950" y="1435"/>
                    <a:pt x="2967" y="1436"/>
                    <a:pt x="2967" y="1436"/>
                  </a:cubicBezTo>
                  <a:cubicBezTo>
                    <a:pt x="2967" y="1436"/>
                    <a:pt x="2980" y="1424"/>
                    <a:pt x="2990" y="1424"/>
                  </a:cubicBezTo>
                  <a:cubicBezTo>
                    <a:pt x="3000" y="1424"/>
                    <a:pt x="3001" y="1429"/>
                    <a:pt x="3018" y="1421"/>
                  </a:cubicBezTo>
                  <a:cubicBezTo>
                    <a:pt x="3018" y="1421"/>
                    <a:pt x="3083" y="1404"/>
                    <a:pt x="3077" y="1394"/>
                  </a:cubicBezTo>
                  <a:cubicBezTo>
                    <a:pt x="3071" y="1384"/>
                    <a:pt x="3052" y="1371"/>
                    <a:pt x="3052" y="1371"/>
                  </a:cubicBezTo>
                  <a:cubicBezTo>
                    <a:pt x="3052" y="1371"/>
                    <a:pt x="3076" y="1373"/>
                    <a:pt x="3076" y="1364"/>
                  </a:cubicBezTo>
                  <a:cubicBezTo>
                    <a:pt x="3076" y="1355"/>
                    <a:pt x="3072" y="1343"/>
                    <a:pt x="3072" y="1343"/>
                  </a:cubicBezTo>
                  <a:cubicBezTo>
                    <a:pt x="3072" y="1343"/>
                    <a:pt x="3100" y="1347"/>
                    <a:pt x="3094" y="1331"/>
                  </a:cubicBezTo>
                  <a:cubicBezTo>
                    <a:pt x="3088" y="1315"/>
                    <a:pt x="3065" y="1304"/>
                    <a:pt x="3058" y="1312"/>
                  </a:cubicBezTo>
                  <a:close/>
                  <a:moveTo>
                    <a:pt x="969" y="735"/>
                  </a:moveTo>
                  <a:cubicBezTo>
                    <a:pt x="976" y="730"/>
                    <a:pt x="1004" y="720"/>
                    <a:pt x="1004" y="720"/>
                  </a:cubicBezTo>
                  <a:cubicBezTo>
                    <a:pt x="1004" y="720"/>
                    <a:pt x="999" y="712"/>
                    <a:pt x="1005" y="709"/>
                  </a:cubicBezTo>
                  <a:cubicBezTo>
                    <a:pt x="1011" y="706"/>
                    <a:pt x="1029" y="715"/>
                    <a:pt x="1051" y="709"/>
                  </a:cubicBezTo>
                  <a:cubicBezTo>
                    <a:pt x="1073" y="703"/>
                    <a:pt x="1053" y="691"/>
                    <a:pt x="1034" y="691"/>
                  </a:cubicBezTo>
                  <a:cubicBezTo>
                    <a:pt x="1015" y="691"/>
                    <a:pt x="1010" y="698"/>
                    <a:pt x="999" y="703"/>
                  </a:cubicBezTo>
                  <a:cubicBezTo>
                    <a:pt x="988" y="708"/>
                    <a:pt x="989" y="698"/>
                    <a:pt x="989" y="698"/>
                  </a:cubicBezTo>
                  <a:cubicBezTo>
                    <a:pt x="977" y="703"/>
                    <a:pt x="977" y="703"/>
                    <a:pt x="977" y="703"/>
                  </a:cubicBezTo>
                  <a:cubicBezTo>
                    <a:pt x="954" y="700"/>
                    <a:pt x="954" y="700"/>
                    <a:pt x="954" y="700"/>
                  </a:cubicBezTo>
                  <a:cubicBezTo>
                    <a:pt x="954" y="700"/>
                    <a:pt x="933" y="710"/>
                    <a:pt x="924" y="707"/>
                  </a:cubicBezTo>
                  <a:cubicBezTo>
                    <a:pt x="915" y="704"/>
                    <a:pt x="950" y="694"/>
                    <a:pt x="960" y="689"/>
                  </a:cubicBezTo>
                  <a:cubicBezTo>
                    <a:pt x="970" y="684"/>
                    <a:pt x="979" y="690"/>
                    <a:pt x="992" y="690"/>
                  </a:cubicBezTo>
                  <a:cubicBezTo>
                    <a:pt x="1005" y="690"/>
                    <a:pt x="1001" y="681"/>
                    <a:pt x="1001" y="681"/>
                  </a:cubicBezTo>
                  <a:cubicBezTo>
                    <a:pt x="1071" y="676"/>
                    <a:pt x="1071" y="676"/>
                    <a:pt x="1071" y="676"/>
                  </a:cubicBezTo>
                  <a:cubicBezTo>
                    <a:pt x="1071" y="676"/>
                    <a:pt x="1106" y="666"/>
                    <a:pt x="1119" y="664"/>
                  </a:cubicBezTo>
                  <a:cubicBezTo>
                    <a:pt x="1132" y="662"/>
                    <a:pt x="1140" y="669"/>
                    <a:pt x="1140" y="669"/>
                  </a:cubicBezTo>
                  <a:cubicBezTo>
                    <a:pt x="1140" y="669"/>
                    <a:pt x="1143" y="663"/>
                    <a:pt x="1150" y="660"/>
                  </a:cubicBezTo>
                  <a:cubicBezTo>
                    <a:pt x="1157" y="657"/>
                    <a:pt x="1179" y="667"/>
                    <a:pt x="1179" y="667"/>
                  </a:cubicBezTo>
                  <a:cubicBezTo>
                    <a:pt x="1179" y="667"/>
                    <a:pt x="1157" y="673"/>
                    <a:pt x="1149" y="677"/>
                  </a:cubicBezTo>
                  <a:cubicBezTo>
                    <a:pt x="1141" y="681"/>
                    <a:pt x="1107" y="683"/>
                    <a:pt x="1107" y="683"/>
                  </a:cubicBezTo>
                  <a:cubicBezTo>
                    <a:pt x="1105" y="691"/>
                    <a:pt x="1105" y="691"/>
                    <a:pt x="1105" y="691"/>
                  </a:cubicBezTo>
                  <a:cubicBezTo>
                    <a:pt x="1123" y="691"/>
                    <a:pt x="1123" y="691"/>
                    <a:pt x="1123" y="691"/>
                  </a:cubicBezTo>
                  <a:cubicBezTo>
                    <a:pt x="1123" y="691"/>
                    <a:pt x="1134" y="694"/>
                    <a:pt x="1138" y="694"/>
                  </a:cubicBezTo>
                  <a:cubicBezTo>
                    <a:pt x="1142" y="694"/>
                    <a:pt x="1168" y="691"/>
                    <a:pt x="1182" y="690"/>
                  </a:cubicBezTo>
                  <a:cubicBezTo>
                    <a:pt x="1196" y="689"/>
                    <a:pt x="1176" y="680"/>
                    <a:pt x="1176" y="680"/>
                  </a:cubicBezTo>
                  <a:cubicBezTo>
                    <a:pt x="1213" y="679"/>
                    <a:pt x="1213" y="679"/>
                    <a:pt x="1213" y="679"/>
                  </a:cubicBezTo>
                  <a:cubicBezTo>
                    <a:pt x="1213" y="679"/>
                    <a:pt x="1208" y="692"/>
                    <a:pt x="1189" y="698"/>
                  </a:cubicBezTo>
                  <a:cubicBezTo>
                    <a:pt x="1170" y="704"/>
                    <a:pt x="1158" y="711"/>
                    <a:pt x="1158" y="711"/>
                  </a:cubicBezTo>
                  <a:cubicBezTo>
                    <a:pt x="1158" y="711"/>
                    <a:pt x="1157" y="723"/>
                    <a:pt x="1149" y="725"/>
                  </a:cubicBezTo>
                  <a:cubicBezTo>
                    <a:pt x="1141" y="727"/>
                    <a:pt x="1119" y="716"/>
                    <a:pt x="1119" y="716"/>
                  </a:cubicBezTo>
                  <a:cubicBezTo>
                    <a:pt x="1114" y="723"/>
                    <a:pt x="1114" y="723"/>
                    <a:pt x="1114" y="723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4" y="724"/>
                    <a:pt x="1094" y="724"/>
                    <a:pt x="1094" y="724"/>
                  </a:cubicBezTo>
                  <a:cubicBezTo>
                    <a:pt x="1094" y="724"/>
                    <a:pt x="1086" y="718"/>
                    <a:pt x="1080" y="725"/>
                  </a:cubicBezTo>
                  <a:cubicBezTo>
                    <a:pt x="1074" y="732"/>
                    <a:pt x="1086" y="738"/>
                    <a:pt x="1086" y="738"/>
                  </a:cubicBezTo>
                  <a:cubicBezTo>
                    <a:pt x="1065" y="741"/>
                    <a:pt x="1065" y="741"/>
                    <a:pt x="1065" y="741"/>
                  </a:cubicBezTo>
                  <a:cubicBezTo>
                    <a:pt x="1065" y="741"/>
                    <a:pt x="1050" y="751"/>
                    <a:pt x="1047" y="751"/>
                  </a:cubicBezTo>
                  <a:cubicBezTo>
                    <a:pt x="1044" y="751"/>
                    <a:pt x="1001" y="764"/>
                    <a:pt x="990" y="760"/>
                  </a:cubicBezTo>
                  <a:cubicBezTo>
                    <a:pt x="979" y="756"/>
                    <a:pt x="1018" y="749"/>
                    <a:pt x="1033" y="746"/>
                  </a:cubicBezTo>
                  <a:cubicBezTo>
                    <a:pt x="1048" y="743"/>
                    <a:pt x="1070" y="726"/>
                    <a:pt x="1057" y="724"/>
                  </a:cubicBezTo>
                  <a:cubicBezTo>
                    <a:pt x="1044" y="722"/>
                    <a:pt x="992" y="751"/>
                    <a:pt x="979" y="753"/>
                  </a:cubicBezTo>
                  <a:cubicBezTo>
                    <a:pt x="966" y="755"/>
                    <a:pt x="940" y="751"/>
                    <a:pt x="931" y="746"/>
                  </a:cubicBezTo>
                  <a:cubicBezTo>
                    <a:pt x="922" y="741"/>
                    <a:pt x="962" y="740"/>
                    <a:pt x="969" y="735"/>
                  </a:cubicBezTo>
                  <a:close/>
                  <a:moveTo>
                    <a:pt x="1324" y="872"/>
                  </a:moveTo>
                  <a:cubicBezTo>
                    <a:pt x="1324" y="869"/>
                    <a:pt x="1312" y="855"/>
                    <a:pt x="1308" y="862"/>
                  </a:cubicBezTo>
                  <a:cubicBezTo>
                    <a:pt x="1304" y="869"/>
                    <a:pt x="1305" y="876"/>
                    <a:pt x="1305" y="876"/>
                  </a:cubicBezTo>
                  <a:cubicBezTo>
                    <a:pt x="1305" y="876"/>
                    <a:pt x="1291" y="868"/>
                    <a:pt x="1285" y="870"/>
                  </a:cubicBezTo>
                  <a:cubicBezTo>
                    <a:pt x="1279" y="872"/>
                    <a:pt x="1283" y="879"/>
                    <a:pt x="1283" y="879"/>
                  </a:cubicBezTo>
                  <a:cubicBezTo>
                    <a:pt x="1266" y="881"/>
                    <a:pt x="1266" y="881"/>
                    <a:pt x="1266" y="881"/>
                  </a:cubicBezTo>
                  <a:cubicBezTo>
                    <a:pt x="1266" y="881"/>
                    <a:pt x="1254" y="877"/>
                    <a:pt x="1239" y="887"/>
                  </a:cubicBezTo>
                  <a:cubicBezTo>
                    <a:pt x="1224" y="897"/>
                    <a:pt x="1195" y="916"/>
                    <a:pt x="1181" y="919"/>
                  </a:cubicBezTo>
                  <a:cubicBezTo>
                    <a:pt x="1167" y="922"/>
                    <a:pt x="1147" y="928"/>
                    <a:pt x="1147" y="928"/>
                  </a:cubicBezTo>
                  <a:cubicBezTo>
                    <a:pt x="1147" y="928"/>
                    <a:pt x="1116" y="920"/>
                    <a:pt x="1108" y="928"/>
                  </a:cubicBezTo>
                  <a:cubicBezTo>
                    <a:pt x="1100" y="936"/>
                    <a:pt x="1094" y="947"/>
                    <a:pt x="1094" y="947"/>
                  </a:cubicBezTo>
                  <a:cubicBezTo>
                    <a:pt x="1065" y="947"/>
                    <a:pt x="1065" y="947"/>
                    <a:pt x="1065" y="947"/>
                  </a:cubicBezTo>
                  <a:cubicBezTo>
                    <a:pt x="1059" y="953"/>
                    <a:pt x="1059" y="953"/>
                    <a:pt x="1059" y="953"/>
                  </a:cubicBezTo>
                  <a:cubicBezTo>
                    <a:pt x="1059" y="953"/>
                    <a:pt x="1045" y="950"/>
                    <a:pt x="1038" y="952"/>
                  </a:cubicBezTo>
                  <a:cubicBezTo>
                    <a:pt x="1031" y="954"/>
                    <a:pt x="1012" y="957"/>
                    <a:pt x="1005" y="956"/>
                  </a:cubicBezTo>
                  <a:cubicBezTo>
                    <a:pt x="998" y="955"/>
                    <a:pt x="987" y="947"/>
                    <a:pt x="984" y="948"/>
                  </a:cubicBezTo>
                  <a:cubicBezTo>
                    <a:pt x="981" y="949"/>
                    <a:pt x="963" y="946"/>
                    <a:pt x="963" y="942"/>
                  </a:cubicBezTo>
                  <a:cubicBezTo>
                    <a:pt x="963" y="938"/>
                    <a:pt x="985" y="939"/>
                    <a:pt x="985" y="939"/>
                  </a:cubicBezTo>
                  <a:cubicBezTo>
                    <a:pt x="985" y="939"/>
                    <a:pt x="994" y="929"/>
                    <a:pt x="997" y="929"/>
                  </a:cubicBezTo>
                  <a:cubicBezTo>
                    <a:pt x="1000" y="929"/>
                    <a:pt x="1008" y="937"/>
                    <a:pt x="1018" y="937"/>
                  </a:cubicBezTo>
                  <a:cubicBezTo>
                    <a:pt x="1028" y="937"/>
                    <a:pt x="1028" y="929"/>
                    <a:pt x="1028" y="929"/>
                  </a:cubicBezTo>
                  <a:cubicBezTo>
                    <a:pt x="1039" y="929"/>
                    <a:pt x="1039" y="929"/>
                    <a:pt x="1039" y="929"/>
                  </a:cubicBezTo>
                  <a:cubicBezTo>
                    <a:pt x="1039" y="929"/>
                    <a:pt x="1049" y="911"/>
                    <a:pt x="1059" y="910"/>
                  </a:cubicBezTo>
                  <a:cubicBezTo>
                    <a:pt x="1069" y="909"/>
                    <a:pt x="1072" y="918"/>
                    <a:pt x="1090" y="911"/>
                  </a:cubicBezTo>
                  <a:cubicBezTo>
                    <a:pt x="1108" y="904"/>
                    <a:pt x="1093" y="882"/>
                    <a:pt x="1093" y="882"/>
                  </a:cubicBezTo>
                  <a:cubicBezTo>
                    <a:pt x="1093" y="882"/>
                    <a:pt x="1071" y="868"/>
                    <a:pt x="1085" y="862"/>
                  </a:cubicBezTo>
                  <a:cubicBezTo>
                    <a:pt x="1091" y="859"/>
                    <a:pt x="1099" y="872"/>
                    <a:pt x="1099" y="872"/>
                  </a:cubicBezTo>
                  <a:cubicBezTo>
                    <a:pt x="1107" y="871"/>
                    <a:pt x="1107" y="871"/>
                    <a:pt x="1107" y="871"/>
                  </a:cubicBezTo>
                  <a:cubicBezTo>
                    <a:pt x="1119" y="882"/>
                    <a:pt x="1119" y="882"/>
                    <a:pt x="1119" y="882"/>
                  </a:cubicBezTo>
                  <a:cubicBezTo>
                    <a:pt x="1119" y="882"/>
                    <a:pt x="1133" y="881"/>
                    <a:pt x="1137" y="884"/>
                  </a:cubicBezTo>
                  <a:cubicBezTo>
                    <a:pt x="1141" y="887"/>
                    <a:pt x="1130" y="902"/>
                    <a:pt x="1153" y="901"/>
                  </a:cubicBezTo>
                  <a:cubicBezTo>
                    <a:pt x="1176" y="900"/>
                    <a:pt x="1176" y="895"/>
                    <a:pt x="1176" y="895"/>
                  </a:cubicBezTo>
                  <a:cubicBezTo>
                    <a:pt x="1187" y="896"/>
                    <a:pt x="1187" y="896"/>
                    <a:pt x="1187" y="896"/>
                  </a:cubicBezTo>
                  <a:cubicBezTo>
                    <a:pt x="1187" y="896"/>
                    <a:pt x="1227" y="880"/>
                    <a:pt x="1241" y="871"/>
                  </a:cubicBezTo>
                  <a:cubicBezTo>
                    <a:pt x="1255" y="862"/>
                    <a:pt x="1277" y="855"/>
                    <a:pt x="1295" y="854"/>
                  </a:cubicBezTo>
                  <a:cubicBezTo>
                    <a:pt x="1313" y="853"/>
                    <a:pt x="1351" y="857"/>
                    <a:pt x="1348" y="861"/>
                  </a:cubicBezTo>
                  <a:cubicBezTo>
                    <a:pt x="1345" y="865"/>
                    <a:pt x="1324" y="875"/>
                    <a:pt x="1324" y="872"/>
                  </a:cubicBezTo>
                  <a:close/>
                  <a:moveTo>
                    <a:pt x="1405" y="1355"/>
                  </a:moveTo>
                  <a:cubicBezTo>
                    <a:pt x="1405" y="1355"/>
                    <a:pt x="1402" y="1384"/>
                    <a:pt x="1403" y="1393"/>
                  </a:cubicBezTo>
                  <a:cubicBezTo>
                    <a:pt x="1404" y="1402"/>
                    <a:pt x="1399" y="1411"/>
                    <a:pt x="1396" y="1416"/>
                  </a:cubicBezTo>
                  <a:cubicBezTo>
                    <a:pt x="1393" y="1421"/>
                    <a:pt x="1400" y="1422"/>
                    <a:pt x="1403" y="1433"/>
                  </a:cubicBezTo>
                  <a:cubicBezTo>
                    <a:pt x="1406" y="1444"/>
                    <a:pt x="1382" y="1471"/>
                    <a:pt x="1382" y="1471"/>
                  </a:cubicBezTo>
                  <a:cubicBezTo>
                    <a:pt x="1368" y="1466"/>
                    <a:pt x="1368" y="1466"/>
                    <a:pt x="1368" y="1466"/>
                  </a:cubicBezTo>
                  <a:cubicBezTo>
                    <a:pt x="1368" y="1466"/>
                    <a:pt x="1365" y="1485"/>
                    <a:pt x="1348" y="1482"/>
                  </a:cubicBezTo>
                  <a:cubicBezTo>
                    <a:pt x="1331" y="1479"/>
                    <a:pt x="1387" y="1431"/>
                    <a:pt x="1387" y="1419"/>
                  </a:cubicBezTo>
                  <a:cubicBezTo>
                    <a:pt x="1387" y="1407"/>
                    <a:pt x="1366" y="1427"/>
                    <a:pt x="1366" y="1427"/>
                  </a:cubicBezTo>
                  <a:cubicBezTo>
                    <a:pt x="1379" y="1406"/>
                    <a:pt x="1379" y="1406"/>
                    <a:pt x="1379" y="1406"/>
                  </a:cubicBezTo>
                  <a:cubicBezTo>
                    <a:pt x="1379" y="1406"/>
                    <a:pt x="1383" y="1393"/>
                    <a:pt x="1372" y="1390"/>
                  </a:cubicBezTo>
                  <a:cubicBezTo>
                    <a:pt x="1361" y="1387"/>
                    <a:pt x="1367" y="1407"/>
                    <a:pt x="1354" y="1407"/>
                  </a:cubicBezTo>
                  <a:cubicBezTo>
                    <a:pt x="1341" y="1407"/>
                    <a:pt x="1351" y="1376"/>
                    <a:pt x="1351" y="1376"/>
                  </a:cubicBezTo>
                  <a:cubicBezTo>
                    <a:pt x="1351" y="1376"/>
                    <a:pt x="1345" y="1370"/>
                    <a:pt x="1343" y="1361"/>
                  </a:cubicBezTo>
                  <a:cubicBezTo>
                    <a:pt x="1341" y="1352"/>
                    <a:pt x="1365" y="1352"/>
                    <a:pt x="1367" y="1346"/>
                  </a:cubicBezTo>
                  <a:cubicBezTo>
                    <a:pt x="1369" y="1340"/>
                    <a:pt x="1347" y="1349"/>
                    <a:pt x="1343" y="1340"/>
                  </a:cubicBezTo>
                  <a:cubicBezTo>
                    <a:pt x="1342" y="1338"/>
                    <a:pt x="1372" y="1307"/>
                    <a:pt x="1382" y="1303"/>
                  </a:cubicBezTo>
                  <a:cubicBezTo>
                    <a:pt x="1392" y="1299"/>
                    <a:pt x="1391" y="1306"/>
                    <a:pt x="1395" y="1307"/>
                  </a:cubicBezTo>
                  <a:cubicBezTo>
                    <a:pt x="1399" y="1308"/>
                    <a:pt x="1410" y="1305"/>
                    <a:pt x="1418" y="1322"/>
                  </a:cubicBezTo>
                  <a:cubicBezTo>
                    <a:pt x="1426" y="1339"/>
                    <a:pt x="1405" y="1355"/>
                    <a:pt x="1405" y="1355"/>
                  </a:cubicBezTo>
                  <a:close/>
                  <a:moveTo>
                    <a:pt x="156" y="1459"/>
                  </a:moveTo>
                  <a:cubicBezTo>
                    <a:pt x="146" y="1456"/>
                    <a:pt x="147" y="1473"/>
                    <a:pt x="147" y="1473"/>
                  </a:cubicBezTo>
                  <a:cubicBezTo>
                    <a:pt x="155" y="1473"/>
                    <a:pt x="166" y="1462"/>
                    <a:pt x="156" y="1459"/>
                  </a:cubicBezTo>
                  <a:close/>
                  <a:moveTo>
                    <a:pt x="2216" y="1197"/>
                  </a:moveTo>
                  <a:cubicBezTo>
                    <a:pt x="2248" y="1196"/>
                    <a:pt x="2259" y="1170"/>
                    <a:pt x="2228" y="1170"/>
                  </a:cubicBezTo>
                  <a:cubicBezTo>
                    <a:pt x="2196" y="1171"/>
                    <a:pt x="2216" y="1197"/>
                    <a:pt x="2216" y="1197"/>
                  </a:cubicBezTo>
                  <a:close/>
                  <a:moveTo>
                    <a:pt x="2456" y="825"/>
                  </a:moveTo>
                  <a:cubicBezTo>
                    <a:pt x="2456" y="825"/>
                    <a:pt x="2433" y="822"/>
                    <a:pt x="2423" y="814"/>
                  </a:cubicBezTo>
                  <a:cubicBezTo>
                    <a:pt x="2413" y="806"/>
                    <a:pt x="2418" y="785"/>
                    <a:pt x="2418" y="785"/>
                  </a:cubicBezTo>
                  <a:cubicBezTo>
                    <a:pt x="2397" y="769"/>
                    <a:pt x="2397" y="769"/>
                    <a:pt x="2397" y="769"/>
                  </a:cubicBezTo>
                  <a:cubicBezTo>
                    <a:pt x="2370" y="772"/>
                    <a:pt x="2370" y="772"/>
                    <a:pt x="2370" y="772"/>
                  </a:cubicBezTo>
                  <a:cubicBezTo>
                    <a:pt x="2366" y="763"/>
                    <a:pt x="2366" y="763"/>
                    <a:pt x="2366" y="763"/>
                  </a:cubicBezTo>
                  <a:cubicBezTo>
                    <a:pt x="2353" y="741"/>
                    <a:pt x="2353" y="741"/>
                    <a:pt x="2353" y="741"/>
                  </a:cubicBezTo>
                  <a:cubicBezTo>
                    <a:pt x="2330" y="745"/>
                    <a:pt x="2330" y="745"/>
                    <a:pt x="2330" y="745"/>
                  </a:cubicBezTo>
                  <a:cubicBezTo>
                    <a:pt x="2317" y="738"/>
                    <a:pt x="2317" y="738"/>
                    <a:pt x="2317" y="738"/>
                  </a:cubicBezTo>
                  <a:cubicBezTo>
                    <a:pt x="2329" y="727"/>
                    <a:pt x="2329" y="727"/>
                    <a:pt x="2329" y="727"/>
                  </a:cubicBezTo>
                  <a:cubicBezTo>
                    <a:pt x="2327" y="710"/>
                    <a:pt x="2327" y="710"/>
                    <a:pt x="2327" y="710"/>
                  </a:cubicBezTo>
                  <a:cubicBezTo>
                    <a:pt x="2293" y="728"/>
                    <a:pt x="2293" y="728"/>
                    <a:pt x="2293" y="728"/>
                  </a:cubicBezTo>
                  <a:cubicBezTo>
                    <a:pt x="2276" y="736"/>
                    <a:pt x="2276" y="736"/>
                    <a:pt x="2276" y="736"/>
                  </a:cubicBezTo>
                  <a:cubicBezTo>
                    <a:pt x="2257" y="764"/>
                    <a:pt x="2257" y="764"/>
                    <a:pt x="2257" y="764"/>
                  </a:cubicBezTo>
                  <a:cubicBezTo>
                    <a:pt x="2257" y="764"/>
                    <a:pt x="2226" y="771"/>
                    <a:pt x="2224" y="777"/>
                  </a:cubicBezTo>
                  <a:cubicBezTo>
                    <a:pt x="2222" y="783"/>
                    <a:pt x="2234" y="790"/>
                    <a:pt x="2224" y="793"/>
                  </a:cubicBezTo>
                  <a:cubicBezTo>
                    <a:pt x="2215" y="797"/>
                    <a:pt x="2186" y="807"/>
                    <a:pt x="2186" y="807"/>
                  </a:cubicBezTo>
                  <a:cubicBezTo>
                    <a:pt x="2203" y="815"/>
                    <a:pt x="2203" y="815"/>
                    <a:pt x="2203" y="815"/>
                  </a:cubicBezTo>
                  <a:cubicBezTo>
                    <a:pt x="2203" y="815"/>
                    <a:pt x="2230" y="811"/>
                    <a:pt x="2231" y="814"/>
                  </a:cubicBezTo>
                  <a:cubicBezTo>
                    <a:pt x="2231" y="817"/>
                    <a:pt x="2225" y="822"/>
                    <a:pt x="2225" y="833"/>
                  </a:cubicBezTo>
                  <a:cubicBezTo>
                    <a:pt x="2225" y="844"/>
                    <a:pt x="2268" y="845"/>
                    <a:pt x="2287" y="835"/>
                  </a:cubicBezTo>
                  <a:cubicBezTo>
                    <a:pt x="2306" y="826"/>
                    <a:pt x="2296" y="808"/>
                    <a:pt x="2324" y="809"/>
                  </a:cubicBezTo>
                  <a:cubicBezTo>
                    <a:pt x="2351" y="809"/>
                    <a:pt x="2355" y="818"/>
                    <a:pt x="2355" y="818"/>
                  </a:cubicBezTo>
                  <a:cubicBezTo>
                    <a:pt x="2386" y="823"/>
                    <a:pt x="2386" y="823"/>
                    <a:pt x="2386" y="823"/>
                  </a:cubicBezTo>
                  <a:cubicBezTo>
                    <a:pt x="2390" y="834"/>
                    <a:pt x="2390" y="834"/>
                    <a:pt x="2390" y="834"/>
                  </a:cubicBezTo>
                  <a:cubicBezTo>
                    <a:pt x="2452" y="838"/>
                    <a:pt x="2452" y="838"/>
                    <a:pt x="2452" y="838"/>
                  </a:cubicBezTo>
                  <a:lnTo>
                    <a:pt x="2456" y="825"/>
                  </a:lnTo>
                  <a:close/>
                  <a:moveTo>
                    <a:pt x="2393" y="886"/>
                  </a:moveTo>
                  <a:cubicBezTo>
                    <a:pt x="2352" y="899"/>
                    <a:pt x="2393" y="913"/>
                    <a:pt x="2393" y="913"/>
                  </a:cubicBezTo>
                  <a:cubicBezTo>
                    <a:pt x="2415" y="897"/>
                    <a:pt x="2434" y="872"/>
                    <a:pt x="2393" y="88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3" name="Freeform 85">
              <a:extLst>
                <a:ext uri="{FF2B5EF4-FFF2-40B4-BE49-F238E27FC236}">
                  <a16:creationId xmlns:a16="http://schemas.microsoft.com/office/drawing/2014/main" id="{D5E1D8E0-293E-58D3-D72D-30576FFE8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495" y="2004285"/>
              <a:ext cx="1166112" cy="504553"/>
            </a:xfrm>
            <a:custGeom>
              <a:avLst/>
              <a:gdLst>
                <a:gd name="T0" fmla="*/ 86 w 2049"/>
                <a:gd name="T1" fmla="*/ 33 h 886"/>
                <a:gd name="T2" fmla="*/ 83 w 2049"/>
                <a:gd name="T3" fmla="*/ 32 h 886"/>
                <a:gd name="T4" fmla="*/ 83 w 2049"/>
                <a:gd name="T5" fmla="*/ 37 h 886"/>
                <a:gd name="T6" fmla="*/ 83 w 2049"/>
                <a:gd name="T7" fmla="*/ 40 h 886"/>
                <a:gd name="T8" fmla="*/ 87 w 2049"/>
                <a:gd name="T9" fmla="*/ 36 h 886"/>
                <a:gd name="T10" fmla="*/ 88 w 2049"/>
                <a:gd name="T11" fmla="*/ 29 h 886"/>
                <a:gd name="T12" fmla="*/ 83 w 2049"/>
                <a:gd name="T13" fmla="*/ 30 h 886"/>
                <a:gd name="T14" fmla="*/ 81 w 2049"/>
                <a:gd name="T15" fmla="*/ 27 h 886"/>
                <a:gd name="T16" fmla="*/ 105 w 2049"/>
                <a:gd name="T17" fmla="*/ 3 h 886"/>
                <a:gd name="T18" fmla="*/ 90 w 2049"/>
                <a:gd name="T19" fmla="*/ 1 h 886"/>
                <a:gd name="T20" fmla="*/ 84 w 2049"/>
                <a:gd name="T21" fmla="*/ 0 h 886"/>
                <a:gd name="T22" fmla="*/ 59 w 2049"/>
                <a:gd name="T23" fmla="*/ 6 h 886"/>
                <a:gd name="T24" fmla="*/ 59 w 2049"/>
                <a:gd name="T25" fmla="*/ 11 h 886"/>
                <a:gd name="T26" fmla="*/ 55 w 2049"/>
                <a:gd name="T27" fmla="*/ 12 h 886"/>
                <a:gd name="T28" fmla="*/ 43 w 2049"/>
                <a:gd name="T29" fmla="*/ 14 h 886"/>
                <a:gd name="T30" fmla="*/ 49 w 2049"/>
                <a:gd name="T31" fmla="*/ 16 h 886"/>
                <a:gd name="T32" fmla="*/ 54 w 2049"/>
                <a:gd name="T33" fmla="*/ 16 h 886"/>
                <a:gd name="T34" fmla="*/ 47 w 2049"/>
                <a:gd name="T35" fmla="*/ 19 h 886"/>
                <a:gd name="T36" fmla="*/ 39 w 2049"/>
                <a:gd name="T37" fmla="*/ 21 h 886"/>
                <a:gd name="T38" fmla="*/ 34 w 2049"/>
                <a:gd name="T39" fmla="*/ 24 h 886"/>
                <a:gd name="T40" fmla="*/ 36 w 2049"/>
                <a:gd name="T41" fmla="*/ 25 h 886"/>
                <a:gd name="T42" fmla="*/ 32 w 2049"/>
                <a:gd name="T43" fmla="*/ 27 h 886"/>
                <a:gd name="T44" fmla="*/ 35 w 2049"/>
                <a:gd name="T45" fmla="*/ 29 h 886"/>
                <a:gd name="T46" fmla="*/ 36 w 2049"/>
                <a:gd name="T47" fmla="*/ 30 h 886"/>
                <a:gd name="T48" fmla="*/ 41 w 2049"/>
                <a:gd name="T49" fmla="*/ 30 h 886"/>
                <a:gd name="T50" fmla="*/ 42 w 2049"/>
                <a:gd name="T51" fmla="*/ 31 h 886"/>
                <a:gd name="T52" fmla="*/ 36 w 2049"/>
                <a:gd name="T53" fmla="*/ 34 h 886"/>
                <a:gd name="T54" fmla="*/ 25 w 2049"/>
                <a:gd name="T55" fmla="*/ 39 h 886"/>
                <a:gd name="T56" fmla="*/ 20 w 2049"/>
                <a:gd name="T57" fmla="*/ 40 h 886"/>
                <a:gd name="T58" fmla="*/ 19 w 2049"/>
                <a:gd name="T59" fmla="*/ 41 h 886"/>
                <a:gd name="T60" fmla="*/ 27 w 2049"/>
                <a:gd name="T61" fmla="*/ 39 h 886"/>
                <a:gd name="T62" fmla="*/ 34 w 2049"/>
                <a:gd name="T63" fmla="*/ 36 h 886"/>
                <a:gd name="T64" fmla="*/ 44 w 2049"/>
                <a:gd name="T65" fmla="*/ 33 h 886"/>
                <a:gd name="T66" fmla="*/ 53 w 2049"/>
                <a:gd name="T67" fmla="*/ 28 h 886"/>
                <a:gd name="T68" fmla="*/ 64 w 2049"/>
                <a:gd name="T69" fmla="*/ 25 h 886"/>
                <a:gd name="T70" fmla="*/ 56 w 2049"/>
                <a:gd name="T71" fmla="*/ 28 h 886"/>
                <a:gd name="T72" fmla="*/ 63 w 2049"/>
                <a:gd name="T73" fmla="*/ 28 h 886"/>
                <a:gd name="T74" fmla="*/ 69 w 2049"/>
                <a:gd name="T75" fmla="*/ 26 h 886"/>
                <a:gd name="T76" fmla="*/ 77 w 2049"/>
                <a:gd name="T77" fmla="*/ 28 h 886"/>
                <a:gd name="T78" fmla="*/ 80 w 2049"/>
                <a:gd name="T79" fmla="*/ 30 h 886"/>
                <a:gd name="T80" fmla="*/ 85 w 2049"/>
                <a:gd name="T81" fmla="*/ 31 h 886"/>
                <a:gd name="T82" fmla="*/ 87 w 2049"/>
                <a:gd name="T83" fmla="*/ 32 h 886"/>
                <a:gd name="T84" fmla="*/ 85 w 2049"/>
                <a:gd name="T85" fmla="*/ 35 h 886"/>
                <a:gd name="T86" fmla="*/ 86 w 2049"/>
                <a:gd name="T87" fmla="*/ 38 h 886"/>
                <a:gd name="T88" fmla="*/ 84 w 2049"/>
                <a:gd name="T89" fmla="*/ 41 h 886"/>
                <a:gd name="T90" fmla="*/ 89 w 2049"/>
                <a:gd name="T91" fmla="*/ 37 h 886"/>
                <a:gd name="T92" fmla="*/ 83 w 2049"/>
                <a:gd name="T93" fmla="*/ 37 h 886"/>
                <a:gd name="T94" fmla="*/ 80 w 2049"/>
                <a:gd name="T95" fmla="*/ 37 h 886"/>
                <a:gd name="T96" fmla="*/ 27 w 2049"/>
                <a:gd name="T97" fmla="*/ 27 h 886"/>
                <a:gd name="T98" fmla="*/ 4 w 2049"/>
                <a:gd name="T99" fmla="*/ 44 h 886"/>
                <a:gd name="T100" fmla="*/ 45 w 2049"/>
                <a:gd name="T101" fmla="*/ 35 h 886"/>
                <a:gd name="T102" fmla="*/ 46 w 2049"/>
                <a:gd name="T103" fmla="*/ 35 h 886"/>
                <a:gd name="T104" fmla="*/ 47 w 2049"/>
                <a:gd name="T105" fmla="*/ 33 h 886"/>
                <a:gd name="T106" fmla="*/ 86 w 2049"/>
                <a:gd name="T107" fmla="*/ 40 h 886"/>
                <a:gd name="T108" fmla="*/ 48 w 2049"/>
                <a:gd name="T109" fmla="*/ 33 h 886"/>
                <a:gd name="T110" fmla="*/ 15 w 2049"/>
                <a:gd name="T111" fmla="*/ 41 h 886"/>
                <a:gd name="T112" fmla="*/ 12 w 2049"/>
                <a:gd name="T113" fmla="*/ 43 h 8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49"/>
                <a:gd name="T172" fmla="*/ 0 h 886"/>
                <a:gd name="T173" fmla="*/ 2049 w 2049"/>
                <a:gd name="T174" fmla="*/ 886 h 8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49" h="886">
                  <a:moveTo>
                    <a:pt x="1636" y="622"/>
                  </a:moveTo>
                  <a:cubicBezTo>
                    <a:pt x="1628" y="629"/>
                    <a:pt x="1614" y="645"/>
                    <a:pt x="1614" y="645"/>
                  </a:cubicBezTo>
                  <a:cubicBezTo>
                    <a:pt x="1602" y="669"/>
                    <a:pt x="1602" y="669"/>
                    <a:pt x="1602" y="669"/>
                  </a:cubicBezTo>
                  <a:cubicBezTo>
                    <a:pt x="1602" y="669"/>
                    <a:pt x="1623" y="665"/>
                    <a:pt x="1633" y="656"/>
                  </a:cubicBezTo>
                  <a:cubicBezTo>
                    <a:pt x="1643" y="647"/>
                    <a:pt x="1640" y="638"/>
                    <a:pt x="1640" y="638"/>
                  </a:cubicBezTo>
                  <a:cubicBezTo>
                    <a:pt x="1650" y="628"/>
                    <a:pt x="1650" y="628"/>
                    <a:pt x="1650" y="628"/>
                  </a:cubicBezTo>
                  <a:cubicBezTo>
                    <a:pt x="1650" y="628"/>
                    <a:pt x="1644" y="615"/>
                    <a:pt x="1636" y="622"/>
                  </a:cubicBezTo>
                  <a:close/>
                  <a:moveTo>
                    <a:pt x="1600" y="619"/>
                  </a:moveTo>
                  <a:cubicBezTo>
                    <a:pt x="1600" y="619"/>
                    <a:pt x="1575" y="626"/>
                    <a:pt x="1576" y="633"/>
                  </a:cubicBezTo>
                  <a:cubicBezTo>
                    <a:pt x="1577" y="640"/>
                    <a:pt x="1586" y="650"/>
                    <a:pt x="1586" y="650"/>
                  </a:cubicBezTo>
                  <a:cubicBezTo>
                    <a:pt x="1597" y="654"/>
                    <a:pt x="1614" y="646"/>
                    <a:pt x="1614" y="636"/>
                  </a:cubicBezTo>
                  <a:cubicBezTo>
                    <a:pt x="1614" y="626"/>
                    <a:pt x="1600" y="619"/>
                    <a:pt x="1600" y="619"/>
                  </a:cubicBezTo>
                  <a:close/>
                  <a:moveTo>
                    <a:pt x="1544" y="792"/>
                  </a:moveTo>
                  <a:cubicBezTo>
                    <a:pt x="1553" y="793"/>
                    <a:pt x="1553" y="793"/>
                    <a:pt x="1553" y="793"/>
                  </a:cubicBezTo>
                  <a:cubicBezTo>
                    <a:pt x="1559" y="768"/>
                    <a:pt x="1559" y="768"/>
                    <a:pt x="1559" y="768"/>
                  </a:cubicBezTo>
                  <a:cubicBezTo>
                    <a:pt x="1548" y="773"/>
                    <a:pt x="1548" y="773"/>
                    <a:pt x="1548" y="773"/>
                  </a:cubicBezTo>
                  <a:lnTo>
                    <a:pt x="1544" y="792"/>
                  </a:lnTo>
                  <a:close/>
                  <a:moveTo>
                    <a:pt x="1594" y="717"/>
                  </a:moveTo>
                  <a:cubicBezTo>
                    <a:pt x="1581" y="726"/>
                    <a:pt x="1581" y="726"/>
                    <a:pt x="1581" y="726"/>
                  </a:cubicBezTo>
                  <a:cubicBezTo>
                    <a:pt x="1581" y="726"/>
                    <a:pt x="1587" y="732"/>
                    <a:pt x="1591" y="733"/>
                  </a:cubicBezTo>
                  <a:cubicBezTo>
                    <a:pt x="1595" y="734"/>
                    <a:pt x="1577" y="743"/>
                    <a:pt x="1573" y="745"/>
                  </a:cubicBezTo>
                  <a:cubicBezTo>
                    <a:pt x="1569" y="747"/>
                    <a:pt x="1563" y="758"/>
                    <a:pt x="1568" y="767"/>
                  </a:cubicBezTo>
                  <a:cubicBezTo>
                    <a:pt x="1573" y="776"/>
                    <a:pt x="1572" y="794"/>
                    <a:pt x="1572" y="794"/>
                  </a:cubicBezTo>
                  <a:cubicBezTo>
                    <a:pt x="1572" y="794"/>
                    <a:pt x="1586" y="786"/>
                    <a:pt x="1594" y="777"/>
                  </a:cubicBezTo>
                  <a:cubicBezTo>
                    <a:pt x="1602" y="768"/>
                    <a:pt x="1590" y="756"/>
                    <a:pt x="1590" y="756"/>
                  </a:cubicBezTo>
                  <a:cubicBezTo>
                    <a:pt x="1590" y="756"/>
                    <a:pt x="1600" y="755"/>
                    <a:pt x="1609" y="745"/>
                  </a:cubicBezTo>
                  <a:cubicBezTo>
                    <a:pt x="1618" y="735"/>
                    <a:pt x="1594" y="717"/>
                    <a:pt x="1594" y="717"/>
                  </a:cubicBezTo>
                  <a:close/>
                  <a:moveTo>
                    <a:pt x="1707" y="721"/>
                  </a:moveTo>
                  <a:cubicBezTo>
                    <a:pt x="1707" y="721"/>
                    <a:pt x="1700" y="719"/>
                    <a:pt x="1700" y="714"/>
                  </a:cubicBezTo>
                  <a:cubicBezTo>
                    <a:pt x="1700" y="710"/>
                    <a:pt x="1672" y="709"/>
                    <a:pt x="1677" y="696"/>
                  </a:cubicBezTo>
                  <a:cubicBezTo>
                    <a:pt x="1682" y="683"/>
                    <a:pt x="1688" y="666"/>
                    <a:pt x="1688" y="666"/>
                  </a:cubicBezTo>
                  <a:cubicBezTo>
                    <a:pt x="1688" y="642"/>
                    <a:pt x="1688" y="642"/>
                    <a:pt x="1688" y="642"/>
                  </a:cubicBezTo>
                  <a:cubicBezTo>
                    <a:pt x="1688" y="642"/>
                    <a:pt x="1705" y="623"/>
                    <a:pt x="1698" y="606"/>
                  </a:cubicBezTo>
                  <a:cubicBezTo>
                    <a:pt x="1692" y="588"/>
                    <a:pt x="1685" y="586"/>
                    <a:pt x="1685" y="586"/>
                  </a:cubicBezTo>
                  <a:cubicBezTo>
                    <a:pt x="1691" y="575"/>
                    <a:pt x="1691" y="575"/>
                    <a:pt x="1691" y="575"/>
                  </a:cubicBezTo>
                  <a:cubicBezTo>
                    <a:pt x="1691" y="558"/>
                    <a:pt x="1691" y="558"/>
                    <a:pt x="1691" y="558"/>
                  </a:cubicBezTo>
                  <a:cubicBezTo>
                    <a:pt x="1691" y="558"/>
                    <a:pt x="1718" y="548"/>
                    <a:pt x="1699" y="542"/>
                  </a:cubicBezTo>
                  <a:cubicBezTo>
                    <a:pt x="1681" y="537"/>
                    <a:pt x="1653" y="547"/>
                    <a:pt x="1653" y="547"/>
                  </a:cubicBezTo>
                  <a:cubicBezTo>
                    <a:pt x="1651" y="555"/>
                    <a:pt x="1651" y="555"/>
                    <a:pt x="1651" y="555"/>
                  </a:cubicBezTo>
                  <a:cubicBezTo>
                    <a:pt x="1639" y="555"/>
                    <a:pt x="1639" y="555"/>
                    <a:pt x="1639" y="555"/>
                  </a:cubicBezTo>
                  <a:cubicBezTo>
                    <a:pt x="1639" y="555"/>
                    <a:pt x="1633" y="565"/>
                    <a:pt x="1625" y="565"/>
                  </a:cubicBezTo>
                  <a:cubicBezTo>
                    <a:pt x="1618" y="565"/>
                    <a:pt x="1597" y="572"/>
                    <a:pt x="1597" y="572"/>
                  </a:cubicBezTo>
                  <a:cubicBezTo>
                    <a:pt x="1597" y="572"/>
                    <a:pt x="1581" y="585"/>
                    <a:pt x="1575" y="585"/>
                  </a:cubicBezTo>
                  <a:cubicBezTo>
                    <a:pt x="1570" y="585"/>
                    <a:pt x="1589" y="566"/>
                    <a:pt x="1589" y="566"/>
                  </a:cubicBezTo>
                  <a:cubicBezTo>
                    <a:pt x="1589" y="566"/>
                    <a:pt x="1570" y="558"/>
                    <a:pt x="1570" y="547"/>
                  </a:cubicBezTo>
                  <a:cubicBezTo>
                    <a:pt x="1570" y="537"/>
                    <a:pt x="1570" y="528"/>
                    <a:pt x="1570" y="528"/>
                  </a:cubicBezTo>
                  <a:cubicBezTo>
                    <a:pt x="1585" y="513"/>
                    <a:pt x="1585" y="513"/>
                    <a:pt x="1585" y="513"/>
                  </a:cubicBezTo>
                  <a:cubicBezTo>
                    <a:pt x="1561" y="513"/>
                    <a:pt x="1561" y="513"/>
                    <a:pt x="1561" y="513"/>
                  </a:cubicBezTo>
                  <a:cubicBezTo>
                    <a:pt x="1561" y="513"/>
                    <a:pt x="1552" y="518"/>
                    <a:pt x="1549" y="518"/>
                  </a:cubicBezTo>
                  <a:cubicBezTo>
                    <a:pt x="1549" y="518"/>
                    <a:pt x="1520" y="524"/>
                    <a:pt x="1514" y="518"/>
                  </a:cubicBezTo>
                  <a:cubicBezTo>
                    <a:pt x="1508" y="512"/>
                    <a:pt x="1534" y="498"/>
                    <a:pt x="1534" y="498"/>
                  </a:cubicBezTo>
                  <a:cubicBezTo>
                    <a:pt x="2049" y="74"/>
                    <a:pt x="2049" y="74"/>
                    <a:pt x="2049" y="74"/>
                  </a:cubicBezTo>
                  <a:cubicBezTo>
                    <a:pt x="2037" y="74"/>
                    <a:pt x="2037" y="74"/>
                    <a:pt x="2037" y="74"/>
                  </a:cubicBezTo>
                  <a:cubicBezTo>
                    <a:pt x="2037" y="74"/>
                    <a:pt x="2034" y="51"/>
                    <a:pt x="2008" y="53"/>
                  </a:cubicBezTo>
                  <a:cubicBezTo>
                    <a:pt x="1982" y="55"/>
                    <a:pt x="1951" y="64"/>
                    <a:pt x="1947" y="64"/>
                  </a:cubicBezTo>
                  <a:cubicBezTo>
                    <a:pt x="1943" y="64"/>
                    <a:pt x="1916" y="50"/>
                    <a:pt x="1912" y="48"/>
                  </a:cubicBezTo>
                  <a:cubicBezTo>
                    <a:pt x="1908" y="46"/>
                    <a:pt x="1858" y="47"/>
                    <a:pt x="1858" y="47"/>
                  </a:cubicBezTo>
                  <a:cubicBezTo>
                    <a:pt x="1858" y="47"/>
                    <a:pt x="1842" y="39"/>
                    <a:pt x="1824" y="37"/>
                  </a:cubicBezTo>
                  <a:cubicBezTo>
                    <a:pt x="1806" y="35"/>
                    <a:pt x="1735" y="38"/>
                    <a:pt x="1732" y="38"/>
                  </a:cubicBezTo>
                  <a:cubicBezTo>
                    <a:pt x="1729" y="38"/>
                    <a:pt x="1735" y="24"/>
                    <a:pt x="1735" y="24"/>
                  </a:cubicBezTo>
                  <a:cubicBezTo>
                    <a:pt x="1735" y="24"/>
                    <a:pt x="1699" y="19"/>
                    <a:pt x="1694" y="18"/>
                  </a:cubicBezTo>
                  <a:cubicBezTo>
                    <a:pt x="1689" y="17"/>
                    <a:pt x="1656" y="24"/>
                    <a:pt x="1656" y="24"/>
                  </a:cubicBezTo>
                  <a:cubicBezTo>
                    <a:pt x="1676" y="2"/>
                    <a:pt x="1676" y="2"/>
                    <a:pt x="1676" y="2"/>
                  </a:cubicBezTo>
                  <a:cubicBezTo>
                    <a:pt x="1621" y="24"/>
                    <a:pt x="1621" y="24"/>
                    <a:pt x="1621" y="24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22" y="0"/>
                    <a:pt x="1622" y="0"/>
                    <a:pt x="1622" y="0"/>
                  </a:cubicBezTo>
                  <a:cubicBezTo>
                    <a:pt x="1622" y="0"/>
                    <a:pt x="1591" y="22"/>
                    <a:pt x="1561" y="22"/>
                  </a:cubicBezTo>
                  <a:cubicBezTo>
                    <a:pt x="1531" y="22"/>
                    <a:pt x="1485" y="16"/>
                    <a:pt x="1477" y="24"/>
                  </a:cubicBezTo>
                  <a:cubicBezTo>
                    <a:pt x="1469" y="32"/>
                    <a:pt x="1439" y="39"/>
                    <a:pt x="1439" y="39"/>
                  </a:cubicBezTo>
                  <a:cubicBezTo>
                    <a:pt x="1439" y="39"/>
                    <a:pt x="1390" y="39"/>
                    <a:pt x="1364" y="42"/>
                  </a:cubicBezTo>
                  <a:cubicBezTo>
                    <a:pt x="1338" y="45"/>
                    <a:pt x="1277" y="91"/>
                    <a:pt x="1235" y="97"/>
                  </a:cubicBezTo>
                  <a:cubicBezTo>
                    <a:pt x="1193" y="103"/>
                    <a:pt x="1141" y="107"/>
                    <a:pt x="1141" y="107"/>
                  </a:cubicBezTo>
                  <a:cubicBezTo>
                    <a:pt x="1141" y="107"/>
                    <a:pt x="1078" y="128"/>
                    <a:pt x="1081" y="133"/>
                  </a:cubicBezTo>
                  <a:cubicBezTo>
                    <a:pt x="1084" y="138"/>
                    <a:pt x="1105" y="149"/>
                    <a:pt x="1105" y="149"/>
                  </a:cubicBezTo>
                  <a:cubicBezTo>
                    <a:pt x="1105" y="149"/>
                    <a:pt x="1118" y="172"/>
                    <a:pt x="1112" y="175"/>
                  </a:cubicBezTo>
                  <a:cubicBezTo>
                    <a:pt x="1106" y="178"/>
                    <a:pt x="1097" y="187"/>
                    <a:pt x="1097" y="187"/>
                  </a:cubicBezTo>
                  <a:cubicBezTo>
                    <a:pt x="1157" y="188"/>
                    <a:pt x="1157" y="188"/>
                    <a:pt x="1157" y="188"/>
                  </a:cubicBezTo>
                  <a:cubicBezTo>
                    <a:pt x="1138" y="211"/>
                    <a:pt x="1138" y="211"/>
                    <a:pt x="1138" y="211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75" y="225"/>
                    <a:pt x="1175" y="225"/>
                    <a:pt x="1175" y="225"/>
                  </a:cubicBezTo>
                  <a:cubicBezTo>
                    <a:pt x="1139" y="224"/>
                    <a:pt x="1139" y="224"/>
                    <a:pt x="1139" y="224"/>
                  </a:cubicBezTo>
                  <a:cubicBezTo>
                    <a:pt x="1132" y="232"/>
                    <a:pt x="1132" y="232"/>
                    <a:pt x="1132" y="232"/>
                  </a:cubicBezTo>
                  <a:cubicBezTo>
                    <a:pt x="1110" y="232"/>
                    <a:pt x="1110" y="232"/>
                    <a:pt x="1110" y="232"/>
                  </a:cubicBezTo>
                  <a:cubicBezTo>
                    <a:pt x="1110" y="232"/>
                    <a:pt x="1076" y="238"/>
                    <a:pt x="1051" y="238"/>
                  </a:cubicBezTo>
                  <a:cubicBezTo>
                    <a:pt x="1026" y="238"/>
                    <a:pt x="1031" y="228"/>
                    <a:pt x="1045" y="223"/>
                  </a:cubicBezTo>
                  <a:cubicBezTo>
                    <a:pt x="1059" y="218"/>
                    <a:pt x="1017" y="215"/>
                    <a:pt x="1017" y="215"/>
                  </a:cubicBezTo>
                  <a:cubicBezTo>
                    <a:pt x="1017" y="215"/>
                    <a:pt x="969" y="213"/>
                    <a:pt x="967" y="221"/>
                  </a:cubicBezTo>
                  <a:cubicBezTo>
                    <a:pt x="965" y="229"/>
                    <a:pt x="969" y="234"/>
                    <a:pt x="969" y="234"/>
                  </a:cubicBezTo>
                  <a:cubicBezTo>
                    <a:pt x="969" y="234"/>
                    <a:pt x="934" y="236"/>
                    <a:pt x="911" y="239"/>
                  </a:cubicBezTo>
                  <a:cubicBezTo>
                    <a:pt x="888" y="242"/>
                    <a:pt x="820" y="255"/>
                    <a:pt x="837" y="261"/>
                  </a:cubicBezTo>
                  <a:cubicBezTo>
                    <a:pt x="854" y="267"/>
                    <a:pt x="877" y="270"/>
                    <a:pt x="877" y="270"/>
                  </a:cubicBezTo>
                  <a:cubicBezTo>
                    <a:pt x="848" y="280"/>
                    <a:pt x="848" y="280"/>
                    <a:pt x="848" y="280"/>
                  </a:cubicBezTo>
                  <a:cubicBezTo>
                    <a:pt x="840" y="307"/>
                    <a:pt x="840" y="307"/>
                    <a:pt x="840" y="307"/>
                  </a:cubicBezTo>
                  <a:cubicBezTo>
                    <a:pt x="840" y="307"/>
                    <a:pt x="864" y="311"/>
                    <a:pt x="880" y="311"/>
                  </a:cubicBezTo>
                  <a:cubicBezTo>
                    <a:pt x="896" y="311"/>
                    <a:pt x="910" y="308"/>
                    <a:pt x="910" y="308"/>
                  </a:cubicBezTo>
                  <a:cubicBezTo>
                    <a:pt x="939" y="316"/>
                    <a:pt x="939" y="316"/>
                    <a:pt x="939" y="316"/>
                  </a:cubicBezTo>
                  <a:cubicBezTo>
                    <a:pt x="948" y="304"/>
                    <a:pt x="948" y="304"/>
                    <a:pt x="948" y="304"/>
                  </a:cubicBezTo>
                  <a:cubicBezTo>
                    <a:pt x="957" y="315"/>
                    <a:pt x="957" y="315"/>
                    <a:pt x="957" y="315"/>
                  </a:cubicBezTo>
                  <a:cubicBezTo>
                    <a:pt x="957" y="315"/>
                    <a:pt x="989" y="297"/>
                    <a:pt x="994" y="297"/>
                  </a:cubicBezTo>
                  <a:cubicBezTo>
                    <a:pt x="999" y="297"/>
                    <a:pt x="1007" y="303"/>
                    <a:pt x="1017" y="299"/>
                  </a:cubicBezTo>
                  <a:cubicBezTo>
                    <a:pt x="1027" y="295"/>
                    <a:pt x="1045" y="281"/>
                    <a:pt x="1046" y="290"/>
                  </a:cubicBezTo>
                  <a:cubicBezTo>
                    <a:pt x="1047" y="299"/>
                    <a:pt x="1037" y="311"/>
                    <a:pt x="1037" y="311"/>
                  </a:cubicBezTo>
                  <a:cubicBezTo>
                    <a:pt x="999" y="312"/>
                    <a:pt x="999" y="312"/>
                    <a:pt x="999" y="312"/>
                  </a:cubicBezTo>
                  <a:cubicBezTo>
                    <a:pt x="1004" y="333"/>
                    <a:pt x="1004" y="333"/>
                    <a:pt x="1004" y="333"/>
                  </a:cubicBezTo>
                  <a:cubicBezTo>
                    <a:pt x="1004" y="333"/>
                    <a:pt x="976" y="360"/>
                    <a:pt x="958" y="361"/>
                  </a:cubicBezTo>
                  <a:cubicBezTo>
                    <a:pt x="940" y="362"/>
                    <a:pt x="920" y="362"/>
                    <a:pt x="920" y="362"/>
                  </a:cubicBezTo>
                  <a:cubicBezTo>
                    <a:pt x="910" y="350"/>
                    <a:pt x="910" y="350"/>
                    <a:pt x="910" y="350"/>
                  </a:cubicBezTo>
                  <a:cubicBezTo>
                    <a:pt x="898" y="357"/>
                    <a:pt x="898" y="357"/>
                    <a:pt x="898" y="357"/>
                  </a:cubicBezTo>
                  <a:cubicBezTo>
                    <a:pt x="898" y="365"/>
                    <a:pt x="898" y="365"/>
                    <a:pt x="898" y="365"/>
                  </a:cubicBezTo>
                  <a:cubicBezTo>
                    <a:pt x="898" y="365"/>
                    <a:pt x="857" y="389"/>
                    <a:pt x="844" y="381"/>
                  </a:cubicBezTo>
                  <a:cubicBezTo>
                    <a:pt x="831" y="373"/>
                    <a:pt x="824" y="371"/>
                    <a:pt x="824" y="371"/>
                  </a:cubicBezTo>
                  <a:cubicBezTo>
                    <a:pt x="762" y="406"/>
                    <a:pt x="762" y="406"/>
                    <a:pt x="762" y="406"/>
                  </a:cubicBezTo>
                  <a:cubicBezTo>
                    <a:pt x="748" y="418"/>
                    <a:pt x="748" y="418"/>
                    <a:pt x="748" y="418"/>
                  </a:cubicBezTo>
                  <a:cubicBezTo>
                    <a:pt x="745" y="404"/>
                    <a:pt x="745" y="404"/>
                    <a:pt x="745" y="404"/>
                  </a:cubicBezTo>
                  <a:cubicBezTo>
                    <a:pt x="745" y="404"/>
                    <a:pt x="720" y="415"/>
                    <a:pt x="706" y="420"/>
                  </a:cubicBezTo>
                  <a:cubicBezTo>
                    <a:pt x="692" y="425"/>
                    <a:pt x="682" y="440"/>
                    <a:pt x="682" y="440"/>
                  </a:cubicBezTo>
                  <a:cubicBezTo>
                    <a:pt x="662" y="434"/>
                    <a:pt x="662" y="434"/>
                    <a:pt x="662" y="434"/>
                  </a:cubicBezTo>
                  <a:cubicBezTo>
                    <a:pt x="662" y="447"/>
                    <a:pt x="662" y="447"/>
                    <a:pt x="662" y="447"/>
                  </a:cubicBezTo>
                  <a:cubicBezTo>
                    <a:pt x="662" y="447"/>
                    <a:pt x="649" y="441"/>
                    <a:pt x="646" y="447"/>
                  </a:cubicBezTo>
                  <a:cubicBezTo>
                    <a:pt x="643" y="453"/>
                    <a:pt x="643" y="462"/>
                    <a:pt x="643" y="462"/>
                  </a:cubicBezTo>
                  <a:cubicBezTo>
                    <a:pt x="636" y="471"/>
                    <a:pt x="636" y="471"/>
                    <a:pt x="636" y="471"/>
                  </a:cubicBezTo>
                  <a:cubicBezTo>
                    <a:pt x="676" y="457"/>
                    <a:pt x="676" y="457"/>
                    <a:pt x="676" y="457"/>
                  </a:cubicBezTo>
                  <a:cubicBezTo>
                    <a:pt x="661" y="469"/>
                    <a:pt x="661" y="469"/>
                    <a:pt x="661" y="469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48" y="483"/>
                    <a:pt x="648" y="483"/>
                    <a:pt x="648" y="483"/>
                  </a:cubicBezTo>
                  <a:cubicBezTo>
                    <a:pt x="648" y="483"/>
                    <a:pt x="698" y="482"/>
                    <a:pt x="689" y="491"/>
                  </a:cubicBezTo>
                  <a:cubicBezTo>
                    <a:pt x="680" y="500"/>
                    <a:pt x="658" y="498"/>
                    <a:pt x="658" y="498"/>
                  </a:cubicBezTo>
                  <a:cubicBezTo>
                    <a:pt x="641" y="502"/>
                    <a:pt x="641" y="502"/>
                    <a:pt x="641" y="502"/>
                  </a:cubicBezTo>
                  <a:cubicBezTo>
                    <a:pt x="649" y="494"/>
                    <a:pt x="649" y="494"/>
                    <a:pt x="649" y="494"/>
                  </a:cubicBezTo>
                  <a:cubicBezTo>
                    <a:pt x="640" y="489"/>
                    <a:pt x="640" y="489"/>
                    <a:pt x="640" y="489"/>
                  </a:cubicBezTo>
                  <a:cubicBezTo>
                    <a:pt x="640" y="489"/>
                    <a:pt x="611" y="500"/>
                    <a:pt x="612" y="503"/>
                  </a:cubicBezTo>
                  <a:cubicBezTo>
                    <a:pt x="613" y="506"/>
                    <a:pt x="619" y="510"/>
                    <a:pt x="619" y="510"/>
                  </a:cubicBezTo>
                  <a:cubicBezTo>
                    <a:pt x="619" y="510"/>
                    <a:pt x="608" y="537"/>
                    <a:pt x="612" y="538"/>
                  </a:cubicBezTo>
                  <a:cubicBezTo>
                    <a:pt x="616" y="539"/>
                    <a:pt x="659" y="536"/>
                    <a:pt x="659" y="536"/>
                  </a:cubicBezTo>
                  <a:cubicBezTo>
                    <a:pt x="691" y="518"/>
                    <a:pt x="691" y="518"/>
                    <a:pt x="691" y="518"/>
                  </a:cubicBezTo>
                  <a:cubicBezTo>
                    <a:pt x="738" y="499"/>
                    <a:pt x="738" y="499"/>
                    <a:pt x="738" y="499"/>
                  </a:cubicBezTo>
                  <a:cubicBezTo>
                    <a:pt x="738" y="499"/>
                    <a:pt x="694" y="520"/>
                    <a:pt x="689" y="528"/>
                  </a:cubicBezTo>
                  <a:cubicBezTo>
                    <a:pt x="684" y="536"/>
                    <a:pt x="685" y="552"/>
                    <a:pt x="678" y="554"/>
                  </a:cubicBezTo>
                  <a:cubicBezTo>
                    <a:pt x="671" y="556"/>
                    <a:pt x="659" y="549"/>
                    <a:pt x="653" y="558"/>
                  </a:cubicBezTo>
                  <a:cubicBezTo>
                    <a:pt x="647" y="567"/>
                    <a:pt x="643" y="577"/>
                    <a:pt x="638" y="582"/>
                  </a:cubicBezTo>
                  <a:cubicBezTo>
                    <a:pt x="633" y="587"/>
                    <a:pt x="618" y="596"/>
                    <a:pt x="618" y="596"/>
                  </a:cubicBezTo>
                  <a:cubicBezTo>
                    <a:pt x="654" y="592"/>
                    <a:pt x="654" y="592"/>
                    <a:pt x="654" y="592"/>
                  </a:cubicBezTo>
                  <a:cubicBezTo>
                    <a:pt x="647" y="604"/>
                    <a:pt x="647" y="604"/>
                    <a:pt x="647" y="604"/>
                  </a:cubicBezTo>
                  <a:cubicBezTo>
                    <a:pt x="647" y="604"/>
                    <a:pt x="677" y="573"/>
                    <a:pt x="694" y="576"/>
                  </a:cubicBezTo>
                  <a:cubicBezTo>
                    <a:pt x="711" y="579"/>
                    <a:pt x="702" y="584"/>
                    <a:pt x="702" y="584"/>
                  </a:cubicBezTo>
                  <a:cubicBezTo>
                    <a:pt x="718" y="582"/>
                    <a:pt x="718" y="582"/>
                    <a:pt x="718" y="582"/>
                  </a:cubicBezTo>
                  <a:cubicBezTo>
                    <a:pt x="718" y="582"/>
                    <a:pt x="705" y="607"/>
                    <a:pt x="719" y="607"/>
                  </a:cubicBezTo>
                  <a:cubicBezTo>
                    <a:pt x="733" y="607"/>
                    <a:pt x="750" y="585"/>
                    <a:pt x="750" y="585"/>
                  </a:cubicBezTo>
                  <a:cubicBezTo>
                    <a:pt x="778" y="572"/>
                    <a:pt x="778" y="572"/>
                    <a:pt x="778" y="572"/>
                  </a:cubicBezTo>
                  <a:cubicBezTo>
                    <a:pt x="785" y="580"/>
                    <a:pt x="785" y="580"/>
                    <a:pt x="785" y="580"/>
                  </a:cubicBezTo>
                  <a:cubicBezTo>
                    <a:pt x="765" y="582"/>
                    <a:pt x="765" y="582"/>
                    <a:pt x="765" y="582"/>
                  </a:cubicBezTo>
                  <a:cubicBezTo>
                    <a:pt x="765" y="582"/>
                    <a:pt x="751" y="596"/>
                    <a:pt x="762" y="596"/>
                  </a:cubicBezTo>
                  <a:cubicBezTo>
                    <a:pt x="773" y="596"/>
                    <a:pt x="819" y="583"/>
                    <a:pt x="819" y="583"/>
                  </a:cubicBezTo>
                  <a:cubicBezTo>
                    <a:pt x="847" y="571"/>
                    <a:pt x="847" y="571"/>
                    <a:pt x="847" y="571"/>
                  </a:cubicBezTo>
                  <a:cubicBezTo>
                    <a:pt x="815" y="588"/>
                    <a:pt x="815" y="588"/>
                    <a:pt x="815" y="588"/>
                  </a:cubicBezTo>
                  <a:cubicBezTo>
                    <a:pt x="815" y="598"/>
                    <a:pt x="815" y="598"/>
                    <a:pt x="815" y="598"/>
                  </a:cubicBezTo>
                  <a:cubicBezTo>
                    <a:pt x="815" y="598"/>
                    <a:pt x="797" y="599"/>
                    <a:pt x="786" y="603"/>
                  </a:cubicBezTo>
                  <a:cubicBezTo>
                    <a:pt x="775" y="607"/>
                    <a:pt x="767" y="620"/>
                    <a:pt x="767" y="620"/>
                  </a:cubicBezTo>
                  <a:cubicBezTo>
                    <a:pt x="747" y="622"/>
                    <a:pt x="747" y="622"/>
                    <a:pt x="747" y="622"/>
                  </a:cubicBezTo>
                  <a:cubicBezTo>
                    <a:pt x="723" y="642"/>
                    <a:pt x="723" y="642"/>
                    <a:pt x="723" y="642"/>
                  </a:cubicBezTo>
                  <a:cubicBezTo>
                    <a:pt x="724" y="651"/>
                    <a:pt x="724" y="651"/>
                    <a:pt x="724" y="651"/>
                  </a:cubicBezTo>
                  <a:cubicBezTo>
                    <a:pt x="697" y="654"/>
                    <a:pt x="697" y="654"/>
                    <a:pt x="697" y="654"/>
                  </a:cubicBezTo>
                  <a:cubicBezTo>
                    <a:pt x="697" y="654"/>
                    <a:pt x="652" y="663"/>
                    <a:pt x="647" y="670"/>
                  </a:cubicBezTo>
                  <a:cubicBezTo>
                    <a:pt x="642" y="677"/>
                    <a:pt x="645" y="691"/>
                    <a:pt x="636" y="691"/>
                  </a:cubicBezTo>
                  <a:cubicBezTo>
                    <a:pt x="627" y="691"/>
                    <a:pt x="600" y="691"/>
                    <a:pt x="584" y="693"/>
                  </a:cubicBezTo>
                  <a:cubicBezTo>
                    <a:pt x="568" y="695"/>
                    <a:pt x="515" y="734"/>
                    <a:pt x="515" y="734"/>
                  </a:cubicBezTo>
                  <a:cubicBezTo>
                    <a:pt x="500" y="737"/>
                    <a:pt x="500" y="737"/>
                    <a:pt x="500" y="737"/>
                  </a:cubicBezTo>
                  <a:cubicBezTo>
                    <a:pt x="491" y="747"/>
                    <a:pt x="491" y="747"/>
                    <a:pt x="491" y="747"/>
                  </a:cubicBezTo>
                  <a:cubicBezTo>
                    <a:pt x="490" y="736"/>
                    <a:pt x="490" y="736"/>
                    <a:pt x="490" y="736"/>
                  </a:cubicBezTo>
                  <a:cubicBezTo>
                    <a:pt x="490" y="736"/>
                    <a:pt x="458" y="732"/>
                    <a:pt x="447" y="738"/>
                  </a:cubicBezTo>
                  <a:cubicBezTo>
                    <a:pt x="436" y="744"/>
                    <a:pt x="412" y="754"/>
                    <a:pt x="412" y="754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04" y="760"/>
                    <a:pt x="404" y="760"/>
                    <a:pt x="404" y="760"/>
                  </a:cubicBezTo>
                  <a:cubicBezTo>
                    <a:pt x="385" y="763"/>
                    <a:pt x="385" y="763"/>
                    <a:pt x="385" y="763"/>
                  </a:cubicBezTo>
                  <a:cubicBezTo>
                    <a:pt x="378" y="769"/>
                    <a:pt x="378" y="769"/>
                    <a:pt x="378" y="769"/>
                  </a:cubicBezTo>
                  <a:cubicBezTo>
                    <a:pt x="362" y="767"/>
                    <a:pt x="362" y="767"/>
                    <a:pt x="362" y="767"/>
                  </a:cubicBezTo>
                  <a:cubicBezTo>
                    <a:pt x="345" y="782"/>
                    <a:pt x="345" y="782"/>
                    <a:pt x="345" y="782"/>
                  </a:cubicBezTo>
                  <a:cubicBezTo>
                    <a:pt x="350" y="788"/>
                    <a:pt x="350" y="788"/>
                    <a:pt x="350" y="788"/>
                  </a:cubicBezTo>
                  <a:cubicBezTo>
                    <a:pt x="360" y="776"/>
                    <a:pt x="360" y="776"/>
                    <a:pt x="360" y="776"/>
                  </a:cubicBezTo>
                  <a:cubicBezTo>
                    <a:pt x="373" y="783"/>
                    <a:pt x="373" y="783"/>
                    <a:pt x="373" y="783"/>
                  </a:cubicBezTo>
                  <a:cubicBezTo>
                    <a:pt x="387" y="771"/>
                    <a:pt x="387" y="771"/>
                    <a:pt x="387" y="771"/>
                  </a:cubicBezTo>
                  <a:cubicBezTo>
                    <a:pt x="388" y="779"/>
                    <a:pt x="388" y="779"/>
                    <a:pt x="388" y="779"/>
                  </a:cubicBezTo>
                  <a:cubicBezTo>
                    <a:pt x="388" y="779"/>
                    <a:pt x="409" y="778"/>
                    <a:pt x="417" y="771"/>
                  </a:cubicBezTo>
                  <a:cubicBezTo>
                    <a:pt x="425" y="764"/>
                    <a:pt x="441" y="750"/>
                    <a:pt x="450" y="748"/>
                  </a:cubicBezTo>
                  <a:cubicBezTo>
                    <a:pt x="459" y="746"/>
                    <a:pt x="451" y="762"/>
                    <a:pt x="464" y="762"/>
                  </a:cubicBezTo>
                  <a:cubicBezTo>
                    <a:pt x="477" y="762"/>
                    <a:pt x="514" y="746"/>
                    <a:pt x="514" y="746"/>
                  </a:cubicBezTo>
                  <a:cubicBezTo>
                    <a:pt x="536" y="752"/>
                    <a:pt x="536" y="752"/>
                    <a:pt x="536" y="752"/>
                  </a:cubicBezTo>
                  <a:cubicBezTo>
                    <a:pt x="548" y="740"/>
                    <a:pt x="548" y="740"/>
                    <a:pt x="548" y="740"/>
                  </a:cubicBezTo>
                  <a:cubicBezTo>
                    <a:pt x="548" y="740"/>
                    <a:pt x="585" y="738"/>
                    <a:pt x="596" y="729"/>
                  </a:cubicBezTo>
                  <a:cubicBezTo>
                    <a:pt x="607" y="720"/>
                    <a:pt x="619" y="706"/>
                    <a:pt x="628" y="705"/>
                  </a:cubicBezTo>
                  <a:cubicBezTo>
                    <a:pt x="637" y="704"/>
                    <a:pt x="649" y="704"/>
                    <a:pt x="649" y="704"/>
                  </a:cubicBezTo>
                  <a:cubicBezTo>
                    <a:pt x="653" y="697"/>
                    <a:pt x="653" y="697"/>
                    <a:pt x="653" y="697"/>
                  </a:cubicBezTo>
                  <a:cubicBezTo>
                    <a:pt x="677" y="697"/>
                    <a:pt x="677" y="697"/>
                    <a:pt x="677" y="697"/>
                  </a:cubicBezTo>
                  <a:cubicBezTo>
                    <a:pt x="684" y="691"/>
                    <a:pt x="684" y="691"/>
                    <a:pt x="684" y="691"/>
                  </a:cubicBezTo>
                  <a:cubicBezTo>
                    <a:pt x="684" y="691"/>
                    <a:pt x="717" y="684"/>
                    <a:pt x="732" y="677"/>
                  </a:cubicBezTo>
                  <a:cubicBezTo>
                    <a:pt x="747" y="670"/>
                    <a:pt x="762" y="656"/>
                    <a:pt x="762" y="656"/>
                  </a:cubicBezTo>
                  <a:cubicBezTo>
                    <a:pt x="803" y="650"/>
                    <a:pt x="803" y="650"/>
                    <a:pt x="803" y="650"/>
                  </a:cubicBezTo>
                  <a:cubicBezTo>
                    <a:pt x="841" y="628"/>
                    <a:pt x="841" y="628"/>
                    <a:pt x="841" y="628"/>
                  </a:cubicBezTo>
                  <a:cubicBezTo>
                    <a:pt x="841" y="628"/>
                    <a:pt x="885" y="627"/>
                    <a:pt x="892" y="620"/>
                  </a:cubicBezTo>
                  <a:cubicBezTo>
                    <a:pt x="899" y="613"/>
                    <a:pt x="912" y="601"/>
                    <a:pt x="912" y="601"/>
                  </a:cubicBezTo>
                  <a:cubicBezTo>
                    <a:pt x="912" y="601"/>
                    <a:pt x="954" y="594"/>
                    <a:pt x="958" y="586"/>
                  </a:cubicBezTo>
                  <a:cubicBezTo>
                    <a:pt x="962" y="578"/>
                    <a:pt x="947" y="578"/>
                    <a:pt x="947" y="578"/>
                  </a:cubicBezTo>
                  <a:cubicBezTo>
                    <a:pt x="947" y="578"/>
                    <a:pt x="970" y="562"/>
                    <a:pt x="979" y="557"/>
                  </a:cubicBezTo>
                  <a:cubicBezTo>
                    <a:pt x="988" y="552"/>
                    <a:pt x="1015" y="545"/>
                    <a:pt x="1015" y="545"/>
                  </a:cubicBezTo>
                  <a:cubicBezTo>
                    <a:pt x="1066" y="526"/>
                    <a:pt x="1066" y="526"/>
                    <a:pt x="1066" y="526"/>
                  </a:cubicBezTo>
                  <a:cubicBezTo>
                    <a:pt x="1060" y="513"/>
                    <a:pt x="1060" y="513"/>
                    <a:pt x="1060" y="513"/>
                  </a:cubicBezTo>
                  <a:cubicBezTo>
                    <a:pt x="1060" y="513"/>
                    <a:pt x="1083" y="519"/>
                    <a:pt x="1090" y="514"/>
                  </a:cubicBezTo>
                  <a:cubicBezTo>
                    <a:pt x="1097" y="509"/>
                    <a:pt x="1130" y="494"/>
                    <a:pt x="1130" y="494"/>
                  </a:cubicBezTo>
                  <a:cubicBezTo>
                    <a:pt x="1130" y="494"/>
                    <a:pt x="1188" y="470"/>
                    <a:pt x="1196" y="467"/>
                  </a:cubicBezTo>
                  <a:cubicBezTo>
                    <a:pt x="1204" y="464"/>
                    <a:pt x="1234" y="485"/>
                    <a:pt x="1234" y="485"/>
                  </a:cubicBezTo>
                  <a:cubicBezTo>
                    <a:pt x="1210" y="485"/>
                    <a:pt x="1210" y="485"/>
                    <a:pt x="1210" y="485"/>
                  </a:cubicBezTo>
                  <a:cubicBezTo>
                    <a:pt x="1197" y="477"/>
                    <a:pt x="1197" y="477"/>
                    <a:pt x="1197" y="477"/>
                  </a:cubicBezTo>
                  <a:cubicBezTo>
                    <a:pt x="1174" y="493"/>
                    <a:pt x="1174" y="493"/>
                    <a:pt x="1174" y="493"/>
                  </a:cubicBezTo>
                  <a:cubicBezTo>
                    <a:pt x="1151" y="493"/>
                    <a:pt x="1151" y="493"/>
                    <a:pt x="1151" y="493"/>
                  </a:cubicBezTo>
                  <a:cubicBezTo>
                    <a:pt x="1151" y="493"/>
                    <a:pt x="1128" y="515"/>
                    <a:pt x="1119" y="518"/>
                  </a:cubicBezTo>
                  <a:cubicBezTo>
                    <a:pt x="1110" y="521"/>
                    <a:pt x="1071" y="527"/>
                    <a:pt x="1075" y="536"/>
                  </a:cubicBezTo>
                  <a:cubicBezTo>
                    <a:pt x="1079" y="545"/>
                    <a:pt x="1099" y="544"/>
                    <a:pt x="1099" y="544"/>
                  </a:cubicBezTo>
                  <a:cubicBezTo>
                    <a:pt x="1099" y="544"/>
                    <a:pt x="1079" y="552"/>
                    <a:pt x="1075" y="552"/>
                  </a:cubicBezTo>
                  <a:cubicBezTo>
                    <a:pt x="1071" y="552"/>
                    <a:pt x="1042" y="551"/>
                    <a:pt x="1042" y="557"/>
                  </a:cubicBezTo>
                  <a:cubicBezTo>
                    <a:pt x="1042" y="563"/>
                    <a:pt x="1045" y="576"/>
                    <a:pt x="1065" y="568"/>
                  </a:cubicBezTo>
                  <a:cubicBezTo>
                    <a:pt x="1085" y="560"/>
                    <a:pt x="1129" y="536"/>
                    <a:pt x="1147" y="532"/>
                  </a:cubicBezTo>
                  <a:cubicBezTo>
                    <a:pt x="1165" y="528"/>
                    <a:pt x="1197" y="537"/>
                    <a:pt x="1211" y="530"/>
                  </a:cubicBezTo>
                  <a:cubicBezTo>
                    <a:pt x="1225" y="523"/>
                    <a:pt x="1247" y="502"/>
                    <a:pt x="1247" y="502"/>
                  </a:cubicBezTo>
                  <a:cubicBezTo>
                    <a:pt x="1245" y="492"/>
                    <a:pt x="1245" y="492"/>
                    <a:pt x="1245" y="492"/>
                  </a:cubicBezTo>
                  <a:cubicBezTo>
                    <a:pt x="1245" y="492"/>
                    <a:pt x="1299" y="471"/>
                    <a:pt x="1309" y="472"/>
                  </a:cubicBezTo>
                  <a:cubicBezTo>
                    <a:pt x="1319" y="473"/>
                    <a:pt x="1322" y="483"/>
                    <a:pt x="1322" y="483"/>
                  </a:cubicBezTo>
                  <a:cubicBezTo>
                    <a:pt x="1364" y="470"/>
                    <a:pt x="1364" y="470"/>
                    <a:pt x="1364" y="470"/>
                  </a:cubicBezTo>
                  <a:cubicBezTo>
                    <a:pt x="1336" y="492"/>
                    <a:pt x="1336" y="492"/>
                    <a:pt x="1336" y="492"/>
                  </a:cubicBezTo>
                  <a:cubicBezTo>
                    <a:pt x="1350" y="498"/>
                    <a:pt x="1350" y="498"/>
                    <a:pt x="1350" y="498"/>
                  </a:cubicBezTo>
                  <a:cubicBezTo>
                    <a:pt x="1350" y="498"/>
                    <a:pt x="1346" y="510"/>
                    <a:pt x="1350" y="510"/>
                  </a:cubicBezTo>
                  <a:cubicBezTo>
                    <a:pt x="1354" y="510"/>
                    <a:pt x="1395" y="485"/>
                    <a:pt x="1395" y="485"/>
                  </a:cubicBezTo>
                  <a:cubicBezTo>
                    <a:pt x="1395" y="485"/>
                    <a:pt x="1356" y="515"/>
                    <a:pt x="1367" y="520"/>
                  </a:cubicBezTo>
                  <a:cubicBezTo>
                    <a:pt x="1378" y="525"/>
                    <a:pt x="1406" y="526"/>
                    <a:pt x="1406" y="526"/>
                  </a:cubicBezTo>
                  <a:cubicBezTo>
                    <a:pt x="1472" y="532"/>
                    <a:pt x="1472" y="532"/>
                    <a:pt x="1472" y="532"/>
                  </a:cubicBezTo>
                  <a:cubicBezTo>
                    <a:pt x="1493" y="519"/>
                    <a:pt x="1493" y="519"/>
                    <a:pt x="1493" y="519"/>
                  </a:cubicBezTo>
                  <a:cubicBezTo>
                    <a:pt x="1493" y="519"/>
                    <a:pt x="1480" y="541"/>
                    <a:pt x="1491" y="542"/>
                  </a:cubicBezTo>
                  <a:cubicBezTo>
                    <a:pt x="1502" y="543"/>
                    <a:pt x="1534" y="541"/>
                    <a:pt x="1534" y="541"/>
                  </a:cubicBezTo>
                  <a:cubicBezTo>
                    <a:pt x="1556" y="535"/>
                    <a:pt x="1556" y="535"/>
                    <a:pt x="1556" y="535"/>
                  </a:cubicBezTo>
                  <a:cubicBezTo>
                    <a:pt x="1556" y="535"/>
                    <a:pt x="1517" y="549"/>
                    <a:pt x="1520" y="557"/>
                  </a:cubicBezTo>
                  <a:cubicBezTo>
                    <a:pt x="1523" y="565"/>
                    <a:pt x="1541" y="573"/>
                    <a:pt x="1541" y="573"/>
                  </a:cubicBezTo>
                  <a:cubicBezTo>
                    <a:pt x="1541" y="573"/>
                    <a:pt x="1539" y="609"/>
                    <a:pt x="1551" y="609"/>
                  </a:cubicBezTo>
                  <a:cubicBezTo>
                    <a:pt x="1563" y="609"/>
                    <a:pt x="1594" y="606"/>
                    <a:pt x="1594" y="606"/>
                  </a:cubicBezTo>
                  <a:cubicBezTo>
                    <a:pt x="1587" y="585"/>
                    <a:pt x="1587" y="585"/>
                    <a:pt x="1587" y="585"/>
                  </a:cubicBezTo>
                  <a:cubicBezTo>
                    <a:pt x="1601" y="580"/>
                    <a:pt x="1601" y="580"/>
                    <a:pt x="1601" y="580"/>
                  </a:cubicBezTo>
                  <a:cubicBezTo>
                    <a:pt x="1610" y="591"/>
                    <a:pt x="1610" y="591"/>
                    <a:pt x="1610" y="591"/>
                  </a:cubicBezTo>
                  <a:cubicBezTo>
                    <a:pt x="1630" y="585"/>
                    <a:pt x="1630" y="585"/>
                    <a:pt x="1630" y="585"/>
                  </a:cubicBezTo>
                  <a:cubicBezTo>
                    <a:pt x="1630" y="585"/>
                    <a:pt x="1610" y="608"/>
                    <a:pt x="1621" y="612"/>
                  </a:cubicBezTo>
                  <a:cubicBezTo>
                    <a:pt x="1632" y="616"/>
                    <a:pt x="1650" y="586"/>
                    <a:pt x="1650" y="586"/>
                  </a:cubicBezTo>
                  <a:cubicBezTo>
                    <a:pt x="1670" y="557"/>
                    <a:pt x="1670" y="557"/>
                    <a:pt x="1670" y="557"/>
                  </a:cubicBezTo>
                  <a:cubicBezTo>
                    <a:pt x="1652" y="599"/>
                    <a:pt x="1652" y="599"/>
                    <a:pt x="1652" y="599"/>
                  </a:cubicBezTo>
                  <a:cubicBezTo>
                    <a:pt x="1656" y="615"/>
                    <a:pt x="1656" y="615"/>
                    <a:pt x="1656" y="615"/>
                  </a:cubicBezTo>
                  <a:cubicBezTo>
                    <a:pt x="1679" y="607"/>
                    <a:pt x="1679" y="607"/>
                    <a:pt x="1679" y="607"/>
                  </a:cubicBezTo>
                  <a:cubicBezTo>
                    <a:pt x="1664" y="623"/>
                    <a:pt x="1664" y="623"/>
                    <a:pt x="1664" y="623"/>
                  </a:cubicBezTo>
                  <a:cubicBezTo>
                    <a:pt x="1681" y="638"/>
                    <a:pt x="1681" y="638"/>
                    <a:pt x="1681" y="638"/>
                  </a:cubicBezTo>
                  <a:cubicBezTo>
                    <a:pt x="1669" y="635"/>
                    <a:pt x="1669" y="635"/>
                    <a:pt x="1669" y="635"/>
                  </a:cubicBezTo>
                  <a:cubicBezTo>
                    <a:pt x="1667" y="647"/>
                    <a:pt x="1667" y="647"/>
                    <a:pt x="1667" y="647"/>
                  </a:cubicBezTo>
                  <a:cubicBezTo>
                    <a:pt x="1648" y="660"/>
                    <a:pt x="1648" y="660"/>
                    <a:pt x="1648" y="660"/>
                  </a:cubicBezTo>
                  <a:cubicBezTo>
                    <a:pt x="1636" y="670"/>
                    <a:pt x="1636" y="670"/>
                    <a:pt x="1636" y="670"/>
                  </a:cubicBezTo>
                  <a:cubicBezTo>
                    <a:pt x="1657" y="681"/>
                    <a:pt x="1657" y="681"/>
                    <a:pt x="1657" y="681"/>
                  </a:cubicBezTo>
                  <a:cubicBezTo>
                    <a:pt x="1654" y="702"/>
                    <a:pt x="1654" y="702"/>
                    <a:pt x="1654" y="702"/>
                  </a:cubicBezTo>
                  <a:cubicBezTo>
                    <a:pt x="1642" y="714"/>
                    <a:pt x="1642" y="714"/>
                    <a:pt x="1642" y="714"/>
                  </a:cubicBezTo>
                  <a:cubicBezTo>
                    <a:pt x="1654" y="719"/>
                    <a:pt x="1654" y="719"/>
                    <a:pt x="1654" y="719"/>
                  </a:cubicBezTo>
                  <a:cubicBezTo>
                    <a:pt x="1639" y="733"/>
                    <a:pt x="1639" y="733"/>
                    <a:pt x="1639" y="733"/>
                  </a:cubicBezTo>
                  <a:cubicBezTo>
                    <a:pt x="1660" y="733"/>
                    <a:pt x="1660" y="733"/>
                    <a:pt x="1660" y="733"/>
                  </a:cubicBezTo>
                  <a:cubicBezTo>
                    <a:pt x="1685" y="724"/>
                    <a:pt x="1685" y="724"/>
                    <a:pt x="1685" y="724"/>
                  </a:cubicBezTo>
                  <a:cubicBezTo>
                    <a:pt x="1663" y="750"/>
                    <a:pt x="1663" y="750"/>
                    <a:pt x="1663" y="750"/>
                  </a:cubicBezTo>
                  <a:cubicBezTo>
                    <a:pt x="1652" y="760"/>
                    <a:pt x="1652" y="760"/>
                    <a:pt x="1652" y="760"/>
                  </a:cubicBezTo>
                  <a:cubicBezTo>
                    <a:pt x="1667" y="765"/>
                    <a:pt x="1667" y="765"/>
                    <a:pt x="1667" y="765"/>
                  </a:cubicBezTo>
                  <a:cubicBezTo>
                    <a:pt x="1637" y="777"/>
                    <a:pt x="1637" y="777"/>
                    <a:pt x="1637" y="777"/>
                  </a:cubicBezTo>
                  <a:cubicBezTo>
                    <a:pt x="1623" y="785"/>
                    <a:pt x="1623" y="785"/>
                    <a:pt x="1623" y="785"/>
                  </a:cubicBezTo>
                  <a:cubicBezTo>
                    <a:pt x="1637" y="791"/>
                    <a:pt x="1637" y="791"/>
                    <a:pt x="1637" y="791"/>
                  </a:cubicBezTo>
                  <a:cubicBezTo>
                    <a:pt x="1637" y="791"/>
                    <a:pt x="1636" y="794"/>
                    <a:pt x="1634" y="798"/>
                  </a:cubicBezTo>
                  <a:cubicBezTo>
                    <a:pt x="1655" y="788"/>
                    <a:pt x="1676" y="777"/>
                    <a:pt x="1680" y="773"/>
                  </a:cubicBezTo>
                  <a:cubicBezTo>
                    <a:pt x="1690" y="763"/>
                    <a:pt x="1690" y="747"/>
                    <a:pt x="1690" y="747"/>
                  </a:cubicBezTo>
                  <a:cubicBezTo>
                    <a:pt x="1690" y="747"/>
                    <a:pt x="1717" y="736"/>
                    <a:pt x="1717" y="728"/>
                  </a:cubicBezTo>
                  <a:cubicBezTo>
                    <a:pt x="1717" y="720"/>
                    <a:pt x="1707" y="721"/>
                    <a:pt x="1707" y="721"/>
                  </a:cubicBezTo>
                  <a:close/>
                  <a:moveTo>
                    <a:pt x="1598" y="704"/>
                  </a:moveTo>
                  <a:cubicBezTo>
                    <a:pt x="1604" y="718"/>
                    <a:pt x="1624" y="696"/>
                    <a:pt x="1624" y="696"/>
                  </a:cubicBezTo>
                  <a:cubicBezTo>
                    <a:pt x="1639" y="692"/>
                    <a:pt x="1639" y="692"/>
                    <a:pt x="1639" y="692"/>
                  </a:cubicBezTo>
                  <a:cubicBezTo>
                    <a:pt x="1638" y="682"/>
                    <a:pt x="1638" y="682"/>
                    <a:pt x="1638" y="682"/>
                  </a:cubicBezTo>
                  <a:cubicBezTo>
                    <a:pt x="1620" y="679"/>
                    <a:pt x="1620" y="679"/>
                    <a:pt x="1620" y="679"/>
                  </a:cubicBezTo>
                  <a:cubicBezTo>
                    <a:pt x="1620" y="679"/>
                    <a:pt x="1595" y="697"/>
                    <a:pt x="1598" y="704"/>
                  </a:cubicBezTo>
                  <a:close/>
                  <a:moveTo>
                    <a:pt x="1583" y="656"/>
                  </a:moveTo>
                  <a:cubicBezTo>
                    <a:pt x="1576" y="653"/>
                    <a:pt x="1559" y="664"/>
                    <a:pt x="1558" y="670"/>
                  </a:cubicBezTo>
                  <a:cubicBezTo>
                    <a:pt x="1557" y="676"/>
                    <a:pt x="1550" y="689"/>
                    <a:pt x="1550" y="689"/>
                  </a:cubicBezTo>
                  <a:cubicBezTo>
                    <a:pt x="1549" y="698"/>
                    <a:pt x="1549" y="698"/>
                    <a:pt x="1549" y="698"/>
                  </a:cubicBezTo>
                  <a:cubicBezTo>
                    <a:pt x="1549" y="698"/>
                    <a:pt x="1541" y="702"/>
                    <a:pt x="1540" y="709"/>
                  </a:cubicBezTo>
                  <a:cubicBezTo>
                    <a:pt x="1539" y="716"/>
                    <a:pt x="1546" y="720"/>
                    <a:pt x="1546" y="720"/>
                  </a:cubicBezTo>
                  <a:cubicBezTo>
                    <a:pt x="1546" y="720"/>
                    <a:pt x="1559" y="700"/>
                    <a:pt x="1576" y="687"/>
                  </a:cubicBezTo>
                  <a:cubicBezTo>
                    <a:pt x="1593" y="674"/>
                    <a:pt x="1590" y="659"/>
                    <a:pt x="1583" y="656"/>
                  </a:cubicBezTo>
                  <a:close/>
                  <a:moveTo>
                    <a:pt x="525" y="542"/>
                  </a:moveTo>
                  <a:cubicBezTo>
                    <a:pt x="547" y="540"/>
                    <a:pt x="594" y="519"/>
                    <a:pt x="578" y="515"/>
                  </a:cubicBezTo>
                  <a:cubicBezTo>
                    <a:pt x="561" y="510"/>
                    <a:pt x="539" y="507"/>
                    <a:pt x="533" y="513"/>
                  </a:cubicBezTo>
                  <a:cubicBezTo>
                    <a:pt x="527" y="519"/>
                    <a:pt x="514" y="506"/>
                    <a:pt x="510" y="517"/>
                  </a:cubicBezTo>
                  <a:cubicBezTo>
                    <a:pt x="507" y="528"/>
                    <a:pt x="513" y="543"/>
                    <a:pt x="525" y="542"/>
                  </a:cubicBezTo>
                  <a:close/>
                  <a:moveTo>
                    <a:pt x="0" y="886"/>
                  </a:moveTo>
                  <a:cubicBezTo>
                    <a:pt x="41" y="880"/>
                    <a:pt x="41" y="880"/>
                    <a:pt x="41" y="880"/>
                  </a:cubicBezTo>
                  <a:cubicBezTo>
                    <a:pt x="49" y="869"/>
                    <a:pt x="49" y="869"/>
                    <a:pt x="49" y="869"/>
                  </a:cubicBezTo>
                  <a:cubicBezTo>
                    <a:pt x="90" y="863"/>
                    <a:pt x="90" y="863"/>
                    <a:pt x="90" y="863"/>
                  </a:cubicBezTo>
                  <a:cubicBezTo>
                    <a:pt x="76" y="849"/>
                    <a:pt x="76" y="849"/>
                    <a:pt x="76" y="849"/>
                  </a:cubicBezTo>
                  <a:lnTo>
                    <a:pt x="0" y="886"/>
                  </a:lnTo>
                  <a:close/>
                  <a:moveTo>
                    <a:pt x="908" y="635"/>
                  </a:moveTo>
                  <a:cubicBezTo>
                    <a:pt x="905" y="636"/>
                    <a:pt x="892" y="641"/>
                    <a:pt x="892" y="641"/>
                  </a:cubicBezTo>
                  <a:cubicBezTo>
                    <a:pt x="892" y="641"/>
                    <a:pt x="884" y="634"/>
                    <a:pt x="879" y="635"/>
                  </a:cubicBezTo>
                  <a:cubicBezTo>
                    <a:pt x="874" y="636"/>
                    <a:pt x="875" y="651"/>
                    <a:pt x="875" y="651"/>
                  </a:cubicBezTo>
                  <a:cubicBezTo>
                    <a:pt x="859" y="663"/>
                    <a:pt x="859" y="663"/>
                    <a:pt x="859" y="663"/>
                  </a:cubicBezTo>
                  <a:cubicBezTo>
                    <a:pt x="859" y="646"/>
                    <a:pt x="859" y="646"/>
                    <a:pt x="859" y="646"/>
                  </a:cubicBezTo>
                  <a:cubicBezTo>
                    <a:pt x="859" y="646"/>
                    <a:pt x="845" y="641"/>
                    <a:pt x="831" y="654"/>
                  </a:cubicBezTo>
                  <a:cubicBezTo>
                    <a:pt x="831" y="654"/>
                    <a:pt x="814" y="665"/>
                    <a:pt x="811" y="672"/>
                  </a:cubicBezTo>
                  <a:cubicBezTo>
                    <a:pt x="809" y="680"/>
                    <a:pt x="831" y="681"/>
                    <a:pt x="831" y="681"/>
                  </a:cubicBezTo>
                  <a:cubicBezTo>
                    <a:pt x="831" y="681"/>
                    <a:pt x="861" y="681"/>
                    <a:pt x="872" y="676"/>
                  </a:cubicBezTo>
                  <a:cubicBezTo>
                    <a:pt x="884" y="671"/>
                    <a:pt x="881" y="664"/>
                    <a:pt x="881" y="664"/>
                  </a:cubicBezTo>
                  <a:cubicBezTo>
                    <a:pt x="899" y="661"/>
                    <a:pt x="899" y="661"/>
                    <a:pt x="899" y="661"/>
                  </a:cubicBezTo>
                  <a:cubicBezTo>
                    <a:pt x="900" y="655"/>
                    <a:pt x="900" y="655"/>
                    <a:pt x="900" y="655"/>
                  </a:cubicBezTo>
                  <a:cubicBezTo>
                    <a:pt x="925" y="654"/>
                    <a:pt x="925" y="654"/>
                    <a:pt x="925" y="654"/>
                  </a:cubicBezTo>
                  <a:cubicBezTo>
                    <a:pt x="931" y="638"/>
                    <a:pt x="931" y="638"/>
                    <a:pt x="931" y="638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640"/>
                    <a:pt x="912" y="634"/>
                    <a:pt x="908" y="635"/>
                  </a:cubicBezTo>
                  <a:close/>
                  <a:moveTo>
                    <a:pt x="107" y="860"/>
                  </a:moveTo>
                  <a:cubicBezTo>
                    <a:pt x="135" y="859"/>
                    <a:pt x="135" y="859"/>
                    <a:pt x="135" y="859"/>
                  </a:cubicBezTo>
                  <a:cubicBezTo>
                    <a:pt x="161" y="840"/>
                    <a:pt x="161" y="840"/>
                    <a:pt x="161" y="840"/>
                  </a:cubicBezTo>
                  <a:cubicBezTo>
                    <a:pt x="152" y="829"/>
                    <a:pt x="152" y="829"/>
                    <a:pt x="152" y="829"/>
                  </a:cubicBezTo>
                  <a:lnTo>
                    <a:pt x="107" y="860"/>
                  </a:lnTo>
                  <a:close/>
                  <a:moveTo>
                    <a:pt x="1646" y="762"/>
                  </a:moveTo>
                  <a:cubicBezTo>
                    <a:pt x="1652" y="749"/>
                    <a:pt x="1637" y="734"/>
                    <a:pt x="1627" y="744"/>
                  </a:cubicBezTo>
                  <a:cubicBezTo>
                    <a:pt x="1617" y="754"/>
                    <a:pt x="1611" y="784"/>
                    <a:pt x="1611" y="784"/>
                  </a:cubicBezTo>
                  <a:cubicBezTo>
                    <a:pt x="1611" y="784"/>
                    <a:pt x="1624" y="773"/>
                    <a:pt x="1629" y="773"/>
                  </a:cubicBezTo>
                  <a:cubicBezTo>
                    <a:pt x="1634" y="773"/>
                    <a:pt x="1640" y="775"/>
                    <a:pt x="1646" y="762"/>
                  </a:cubicBezTo>
                  <a:close/>
                  <a:moveTo>
                    <a:pt x="953" y="609"/>
                  </a:moveTo>
                  <a:cubicBezTo>
                    <a:pt x="940" y="618"/>
                    <a:pt x="916" y="623"/>
                    <a:pt x="923" y="630"/>
                  </a:cubicBezTo>
                  <a:cubicBezTo>
                    <a:pt x="934" y="641"/>
                    <a:pt x="959" y="629"/>
                    <a:pt x="959" y="629"/>
                  </a:cubicBezTo>
                  <a:cubicBezTo>
                    <a:pt x="966" y="620"/>
                    <a:pt x="966" y="620"/>
                    <a:pt x="966" y="620"/>
                  </a:cubicBezTo>
                  <a:cubicBezTo>
                    <a:pt x="966" y="620"/>
                    <a:pt x="982" y="624"/>
                    <a:pt x="979" y="618"/>
                  </a:cubicBezTo>
                  <a:cubicBezTo>
                    <a:pt x="977" y="612"/>
                    <a:pt x="967" y="600"/>
                    <a:pt x="953" y="609"/>
                  </a:cubicBezTo>
                  <a:close/>
                  <a:moveTo>
                    <a:pt x="331" y="777"/>
                  </a:moveTo>
                  <a:cubicBezTo>
                    <a:pt x="319" y="777"/>
                    <a:pt x="290" y="788"/>
                    <a:pt x="290" y="788"/>
                  </a:cubicBezTo>
                  <a:cubicBezTo>
                    <a:pt x="290" y="788"/>
                    <a:pt x="253" y="802"/>
                    <a:pt x="254" y="809"/>
                  </a:cubicBezTo>
                  <a:cubicBezTo>
                    <a:pt x="256" y="818"/>
                    <a:pt x="270" y="812"/>
                    <a:pt x="289" y="806"/>
                  </a:cubicBezTo>
                  <a:cubicBezTo>
                    <a:pt x="308" y="799"/>
                    <a:pt x="328" y="809"/>
                    <a:pt x="335" y="803"/>
                  </a:cubicBezTo>
                  <a:cubicBezTo>
                    <a:pt x="342" y="797"/>
                    <a:pt x="344" y="777"/>
                    <a:pt x="331" y="777"/>
                  </a:cubicBezTo>
                  <a:close/>
                  <a:moveTo>
                    <a:pt x="219" y="828"/>
                  </a:moveTo>
                  <a:cubicBezTo>
                    <a:pt x="221" y="814"/>
                    <a:pt x="221" y="814"/>
                    <a:pt x="221" y="814"/>
                  </a:cubicBezTo>
                  <a:cubicBezTo>
                    <a:pt x="184" y="829"/>
                    <a:pt x="184" y="829"/>
                    <a:pt x="184" y="829"/>
                  </a:cubicBezTo>
                  <a:lnTo>
                    <a:pt x="219" y="82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4" name="Freeform 86">
              <a:extLst>
                <a:ext uri="{FF2B5EF4-FFF2-40B4-BE49-F238E27FC236}">
                  <a16:creationId xmlns:a16="http://schemas.microsoft.com/office/drawing/2014/main" id="{656E5349-AC47-F5B0-4751-994990888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3184" y="2594199"/>
              <a:ext cx="1483172" cy="740823"/>
            </a:xfrm>
            <a:custGeom>
              <a:avLst/>
              <a:gdLst>
                <a:gd name="T0" fmla="*/ 129 w 2609"/>
                <a:gd name="T1" fmla="*/ 10 h 1304"/>
                <a:gd name="T2" fmla="*/ 113 w 2609"/>
                <a:gd name="T3" fmla="*/ 15 h 1304"/>
                <a:gd name="T4" fmla="*/ 110 w 2609"/>
                <a:gd name="T5" fmla="*/ 17 h 1304"/>
                <a:gd name="T6" fmla="*/ 106 w 2609"/>
                <a:gd name="T7" fmla="*/ 19 h 1304"/>
                <a:gd name="T8" fmla="*/ 95 w 2609"/>
                <a:gd name="T9" fmla="*/ 21 h 1304"/>
                <a:gd name="T10" fmla="*/ 99 w 2609"/>
                <a:gd name="T11" fmla="*/ 15 h 1304"/>
                <a:gd name="T12" fmla="*/ 98 w 2609"/>
                <a:gd name="T13" fmla="*/ 11 h 1304"/>
                <a:gd name="T14" fmla="*/ 99 w 2609"/>
                <a:gd name="T15" fmla="*/ 8 h 1304"/>
                <a:gd name="T16" fmla="*/ 94 w 2609"/>
                <a:gd name="T17" fmla="*/ 8 h 1304"/>
                <a:gd name="T18" fmla="*/ 88 w 2609"/>
                <a:gd name="T19" fmla="*/ 7 h 1304"/>
                <a:gd name="T20" fmla="*/ 87 w 2609"/>
                <a:gd name="T21" fmla="*/ 5 h 1304"/>
                <a:gd name="T22" fmla="*/ 84 w 2609"/>
                <a:gd name="T23" fmla="*/ 3 h 1304"/>
                <a:gd name="T24" fmla="*/ 78 w 2609"/>
                <a:gd name="T25" fmla="*/ 2 h 1304"/>
                <a:gd name="T26" fmla="*/ 15 w 2609"/>
                <a:gd name="T27" fmla="*/ 7 h 1304"/>
                <a:gd name="T28" fmla="*/ 13 w 2609"/>
                <a:gd name="T29" fmla="*/ 4 h 1304"/>
                <a:gd name="T30" fmla="*/ 13 w 2609"/>
                <a:gd name="T31" fmla="*/ 9 h 1304"/>
                <a:gd name="T32" fmla="*/ 3 w 2609"/>
                <a:gd name="T33" fmla="*/ 20 h 1304"/>
                <a:gd name="T34" fmla="*/ 1 w 2609"/>
                <a:gd name="T35" fmla="*/ 31 h 1304"/>
                <a:gd name="T36" fmla="*/ 1 w 2609"/>
                <a:gd name="T37" fmla="*/ 35 h 1304"/>
                <a:gd name="T38" fmla="*/ 6 w 2609"/>
                <a:gd name="T39" fmla="*/ 42 h 1304"/>
                <a:gd name="T40" fmla="*/ 20 w 2609"/>
                <a:gd name="T41" fmla="*/ 50 h 1304"/>
                <a:gd name="T42" fmla="*/ 32 w 2609"/>
                <a:gd name="T43" fmla="*/ 50 h 1304"/>
                <a:gd name="T44" fmla="*/ 39 w 2609"/>
                <a:gd name="T45" fmla="*/ 54 h 1304"/>
                <a:gd name="T46" fmla="*/ 44 w 2609"/>
                <a:gd name="T47" fmla="*/ 60 h 1304"/>
                <a:gd name="T48" fmla="*/ 47 w 2609"/>
                <a:gd name="T49" fmla="*/ 65 h 1304"/>
                <a:gd name="T50" fmla="*/ 49 w 2609"/>
                <a:gd name="T51" fmla="*/ 61 h 1304"/>
                <a:gd name="T52" fmla="*/ 52 w 2609"/>
                <a:gd name="T53" fmla="*/ 59 h 1304"/>
                <a:gd name="T54" fmla="*/ 59 w 2609"/>
                <a:gd name="T55" fmla="*/ 54 h 1304"/>
                <a:gd name="T56" fmla="*/ 67 w 2609"/>
                <a:gd name="T57" fmla="*/ 56 h 1304"/>
                <a:gd name="T58" fmla="*/ 70 w 2609"/>
                <a:gd name="T59" fmla="*/ 56 h 1304"/>
                <a:gd name="T60" fmla="*/ 71 w 2609"/>
                <a:gd name="T61" fmla="*/ 53 h 1304"/>
                <a:gd name="T62" fmla="*/ 77 w 2609"/>
                <a:gd name="T63" fmla="*/ 53 h 1304"/>
                <a:gd name="T64" fmla="*/ 84 w 2609"/>
                <a:gd name="T65" fmla="*/ 56 h 1304"/>
                <a:gd name="T66" fmla="*/ 85 w 2609"/>
                <a:gd name="T67" fmla="*/ 63 h 1304"/>
                <a:gd name="T68" fmla="*/ 87 w 2609"/>
                <a:gd name="T69" fmla="*/ 67 h 1304"/>
                <a:gd name="T70" fmla="*/ 90 w 2609"/>
                <a:gd name="T71" fmla="*/ 57 h 1304"/>
                <a:gd name="T72" fmla="*/ 92 w 2609"/>
                <a:gd name="T73" fmla="*/ 48 h 1304"/>
                <a:gd name="T74" fmla="*/ 97 w 2609"/>
                <a:gd name="T75" fmla="*/ 44 h 1304"/>
                <a:gd name="T76" fmla="*/ 104 w 2609"/>
                <a:gd name="T77" fmla="*/ 40 h 1304"/>
                <a:gd name="T78" fmla="*/ 104 w 2609"/>
                <a:gd name="T79" fmla="*/ 38 h 1304"/>
                <a:gd name="T80" fmla="*/ 104 w 2609"/>
                <a:gd name="T81" fmla="*/ 34 h 1304"/>
                <a:gd name="T82" fmla="*/ 105 w 2609"/>
                <a:gd name="T83" fmla="*/ 30 h 1304"/>
                <a:gd name="T84" fmla="*/ 108 w 2609"/>
                <a:gd name="T85" fmla="*/ 31 h 1304"/>
                <a:gd name="T86" fmla="*/ 111 w 2609"/>
                <a:gd name="T87" fmla="*/ 26 h 1304"/>
                <a:gd name="T88" fmla="*/ 116 w 2609"/>
                <a:gd name="T89" fmla="*/ 25 h 1304"/>
                <a:gd name="T90" fmla="*/ 122 w 2609"/>
                <a:gd name="T91" fmla="*/ 21 h 1304"/>
                <a:gd name="T92" fmla="*/ 125 w 2609"/>
                <a:gd name="T93" fmla="*/ 20 h 1304"/>
                <a:gd name="T94" fmla="*/ 126 w 2609"/>
                <a:gd name="T95" fmla="*/ 17 h 1304"/>
                <a:gd name="T96" fmla="*/ 132 w 2609"/>
                <a:gd name="T97" fmla="*/ 13 h 1304"/>
                <a:gd name="T98" fmla="*/ 134 w 2609"/>
                <a:gd name="T99" fmla="*/ 10 h 1304"/>
                <a:gd name="T100" fmla="*/ 92 w 2609"/>
                <a:gd name="T101" fmla="*/ 13 h 1304"/>
                <a:gd name="T102" fmla="*/ 90 w 2609"/>
                <a:gd name="T103" fmla="*/ 18 h 1304"/>
                <a:gd name="T104" fmla="*/ 88 w 2609"/>
                <a:gd name="T105" fmla="*/ 16 h 1304"/>
                <a:gd name="T106" fmla="*/ 92 w 2609"/>
                <a:gd name="T107" fmla="*/ 10 h 1304"/>
                <a:gd name="T108" fmla="*/ 97 w 2609"/>
                <a:gd name="T109" fmla="*/ 10 h 13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09"/>
                <a:gd name="T166" fmla="*/ 0 h 1304"/>
                <a:gd name="T167" fmla="*/ 2609 w 2609"/>
                <a:gd name="T168" fmla="*/ 1304 h 13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5" name="Freeform 89">
              <a:extLst>
                <a:ext uri="{FF2B5EF4-FFF2-40B4-BE49-F238E27FC236}">
                  <a16:creationId xmlns:a16="http://schemas.microsoft.com/office/drawing/2014/main" id="{D989AAB7-11E8-8BEF-39AD-8E449B913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3536" y="3476784"/>
              <a:ext cx="240844" cy="457298"/>
            </a:xfrm>
            <a:custGeom>
              <a:avLst/>
              <a:gdLst>
                <a:gd name="T0" fmla="*/ 21 w 420"/>
                <a:gd name="T1" fmla="*/ 14 h 800"/>
                <a:gd name="T2" fmla="*/ 21 w 420"/>
                <a:gd name="T3" fmla="*/ 12 h 800"/>
                <a:gd name="T4" fmla="*/ 19 w 420"/>
                <a:gd name="T5" fmla="*/ 10 h 800"/>
                <a:gd name="T6" fmla="*/ 17 w 420"/>
                <a:gd name="T7" fmla="*/ 7 h 800"/>
                <a:gd name="T8" fmla="*/ 16 w 420"/>
                <a:gd name="T9" fmla="*/ 6 h 800"/>
                <a:gd name="T10" fmla="*/ 13 w 420"/>
                <a:gd name="T11" fmla="*/ 7 h 800"/>
                <a:gd name="T12" fmla="*/ 11 w 420"/>
                <a:gd name="T13" fmla="*/ 8 h 800"/>
                <a:gd name="T14" fmla="*/ 10 w 420"/>
                <a:gd name="T15" fmla="*/ 6 h 800"/>
                <a:gd name="T16" fmla="*/ 10 w 420"/>
                <a:gd name="T17" fmla="*/ 5 h 800"/>
                <a:gd name="T18" fmla="*/ 9 w 420"/>
                <a:gd name="T19" fmla="*/ 3 h 800"/>
                <a:gd name="T20" fmla="*/ 8 w 420"/>
                <a:gd name="T21" fmla="*/ 3 h 800"/>
                <a:gd name="T22" fmla="*/ 7 w 420"/>
                <a:gd name="T23" fmla="*/ 1 h 800"/>
                <a:gd name="T24" fmla="*/ 6 w 420"/>
                <a:gd name="T25" fmla="*/ 0 h 800"/>
                <a:gd name="T26" fmla="*/ 5 w 420"/>
                <a:gd name="T27" fmla="*/ 1 h 800"/>
                <a:gd name="T28" fmla="*/ 3 w 420"/>
                <a:gd name="T29" fmla="*/ 2 h 800"/>
                <a:gd name="T30" fmla="*/ 1 w 420"/>
                <a:gd name="T31" fmla="*/ 3 h 800"/>
                <a:gd name="T32" fmla="*/ 1 w 420"/>
                <a:gd name="T33" fmla="*/ 5 h 800"/>
                <a:gd name="T34" fmla="*/ 0 w 420"/>
                <a:gd name="T35" fmla="*/ 6 h 800"/>
                <a:gd name="T36" fmla="*/ 1 w 420"/>
                <a:gd name="T37" fmla="*/ 8 h 800"/>
                <a:gd name="T38" fmla="*/ 3 w 420"/>
                <a:gd name="T39" fmla="*/ 10 h 800"/>
                <a:gd name="T40" fmla="*/ 4 w 420"/>
                <a:gd name="T41" fmla="*/ 12 h 800"/>
                <a:gd name="T42" fmla="*/ 4 w 420"/>
                <a:gd name="T43" fmla="*/ 12 h 800"/>
                <a:gd name="T44" fmla="*/ 3 w 420"/>
                <a:gd name="T45" fmla="*/ 15 h 800"/>
                <a:gd name="T46" fmla="*/ 4 w 420"/>
                <a:gd name="T47" fmla="*/ 17 h 800"/>
                <a:gd name="T48" fmla="*/ 6 w 420"/>
                <a:gd name="T49" fmla="*/ 21 h 800"/>
                <a:gd name="T50" fmla="*/ 7 w 420"/>
                <a:gd name="T51" fmla="*/ 24 h 800"/>
                <a:gd name="T52" fmla="*/ 6 w 420"/>
                <a:gd name="T53" fmla="*/ 28 h 800"/>
                <a:gd name="T54" fmla="*/ 5 w 420"/>
                <a:gd name="T55" fmla="*/ 30 h 800"/>
                <a:gd name="T56" fmla="*/ 5 w 420"/>
                <a:gd name="T57" fmla="*/ 36 h 800"/>
                <a:gd name="T58" fmla="*/ 5 w 420"/>
                <a:gd name="T59" fmla="*/ 35 h 800"/>
                <a:gd name="T60" fmla="*/ 7 w 420"/>
                <a:gd name="T61" fmla="*/ 37 h 800"/>
                <a:gd name="T62" fmla="*/ 9 w 420"/>
                <a:gd name="T63" fmla="*/ 39 h 800"/>
                <a:gd name="T64" fmla="*/ 10 w 420"/>
                <a:gd name="T65" fmla="*/ 40 h 800"/>
                <a:gd name="T66" fmla="*/ 11 w 420"/>
                <a:gd name="T67" fmla="*/ 39 h 800"/>
                <a:gd name="T68" fmla="*/ 12 w 420"/>
                <a:gd name="T69" fmla="*/ 40 h 800"/>
                <a:gd name="T70" fmla="*/ 12 w 420"/>
                <a:gd name="T71" fmla="*/ 42 h 800"/>
                <a:gd name="T72" fmla="*/ 14 w 420"/>
                <a:gd name="T73" fmla="*/ 42 h 800"/>
                <a:gd name="T74" fmla="*/ 14 w 420"/>
                <a:gd name="T75" fmla="*/ 40 h 800"/>
                <a:gd name="T76" fmla="*/ 11 w 420"/>
                <a:gd name="T77" fmla="*/ 38 h 800"/>
                <a:gd name="T78" fmla="*/ 10 w 420"/>
                <a:gd name="T79" fmla="*/ 37 h 800"/>
                <a:gd name="T80" fmla="*/ 10 w 420"/>
                <a:gd name="T81" fmla="*/ 36 h 800"/>
                <a:gd name="T82" fmla="*/ 9 w 420"/>
                <a:gd name="T83" fmla="*/ 33 h 800"/>
                <a:gd name="T84" fmla="*/ 7 w 420"/>
                <a:gd name="T85" fmla="*/ 32 h 800"/>
                <a:gd name="T86" fmla="*/ 6 w 420"/>
                <a:gd name="T87" fmla="*/ 28 h 800"/>
                <a:gd name="T88" fmla="*/ 8 w 420"/>
                <a:gd name="T89" fmla="*/ 24 h 800"/>
                <a:gd name="T90" fmla="*/ 8 w 420"/>
                <a:gd name="T91" fmla="*/ 21 h 800"/>
                <a:gd name="T92" fmla="*/ 8 w 420"/>
                <a:gd name="T93" fmla="*/ 20 h 800"/>
                <a:gd name="T94" fmla="*/ 11 w 420"/>
                <a:gd name="T95" fmla="*/ 20 h 800"/>
                <a:gd name="T96" fmla="*/ 11 w 420"/>
                <a:gd name="T97" fmla="*/ 22 h 800"/>
                <a:gd name="T98" fmla="*/ 14 w 420"/>
                <a:gd name="T99" fmla="*/ 24 h 800"/>
                <a:gd name="T100" fmla="*/ 15 w 420"/>
                <a:gd name="T101" fmla="*/ 23 h 800"/>
                <a:gd name="T102" fmla="*/ 15 w 420"/>
                <a:gd name="T103" fmla="*/ 21 h 800"/>
                <a:gd name="T104" fmla="*/ 14 w 420"/>
                <a:gd name="T105" fmla="*/ 19 h 800"/>
                <a:gd name="T106" fmla="*/ 17 w 420"/>
                <a:gd name="T107" fmla="*/ 17 h 800"/>
                <a:gd name="T108" fmla="*/ 20 w 420"/>
                <a:gd name="T109" fmla="*/ 17 h 800"/>
                <a:gd name="T110" fmla="*/ 22 w 420"/>
                <a:gd name="T111" fmla="*/ 17 h 8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800"/>
                <a:gd name="T170" fmla="*/ 420 w 420"/>
                <a:gd name="T171" fmla="*/ 800 h 8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800">
                  <a:moveTo>
                    <a:pt x="395" y="285"/>
                  </a:moveTo>
                  <a:cubicBezTo>
                    <a:pt x="393" y="281"/>
                    <a:pt x="408" y="268"/>
                    <a:pt x="402" y="258"/>
                  </a:cubicBezTo>
                  <a:cubicBezTo>
                    <a:pt x="396" y="248"/>
                    <a:pt x="393" y="255"/>
                    <a:pt x="393" y="255"/>
                  </a:cubicBezTo>
                  <a:cubicBezTo>
                    <a:pt x="393" y="255"/>
                    <a:pt x="391" y="242"/>
                    <a:pt x="391" y="238"/>
                  </a:cubicBezTo>
                  <a:cubicBezTo>
                    <a:pt x="391" y="234"/>
                    <a:pt x="373" y="227"/>
                    <a:pt x="368" y="218"/>
                  </a:cubicBezTo>
                  <a:cubicBezTo>
                    <a:pt x="363" y="209"/>
                    <a:pt x="356" y="189"/>
                    <a:pt x="356" y="189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5" y="161"/>
                    <a:pt x="341" y="149"/>
                    <a:pt x="323" y="138"/>
                  </a:cubicBezTo>
                  <a:cubicBezTo>
                    <a:pt x="305" y="127"/>
                    <a:pt x="318" y="121"/>
                    <a:pt x="310" y="119"/>
                  </a:cubicBezTo>
                  <a:cubicBezTo>
                    <a:pt x="302" y="117"/>
                    <a:pt x="295" y="119"/>
                    <a:pt x="295" y="119"/>
                  </a:cubicBezTo>
                  <a:cubicBezTo>
                    <a:pt x="295" y="119"/>
                    <a:pt x="282" y="110"/>
                    <a:pt x="272" y="111"/>
                  </a:cubicBezTo>
                  <a:cubicBezTo>
                    <a:pt x="262" y="112"/>
                    <a:pt x="265" y="137"/>
                    <a:pt x="251" y="136"/>
                  </a:cubicBezTo>
                  <a:cubicBezTo>
                    <a:pt x="237" y="135"/>
                    <a:pt x="223" y="124"/>
                    <a:pt x="216" y="122"/>
                  </a:cubicBezTo>
                  <a:cubicBezTo>
                    <a:pt x="209" y="120"/>
                    <a:pt x="196" y="145"/>
                    <a:pt x="196" y="145"/>
                  </a:cubicBezTo>
                  <a:cubicBezTo>
                    <a:pt x="196" y="145"/>
                    <a:pt x="177" y="161"/>
                    <a:pt x="167" y="158"/>
                  </a:cubicBezTo>
                  <a:cubicBezTo>
                    <a:pt x="157" y="155"/>
                    <a:pt x="181" y="124"/>
                    <a:pt x="181" y="115"/>
                  </a:cubicBezTo>
                  <a:cubicBezTo>
                    <a:pt x="181" y="106"/>
                    <a:pt x="168" y="107"/>
                    <a:pt x="168" y="107"/>
                  </a:cubicBezTo>
                  <a:cubicBezTo>
                    <a:pt x="168" y="107"/>
                    <a:pt x="182" y="96"/>
                    <a:pt x="182" y="87"/>
                  </a:cubicBezTo>
                  <a:cubicBezTo>
                    <a:pt x="182" y="78"/>
                    <a:pt x="174" y="71"/>
                    <a:pt x="174" y="71"/>
                  </a:cubicBezTo>
                  <a:cubicBezTo>
                    <a:pt x="174" y="71"/>
                    <a:pt x="176" y="65"/>
                    <a:pt x="176" y="51"/>
                  </a:cubicBezTo>
                  <a:cubicBezTo>
                    <a:pt x="176" y="37"/>
                    <a:pt x="153" y="46"/>
                    <a:pt x="153" y="46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2" y="54"/>
                    <a:pt x="136" y="49"/>
                  </a:cubicBezTo>
                  <a:cubicBezTo>
                    <a:pt x="130" y="44"/>
                    <a:pt x="137" y="23"/>
                    <a:pt x="136" y="15"/>
                  </a:cubicBezTo>
                  <a:cubicBezTo>
                    <a:pt x="135" y="7"/>
                    <a:pt x="125" y="12"/>
                    <a:pt x="125" y="12"/>
                  </a:cubicBezTo>
                  <a:cubicBezTo>
                    <a:pt x="125" y="12"/>
                    <a:pt x="114" y="2"/>
                    <a:pt x="110" y="1"/>
                  </a:cubicBezTo>
                  <a:cubicBezTo>
                    <a:pt x="106" y="0"/>
                    <a:pt x="87" y="6"/>
                    <a:pt x="87" y="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3" y="40"/>
                    <a:pt x="53" y="43"/>
                  </a:cubicBezTo>
                  <a:cubicBezTo>
                    <a:pt x="43" y="46"/>
                    <a:pt x="34" y="35"/>
                    <a:pt x="23" y="37"/>
                  </a:cubicBezTo>
                  <a:cubicBezTo>
                    <a:pt x="12" y="39"/>
                    <a:pt x="20" y="55"/>
                    <a:pt x="19" y="64"/>
                  </a:cubicBezTo>
                  <a:cubicBezTo>
                    <a:pt x="18" y="73"/>
                    <a:pt x="8" y="74"/>
                    <a:pt x="7" y="78"/>
                  </a:cubicBezTo>
                  <a:cubicBezTo>
                    <a:pt x="6" y="82"/>
                    <a:pt x="17" y="93"/>
                    <a:pt x="17" y="102"/>
                  </a:cubicBezTo>
                  <a:cubicBezTo>
                    <a:pt x="17" y="111"/>
                    <a:pt x="6" y="105"/>
                    <a:pt x="3" y="108"/>
                  </a:cubicBezTo>
                  <a:cubicBezTo>
                    <a:pt x="0" y="111"/>
                    <a:pt x="3" y="116"/>
                    <a:pt x="8" y="120"/>
                  </a:cubicBezTo>
                  <a:cubicBezTo>
                    <a:pt x="13" y="124"/>
                    <a:pt x="26" y="130"/>
                    <a:pt x="26" y="130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45"/>
                    <a:pt x="27" y="148"/>
                    <a:pt x="30" y="158"/>
                  </a:cubicBezTo>
                  <a:cubicBezTo>
                    <a:pt x="33" y="168"/>
                    <a:pt x="59" y="177"/>
                    <a:pt x="67" y="188"/>
                  </a:cubicBezTo>
                  <a:cubicBezTo>
                    <a:pt x="75" y="199"/>
                    <a:pt x="61" y="194"/>
                    <a:pt x="66" y="206"/>
                  </a:cubicBezTo>
                  <a:cubicBezTo>
                    <a:pt x="71" y="218"/>
                    <a:pt x="79" y="219"/>
                    <a:pt x="79" y="219"/>
                  </a:cubicBezTo>
                  <a:cubicBezTo>
                    <a:pt x="79" y="219"/>
                    <a:pt x="85" y="211"/>
                    <a:pt x="85" y="224"/>
                  </a:cubicBezTo>
                  <a:cubicBezTo>
                    <a:pt x="85" y="237"/>
                    <a:pt x="73" y="236"/>
                    <a:pt x="73" y="236"/>
                  </a:cubicBezTo>
                  <a:cubicBezTo>
                    <a:pt x="73" y="236"/>
                    <a:pt x="76" y="247"/>
                    <a:pt x="76" y="253"/>
                  </a:cubicBezTo>
                  <a:cubicBezTo>
                    <a:pt x="76" y="259"/>
                    <a:pt x="75" y="269"/>
                    <a:pt x="65" y="279"/>
                  </a:cubicBezTo>
                  <a:cubicBezTo>
                    <a:pt x="55" y="289"/>
                    <a:pt x="63" y="302"/>
                    <a:pt x="63" y="302"/>
                  </a:cubicBezTo>
                  <a:cubicBezTo>
                    <a:pt x="63" y="302"/>
                    <a:pt x="75" y="316"/>
                    <a:pt x="79" y="326"/>
                  </a:cubicBezTo>
                  <a:cubicBezTo>
                    <a:pt x="83" y="336"/>
                    <a:pt x="105" y="349"/>
                    <a:pt x="109" y="364"/>
                  </a:cubicBezTo>
                  <a:cubicBezTo>
                    <a:pt x="113" y="379"/>
                    <a:pt x="108" y="403"/>
                    <a:pt x="112" y="409"/>
                  </a:cubicBezTo>
                  <a:cubicBezTo>
                    <a:pt x="116" y="415"/>
                    <a:pt x="131" y="427"/>
                    <a:pt x="131" y="427"/>
                  </a:cubicBezTo>
                  <a:cubicBezTo>
                    <a:pt x="131" y="427"/>
                    <a:pt x="129" y="437"/>
                    <a:pt x="133" y="450"/>
                  </a:cubicBezTo>
                  <a:cubicBezTo>
                    <a:pt x="137" y="463"/>
                    <a:pt x="130" y="488"/>
                    <a:pt x="127" y="498"/>
                  </a:cubicBezTo>
                  <a:cubicBezTo>
                    <a:pt x="124" y="508"/>
                    <a:pt x="119" y="515"/>
                    <a:pt x="110" y="522"/>
                  </a:cubicBezTo>
                  <a:cubicBezTo>
                    <a:pt x="101" y="529"/>
                    <a:pt x="109" y="536"/>
                    <a:pt x="108" y="545"/>
                  </a:cubicBezTo>
                  <a:cubicBezTo>
                    <a:pt x="107" y="554"/>
                    <a:pt x="98" y="567"/>
                    <a:pt x="98" y="567"/>
                  </a:cubicBezTo>
                  <a:cubicBezTo>
                    <a:pt x="98" y="567"/>
                    <a:pt x="86" y="599"/>
                    <a:pt x="84" y="615"/>
                  </a:cubicBezTo>
                  <a:cubicBezTo>
                    <a:pt x="82" y="631"/>
                    <a:pt x="84" y="676"/>
                    <a:pt x="84" y="676"/>
                  </a:cubicBezTo>
                  <a:cubicBezTo>
                    <a:pt x="84" y="676"/>
                    <a:pt x="94" y="686"/>
                    <a:pt x="96" y="676"/>
                  </a:cubicBezTo>
                  <a:cubicBezTo>
                    <a:pt x="97" y="666"/>
                    <a:pt x="97" y="642"/>
                    <a:pt x="101" y="653"/>
                  </a:cubicBezTo>
                  <a:cubicBezTo>
                    <a:pt x="104" y="665"/>
                    <a:pt x="96" y="665"/>
                    <a:pt x="110" y="667"/>
                  </a:cubicBezTo>
                  <a:cubicBezTo>
                    <a:pt x="124" y="668"/>
                    <a:pt x="132" y="698"/>
                    <a:pt x="132" y="698"/>
                  </a:cubicBezTo>
                  <a:cubicBezTo>
                    <a:pt x="155" y="718"/>
                    <a:pt x="155" y="718"/>
                    <a:pt x="155" y="718"/>
                  </a:cubicBezTo>
                  <a:cubicBezTo>
                    <a:pt x="155" y="718"/>
                    <a:pt x="150" y="729"/>
                    <a:pt x="159" y="743"/>
                  </a:cubicBezTo>
                  <a:cubicBezTo>
                    <a:pt x="165" y="754"/>
                    <a:pt x="173" y="762"/>
                    <a:pt x="177" y="766"/>
                  </a:cubicBezTo>
                  <a:cubicBezTo>
                    <a:pt x="181" y="762"/>
                    <a:pt x="184" y="758"/>
                    <a:pt x="184" y="754"/>
                  </a:cubicBezTo>
                  <a:cubicBezTo>
                    <a:pt x="183" y="745"/>
                    <a:pt x="182" y="739"/>
                    <a:pt x="189" y="738"/>
                  </a:cubicBezTo>
                  <a:cubicBezTo>
                    <a:pt x="196" y="737"/>
                    <a:pt x="198" y="749"/>
                    <a:pt x="198" y="749"/>
                  </a:cubicBezTo>
                  <a:cubicBezTo>
                    <a:pt x="198" y="749"/>
                    <a:pt x="209" y="749"/>
                    <a:pt x="216" y="753"/>
                  </a:cubicBezTo>
                  <a:cubicBezTo>
                    <a:pt x="223" y="757"/>
                    <a:pt x="222" y="765"/>
                    <a:pt x="222" y="765"/>
                  </a:cubicBezTo>
                  <a:cubicBezTo>
                    <a:pt x="222" y="765"/>
                    <a:pt x="229" y="763"/>
                    <a:pt x="229" y="769"/>
                  </a:cubicBezTo>
                  <a:cubicBezTo>
                    <a:pt x="229" y="775"/>
                    <a:pt x="213" y="787"/>
                    <a:pt x="226" y="791"/>
                  </a:cubicBezTo>
                  <a:cubicBezTo>
                    <a:pt x="239" y="795"/>
                    <a:pt x="238" y="785"/>
                    <a:pt x="249" y="784"/>
                  </a:cubicBezTo>
                  <a:cubicBezTo>
                    <a:pt x="260" y="783"/>
                    <a:pt x="262" y="800"/>
                    <a:pt x="268" y="792"/>
                  </a:cubicBezTo>
                  <a:cubicBezTo>
                    <a:pt x="272" y="787"/>
                    <a:pt x="277" y="776"/>
                    <a:pt x="280" y="768"/>
                  </a:cubicBezTo>
                  <a:cubicBezTo>
                    <a:pt x="271" y="761"/>
                    <a:pt x="261" y="755"/>
                    <a:pt x="261" y="755"/>
                  </a:cubicBezTo>
                  <a:cubicBezTo>
                    <a:pt x="261" y="755"/>
                    <a:pt x="256" y="731"/>
                    <a:pt x="253" y="721"/>
                  </a:cubicBezTo>
                  <a:cubicBezTo>
                    <a:pt x="250" y="711"/>
                    <a:pt x="223" y="731"/>
                    <a:pt x="215" y="727"/>
                  </a:cubicBezTo>
                  <a:cubicBezTo>
                    <a:pt x="208" y="723"/>
                    <a:pt x="201" y="686"/>
                    <a:pt x="196" y="689"/>
                  </a:cubicBezTo>
                  <a:cubicBezTo>
                    <a:pt x="191" y="693"/>
                    <a:pt x="196" y="704"/>
                    <a:pt x="190" y="705"/>
                  </a:cubicBezTo>
                  <a:cubicBezTo>
                    <a:pt x="184" y="706"/>
                    <a:pt x="169" y="683"/>
                    <a:pt x="177" y="675"/>
                  </a:cubicBezTo>
                  <a:cubicBezTo>
                    <a:pt x="185" y="667"/>
                    <a:pt x="182" y="682"/>
                    <a:pt x="190" y="679"/>
                  </a:cubicBezTo>
                  <a:cubicBezTo>
                    <a:pt x="198" y="676"/>
                    <a:pt x="180" y="645"/>
                    <a:pt x="178" y="639"/>
                  </a:cubicBezTo>
                  <a:cubicBezTo>
                    <a:pt x="176" y="633"/>
                    <a:pt x="165" y="635"/>
                    <a:pt x="165" y="635"/>
                  </a:cubicBezTo>
                  <a:cubicBezTo>
                    <a:pt x="166" y="598"/>
                    <a:pt x="166" y="598"/>
                    <a:pt x="166" y="598"/>
                  </a:cubicBezTo>
                  <a:cubicBezTo>
                    <a:pt x="131" y="608"/>
                    <a:pt x="131" y="608"/>
                    <a:pt x="131" y="608"/>
                  </a:cubicBezTo>
                  <a:cubicBezTo>
                    <a:pt x="131" y="608"/>
                    <a:pt x="127" y="549"/>
                    <a:pt x="126" y="542"/>
                  </a:cubicBezTo>
                  <a:cubicBezTo>
                    <a:pt x="125" y="534"/>
                    <a:pt x="120" y="524"/>
                    <a:pt x="120" y="524"/>
                  </a:cubicBezTo>
                  <a:cubicBezTo>
                    <a:pt x="120" y="524"/>
                    <a:pt x="136" y="516"/>
                    <a:pt x="137" y="498"/>
                  </a:cubicBezTo>
                  <a:cubicBezTo>
                    <a:pt x="138" y="479"/>
                    <a:pt x="138" y="456"/>
                    <a:pt x="138" y="456"/>
                  </a:cubicBezTo>
                  <a:cubicBezTo>
                    <a:pt x="138" y="456"/>
                    <a:pt x="152" y="449"/>
                    <a:pt x="153" y="425"/>
                  </a:cubicBezTo>
                  <a:cubicBezTo>
                    <a:pt x="154" y="400"/>
                    <a:pt x="147" y="396"/>
                    <a:pt x="147" y="396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8" y="374"/>
                    <a:pt x="158" y="374"/>
                    <a:pt x="158" y="374"/>
                  </a:cubicBezTo>
                  <a:cubicBezTo>
                    <a:pt x="158" y="374"/>
                    <a:pt x="159" y="366"/>
                    <a:pt x="171" y="367"/>
                  </a:cubicBezTo>
                  <a:cubicBezTo>
                    <a:pt x="182" y="367"/>
                    <a:pt x="201" y="381"/>
                    <a:pt x="201" y="381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193" y="387"/>
                    <a:pt x="188" y="419"/>
                    <a:pt x="199" y="419"/>
                  </a:cubicBezTo>
                  <a:cubicBezTo>
                    <a:pt x="211" y="420"/>
                    <a:pt x="247" y="403"/>
                    <a:pt x="247" y="403"/>
                  </a:cubicBezTo>
                  <a:cubicBezTo>
                    <a:pt x="265" y="457"/>
                    <a:pt x="265" y="457"/>
                    <a:pt x="265" y="457"/>
                  </a:cubicBezTo>
                  <a:cubicBezTo>
                    <a:pt x="265" y="457"/>
                    <a:pt x="273" y="445"/>
                    <a:pt x="284" y="450"/>
                  </a:cubicBezTo>
                  <a:cubicBezTo>
                    <a:pt x="287" y="431"/>
                    <a:pt x="287" y="431"/>
                    <a:pt x="287" y="431"/>
                  </a:cubicBezTo>
                  <a:cubicBezTo>
                    <a:pt x="276" y="421"/>
                    <a:pt x="276" y="421"/>
                    <a:pt x="276" y="421"/>
                  </a:cubicBezTo>
                  <a:cubicBezTo>
                    <a:pt x="276" y="402"/>
                    <a:pt x="276" y="402"/>
                    <a:pt x="276" y="402"/>
                  </a:cubicBezTo>
                  <a:cubicBezTo>
                    <a:pt x="269" y="396"/>
                    <a:pt x="269" y="396"/>
                    <a:pt x="269" y="396"/>
                  </a:cubicBezTo>
                  <a:cubicBezTo>
                    <a:pt x="267" y="371"/>
                    <a:pt x="267" y="371"/>
                    <a:pt x="267" y="371"/>
                  </a:cubicBezTo>
                  <a:cubicBezTo>
                    <a:pt x="286" y="351"/>
                    <a:pt x="286" y="351"/>
                    <a:pt x="286" y="351"/>
                  </a:cubicBezTo>
                  <a:cubicBezTo>
                    <a:pt x="286" y="351"/>
                    <a:pt x="286" y="332"/>
                    <a:pt x="313" y="327"/>
                  </a:cubicBezTo>
                  <a:cubicBezTo>
                    <a:pt x="340" y="322"/>
                    <a:pt x="341" y="332"/>
                    <a:pt x="341" y="332"/>
                  </a:cubicBezTo>
                  <a:cubicBezTo>
                    <a:pt x="341" y="332"/>
                    <a:pt x="363" y="326"/>
                    <a:pt x="368" y="325"/>
                  </a:cubicBezTo>
                  <a:cubicBezTo>
                    <a:pt x="373" y="324"/>
                    <a:pt x="390" y="333"/>
                    <a:pt x="390" y="333"/>
                  </a:cubicBezTo>
                  <a:cubicBezTo>
                    <a:pt x="390" y="333"/>
                    <a:pt x="400" y="328"/>
                    <a:pt x="410" y="316"/>
                  </a:cubicBezTo>
                  <a:cubicBezTo>
                    <a:pt x="420" y="304"/>
                    <a:pt x="397" y="289"/>
                    <a:pt x="395" y="28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6" name="Freeform 90">
              <a:extLst>
                <a:ext uri="{FF2B5EF4-FFF2-40B4-BE49-F238E27FC236}">
                  <a16:creationId xmlns:a16="http://schemas.microsoft.com/office/drawing/2014/main" id="{68C8083C-8B95-7AAE-82E9-6B1673EAF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6337" y="3388373"/>
              <a:ext cx="233223" cy="454250"/>
            </a:xfrm>
            <a:custGeom>
              <a:avLst/>
              <a:gdLst>
                <a:gd name="T0" fmla="*/ 0 w 407"/>
                <a:gd name="T1" fmla="*/ 3 h 795"/>
                <a:gd name="T2" fmla="*/ 2 w 407"/>
                <a:gd name="T3" fmla="*/ 4 h 795"/>
                <a:gd name="T4" fmla="*/ 3 w 407"/>
                <a:gd name="T5" fmla="*/ 7 h 795"/>
                <a:gd name="T6" fmla="*/ 5 w 407"/>
                <a:gd name="T7" fmla="*/ 7 h 795"/>
                <a:gd name="T8" fmla="*/ 7 w 407"/>
                <a:gd name="T9" fmla="*/ 7 h 795"/>
                <a:gd name="T10" fmla="*/ 8 w 407"/>
                <a:gd name="T11" fmla="*/ 9 h 795"/>
                <a:gd name="T12" fmla="*/ 5 w 407"/>
                <a:gd name="T13" fmla="*/ 10 h 795"/>
                <a:gd name="T14" fmla="*/ 8 w 407"/>
                <a:gd name="T15" fmla="*/ 13 h 795"/>
                <a:gd name="T16" fmla="*/ 9 w 407"/>
                <a:gd name="T17" fmla="*/ 14 h 795"/>
                <a:gd name="T18" fmla="*/ 11 w 407"/>
                <a:gd name="T19" fmla="*/ 16 h 795"/>
                <a:gd name="T20" fmla="*/ 12 w 407"/>
                <a:gd name="T21" fmla="*/ 18 h 795"/>
                <a:gd name="T22" fmla="*/ 14 w 407"/>
                <a:gd name="T23" fmla="*/ 19 h 795"/>
                <a:gd name="T24" fmla="*/ 15 w 407"/>
                <a:gd name="T25" fmla="*/ 21 h 795"/>
                <a:gd name="T26" fmla="*/ 17 w 407"/>
                <a:gd name="T27" fmla="*/ 23 h 795"/>
                <a:gd name="T28" fmla="*/ 17 w 407"/>
                <a:gd name="T29" fmla="*/ 25 h 795"/>
                <a:gd name="T30" fmla="*/ 16 w 407"/>
                <a:gd name="T31" fmla="*/ 27 h 795"/>
                <a:gd name="T32" fmla="*/ 16 w 407"/>
                <a:gd name="T33" fmla="*/ 28 h 795"/>
                <a:gd name="T34" fmla="*/ 17 w 407"/>
                <a:gd name="T35" fmla="*/ 31 h 795"/>
                <a:gd name="T36" fmla="*/ 15 w 407"/>
                <a:gd name="T37" fmla="*/ 32 h 795"/>
                <a:gd name="T38" fmla="*/ 15 w 407"/>
                <a:gd name="T39" fmla="*/ 33 h 795"/>
                <a:gd name="T40" fmla="*/ 14 w 407"/>
                <a:gd name="T41" fmla="*/ 35 h 795"/>
                <a:gd name="T42" fmla="*/ 12 w 407"/>
                <a:gd name="T43" fmla="*/ 35 h 795"/>
                <a:gd name="T44" fmla="*/ 11 w 407"/>
                <a:gd name="T45" fmla="*/ 35 h 795"/>
                <a:gd name="T46" fmla="*/ 10 w 407"/>
                <a:gd name="T47" fmla="*/ 37 h 795"/>
                <a:gd name="T48" fmla="*/ 11 w 407"/>
                <a:gd name="T49" fmla="*/ 39 h 795"/>
                <a:gd name="T50" fmla="*/ 10 w 407"/>
                <a:gd name="T51" fmla="*/ 42 h 795"/>
                <a:gd name="T52" fmla="*/ 12 w 407"/>
                <a:gd name="T53" fmla="*/ 41 h 795"/>
                <a:gd name="T54" fmla="*/ 14 w 407"/>
                <a:gd name="T55" fmla="*/ 40 h 795"/>
                <a:gd name="T56" fmla="*/ 15 w 407"/>
                <a:gd name="T57" fmla="*/ 39 h 795"/>
                <a:gd name="T58" fmla="*/ 16 w 407"/>
                <a:gd name="T59" fmla="*/ 36 h 795"/>
                <a:gd name="T60" fmla="*/ 21 w 407"/>
                <a:gd name="T61" fmla="*/ 34 h 795"/>
                <a:gd name="T62" fmla="*/ 21 w 407"/>
                <a:gd name="T63" fmla="*/ 28 h 795"/>
                <a:gd name="T64" fmla="*/ 21 w 407"/>
                <a:gd name="T65" fmla="*/ 25 h 795"/>
                <a:gd name="T66" fmla="*/ 19 w 407"/>
                <a:gd name="T67" fmla="*/ 22 h 795"/>
                <a:gd name="T68" fmla="*/ 14 w 407"/>
                <a:gd name="T69" fmla="*/ 17 h 795"/>
                <a:gd name="T70" fmla="*/ 10 w 407"/>
                <a:gd name="T71" fmla="*/ 12 h 795"/>
                <a:gd name="T72" fmla="*/ 11 w 407"/>
                <a:gd name="T73" fmla="*/ 8 h 795"/>
                <a:gd name="T74" fmla="*/ 12 w 407"/>
                <a:gd name="T75" fmla="*/ 7 h 795"/>
                <a:gd name="T76" fmla="*/ 14 w 407"/>
                <a:gd name="T77" fmla="*/ 5 h 795"/>
                <a:gd name="T78" fmla="*/ 14 w 407"/>
                <a:gd name="T79" fmla="*/ 5 h 795"/>
                <a:gd name="T80" fmla="*/ 12 w 407"/>
                <a:gd name="T81" fmla="*/ 4 h 795"/>
                <a:gd name="T82" fmla="*/ 11 w 407"/>
                <a:gd name="T83" fmla="*/ 3 h 795"/>
                <a:gd name="T84" fmla="*/ 11 w 407"/>
                <a:gd name="T85" fmla="*/ 3 h 795"/>
                <a:gd name="T86" fmla="*/ 10 w 407"/>
                <a:gd name="T87" fmla="*/ 1 h 795"/>
                <a:gd name="T88" fmla="*/ 8 w 407"/>
                <a:gd name="T89" fmla="*/ 1 h 795"/>
                <a:gd name="T90" fmla="*/ 6 w 407"/>
                <a:gd name="T91" fmla="*/ 0 h 795"/>
                <a:gd name="T92" fmla="*/ 5 w 407"/>
                <a:gd name="T93" fmla="*/ 2 h 795"/>
                <a:gd name="T94" fmla="*/ 4 w 407"/>
                <a:gd name="T95" fmla="*/ 1 h 795"/>
                <a:gd name="T96" fmla="*/ 4 w 407"/>
                <a:gd name="T97" fmla="*/ 2 h 795"/>
                <a:gd name="T98" fmla="*/ 3 w 407"/>
                <a:gd name="T99" fmla="*/ 1 h 795"/>
                <a:gd name="T100" fmla="*/ 3 w 407"/>
                <a:gd name="T101" fmla="*/ 1 h 795"/>
                <a:gd name="T102" fmla="*/ 0 w 407"/>
                <a:gd name="T103" fmla="*/ 1 h 79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7"/>
                <a:gd name="T157" fmla="*/ 0 h 795"/>
                <a:gd name="T158" fmla="*/ 407 w 407"/>
                <a:gd name="T159" fmla="*/ 795 h 79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7" h="795">
                  <a:moveTo>
                    <a:pt x="4" y="32"/>
                  </a:moveTo>
                  <a:cubicBezTo>
                    <a:pt x="0" y="40"/>
                    <a:pt x="0" y="55"/>
                    <a:pt x="6" y="62"/>
                  </a:cubicBezTo>
                  <a:cubicBezTo>
                    <a:pt x="12" y="69"/>
                    <a:pt x="28" y="87"/>
                    <a:pt x="28" y="87"/>
                  </a:cubicBezTo>
                  <a:cubicBezTo>
                    <a:pt x="28" y="87"/>
                    <a:pt x="33" y="80"/>
                    <a:pt x="37" y="84"/>
                  </a:cubicBezTo>
                  <a:cubicBezTo>
                    <a:pt x="41" y="88"/>
                    <a:pt x="28" y="97"/>
                    <a:pt x="38" y="110"/>
                  </a:cubicBezTo>
                  <a:cubicBezTo>
                    <a:pt x="48" y="123"/>
                    <a:pt x="61" y="137"/>
                    <a:pt x="61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70" y="137"/>
                    <a:pt x="75" y="153"/>
                    <a:pt x="82" y="145"/>
                  </a:cubicBezTo>
                  <a:cubicBezTo>
                    <a:pt x="89" y="137"/>
                    <a:pt x="86" y="125"/>
                    <a:pt x="94" y="126"/>
                  </a:cubicBezTo>
                  <a:cubicBezTo>
                    <a:pt x="102" y="127"/>
                    <a:pt x="124" y="145"/>
                    <a:pt x="124" y="145"/>
                  </a:cubicBezTo>
                  <a:cubicBezTo>
                    <a:pt x="124" y="145"/>
                    <a:pt x="104" y="151"/>
                    <a:pt x="122" y="159"/>
                  </a:cubicBezTo>
                  <a:cubicBezTo>
                    <a:pt x="140" y="167"/>
                    <a:pt x="159" y="169"/>
                    <a:pt x="153" y="179"/>
                  </a:cubicBezTo>
                  <a:cubicBezTo>
                    <a:pt x="147" y="189"/>
                    <a:pt x="128" y="203"/>
                    <a:pt x="128" y="203"/>
                  </a:cubicBezTo>
                  <a:cubicBezTo>
                    <a:pt x="128" y="203"/>
                    <a:pt x="99" y="195"/>
                    <a:pt x="101" y="199"/>
                  </a:cubicBezTo>
                  <a:cubicBezTo>
                    <a:pt x="103" y="203"/>
                    <a:pt x="103" y="215"/>
                    <a:pt x="103" y="215"/>
                  </a:cubicBezTo>
                  <a:cubicBezTo>
                    <a:pt x="103" y="215"/>
                    <a:pt x="136" y="235"/>
                    <a:pt x="142" y="240"/>
                  </a:cubicBezTo>
                  <a:cubicBezTo>
                    <a:pt x="148" y="245"/>
                    <a:pt x="166" y="250"/>
                    <a:pt x="166" y="250"/>
                  </a:cubicBezTo>
                  <a:cubicBezTo>
                    <a:pt x="166" y="250"/>
                    <a:pt x="165" y="267"/>
                    <a:pt x="169" y="271"/>
                  </a:cubicBezTo>
                  <a:cubicBezTo>
                    <a:pt x="173" y="275"/>
                    <a:pt x="195" y="283"/>
                    <a:pt x="195" y="283"/>
                  </a:cubicBezTo>
                  <a:cubicBezTo>
                    <a:pt x="195" y="283"/>
                    <a:pt x="192" y="303"/>
                    <a:pt x="205" y="314"/>
                  </a:cubicBezTo>
                  <a:cubicBezTo>
                    <a:pt x="218" y="325"/>
                    <a:pt x="229" y="336"/>
                    <a:pt x="229" y="336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46"/>
                    <a:pt x="247" y="363"/>
                    <a:pt x="254" y="370"/>
                  </a:cubicBezTo>
                  <a:cubicBezTo>
                    <a:pt x="261" y="377"/>
                    <a:pt x="271" y="378"/>
                    <a:pt x="271" y="378"/>
                  </a:cubicBezTo>
                  <a:cubicBezTo>
                    <a:pt x="271" y="378"/>
                    <a:pt x="295" y="392"/>
                    <a:pt x="287" y="397"/>
                  </a:cubicBezTo>
                  <a:cubicBezTo>
                    <a:pt x="279" y="402"/>
                    <a:pt x="265" y="405"/>
                    <a:pt x="279" y="416"/>
                  </a:cubicBezTo>
                  <a:cubicBezTo>
                    <a:pt x="293" y="427"/>
                    <a:pt x="312" y="436"/>
                    <a:pt x="312" y="436"/>
                  </a:cubicBezTo>
                  <a:cubicBezTo>
                    <a:pt x="301" y="457"/>
                    <a:pt x="301" y="457"/>
                    <a:pt x="301" y="457"/>
                  </a:cubicBezTo>
                  <a:cubicBezTo>
                    <a:pt x="301" y="457"/>
                    <a:pt x="314" y="462"/>
                    <a:pt x="310" y="470"/>
                  </a:cubicBezTo>
                  <a:cubicBezTo>
                    <a:pt x="306" y="478"/>
                    <a:pt x="300" y="477"/>
                    <a:pt x="300" y="477"/>
                  </a:cubicBezTo>
                  <a:cubicBezTo>
                    <a:pt x="300" y="505"/>
                    <a:pt x="300" y="505"/>
                    <a:pt x="300" y="505"/>
                  </a:cubicBezTo>
                  <a:cubicBezTo>
                    <a:pt x="300" y="505"/>
                    <a:pt x="321" y="516"/>
                    <a:pt x="321" y="529"/>
                  </a:cubicBezTo>
                  <a:cubicBezTo>
                    <a:pt x="321" y="542"/>
                    <a:pt x="305" y="542"/>
                    <a:pt x="306" y="545"/>
                  </a:cubicBezTo>
                  <a:cubicBezTo>
                    <a:pt x="307" y="548"/>
                    <a:pt x="317" y="584"/>
                    <a:pt x="317" y="584"/>
                  </a:cubicBezTo>
                  <a:cubicBezTo>
                    <a:pt x="314" y="598"/>
                    <a:pt x="314" y="598"/>
                    <a:pt x="314" y="598"/>
                  </a:cubicBezTo>
                  <a:cubicBezTo>
                    <a:pt x="314" y="598"/>
                    <a:pt x="302" y="593"/>
                    <a:pt x="297" y="596"/>
                  </a:cubicBezTo>
                  <a:cubicBezTo>
                    <a:pt x="292" y="599"/>
                    <a:pt x="291" y="610"/>
                    <a:pt x="291" y="610"/>
                  </a:cubicBezTo>
                  <a:cubicBezTo>
                    <a:pt x="270" y="611"/>
                    <a:pt x="270" y="611"/>
                    <a:pt x="270" y="611"/>
                  </a:cubicBezTo>
                  <a:cubicBezTo>
                    <a:pt x="273" y="625"/>
                    <a:pt x="273" y="625"/>
                    <a:pt x="273" y="625"/>
                  </a:cubicBezTo>
                  <a:cubicBezTo>
                    <a:pt x="273" y="625"/>
                    <a:pt x="246" y="621"/>
                    <a:pt x="244" y="627"/>
                  </a:cubicBezTo>
                  <a:cubicBezTo>
                    <a:pt x="242" y="633"/>
                    <a:pt x="242" y="651"/>
                    <a:pt x="252" y="659"/>
                  </a:cubicBezTo>
                  <a:cubicBezTo>
                    <a:pt x="262" y="667"/>
                    <a:pt x="269" y="677"/>
                    <a:pt x="262" y="678"/>
                  </a:cubicBezTo>
                  <a:cubicBezTo>
                    <a:pt x="255" y="679"/>
                    <a:pt x="248" y="663"/>
                    <a:pt x="238" y="663"/>
                  </a:cubicBezTo>
                  <a:cubicBezTo>
                    <a:pt x="228" y="663"/>
                    <a:pt x="226" y="670"/>
                    <a:pt x="222" y="670"/>
                  </a:cubicBezTo>
                  <a:cubicBezTo>
                    <a:pt x="218" y="670"/>
                    <a:pt x="204" y="670"/>
                    <a:pt x="204" y="670"/>
                  </a:cubicBezTo>
                  <a:cubicBezTo>
                    <a:pt x="204" y="670"/>
                    <a:pt x="228" y="684"/>
                    <a:pt x="208" y="686"/>
                  </a:cubicBezTo>
                  <a:cubicBezTo>
                    <a:pt x="188" y="688"/>
                    <a:pt x="174" y="695"/>
                    <a:pt x="180" y="703"/>
                  </a:cubicBezTo>
                  <a:cubicBezTo>
                    <a:pt x="186" y="711"/>
                    <a:pt x="209" y="723"/>
                    <a:pt x="209" y="723"/>
                  </a:cubicBezTo>
                  <a:cubicBezTo>
                    <a:pt x="196" y="734"/>
                    <a:pt x="196" y="734"/>
                    <a:pt x="196" y="734"/>
                  </a:cubicBezTo>
                  <a:cubicBezTo>
                    <a:pt x="196" y="734"/>
                    <a:pt x="210" y="769"/>
                    <a:pt x="203" y="775"/>
                  </a:cubicBezTo>
                  <a:cubicBezTo>
                    <a:pt x="199" y="778"/>
                    <a:pt x="196" y="784"/>
                    <a:pt x="194" y="789"/>
                  </a:cubicBezTo>
                  <a:cubicBezTo>
                    <a:pt x="195" y="789"/>
                    <a:pt x="195" y="789"/>
                    <a:pt x="195" y="789"/>
                  </a:cubicBezTo>
                  <a:cubicBezTo>
                    <a:pt x="204" y="795"/>
                    <a:pt x="218" y="795"/>
                    <a:pt x="228" y="783"/>
                  </a:cubicBezTo>
                  <a:cubicBezTo>
                    <a:pt x="239" y="772"/>
                    <a:pt x="252" y="768"/>
                    <a:pt x="252" y="768"/>
                  </a:cubicBezTo>
                  <a:cubicBezTo>
                    <a:pt x="255" y="752"/>
                    <a:pt x="255" y="752"/>
                    <a:pt x="255" y="752"/>
                  </a:cubicBezTo>
                  <a:cubicBezTo>
                    <a:pt x="255" y="736"/>
                    <a:pt x="255" y="736"/>
                    <a:pt x="255" y="736"/>
                  </a:cubicBezTo>
                  <a:cubicBezTo>
                    <a:pt x="255" y="736"/>
                    <a:pt x="280" y="747"/>
                    <a:pt x="285" y="735"/>
                  </a:cubicBezTo>
                  <a:cubicBezTo>
                    <a:pt x="289" y="723"/>
                    <a:pt x="269" y="711"/>
                    <a:pt x="273" y="708"/>
                  </a:cubicBezTo>
                  <a:cubicBezTo>
                    <a:pt x="277" y="704"/>
                    <a:pt x="300" y="693"/>
                    <a:pt x="300" y="693"/>
                  </a:cubicBezTo>
                  <a:cubicBezTo>
                    <a:pt x="300" y="693"/>
                    <a:pt x="311" y="702"/>
                    <a:pt x="334" y="690"/>
                  </a:cubicBezTo>
                  <a:cubicBezTo>
                    <a:pt x="356" y="679"/>
                    <a:pt x="387" y="656"/>
                    <a:pt x="391" y="639"/>
                  </a:cubicBezTo>
                  <a:cubicBezTo>
                    <a:pt x="394" y="622"/>
                    <a:pt x="407" y="577"/>
                    <a:pt x="405" y="567"/>
                  </a:cubicBezTo>
                  <a:cubicBezTo>
                    <a:pt x="403" y="557"/>
                    <a:pt x="385" y="539"/>
                    <a:pt x="385" y="539"/>
                  </a:cubicBezTo>
                  <a:cubicBezTo>
                    <a:pt x="395" y="535"/>
                    <a:pt x="395" y="535"/>
                    <a:pt x="395" y="535"/>
                  </a:cubicBezTo>
                  <a:cubicBezTo>
                    <a:pt x="395" y="535"/>
                    <a:pt x="395" y="498"/>
                    <a:pt x="390" y="485"/>
                  </a:cubicBezTo>
                  <a:cubicBezTo>
                    <a:pt x="384" y="471"/>
                    <a:pt x="368" y="448"/>
                    <a:pt x="368" y="448"/>
                  </a:cubicBezTo>
                  <a:cubicBezTo>
                    <a:pt x="368" y="448"/>
                    <a:pt x="379" y="434"/>
                    <a:pt x="363" y="418"/>
                  </a:cubicBezTo>
                  <a:cubicBezTo>
                    <a:pt x="347" y="403"/>
                    <a:pt x="302" y="361"/>
                    <a:pt x="288" y="354"/>
                  </a:cubicBezTo>
                  <a:cubicBezTo>
                    <a:pt x="274" y="348"/>
                    <a:pt x="259" y="340"/>
                    <a:pt x="256" y="332"/>
                  </a:cubicBezTo>
                  <a:cubicBezTo>
                    <a:pt x="252" y="325"/>
                    <a:pt x="260" y="319"/>
                    <a:pt x="254" y="309"/>
                  </a:cubicBezTo>
                  <a:cubicBezTo>
                    <a:pt x="248" y="299"/>
                    <a:pt x="200" y="258"/>
                    <a:pt x="193" y="235"/>
                  </a:cubicBezTo>
                  <a:cubicBezTo>
                    <a:pt x="187" y="211"/>
                    <a:pt x="182" y="185"/>
                    <a:pt x="188" y="180"/>
                  </a:cubicBezTo>
                  <a:cubicBezTo>
                    <a:pt x="195" y="176"/>
                    <a:pt x="197" y="160"/>
                    <a:pt x="197" y="160"/>
                  </a:cubicBezTo>
                  <a:cubicBezTo>
                    <a:pt x="197" y="160"/>
                    <a:pt x="215" y="147"/>
                    <a:pt x="220" y="143"/>
                  </a:cubicBezTo>
                  <a:cubicBezTo>
                    <a:pt x="226" y="140"/>
                    <a:pt x="229" y="129"/>
                    <a:pt x="229" y="129"/>
                  </a:cubicBezTo>
                  <a:cubicBezTo>
                    <a:pt x="229" y="129"/>
                    <a:pt x="248" y="132"/>
                    <a:pt x="254" y="127"/>
                  </a:cubicBezTo>
                  <a:cubicBezTo>
                    <a:pt x="259" y="122"/>
                    <a:pt x="259" y="100"/>
                    <a:pt x="259" y="100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4" y="94"/>
                    <a:pt x="261" y="92"/>
                    <a:pt x="257" y="92"/>
                  </a:cubicBezTo>
                  <a:cubicBezTo>
                    <a:pt x="249" y="91"/>
                    <a:pt x="236" y="94"/>
                    <a:pt x="229" y="87"/>
                  </a:cubicBezTo>
                  <a:cubicBezTo>
                    <a:pt x="222" y="80"/>
                    <a:pt x="218" y="75"/>
                    <a:pt x="218" y="75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6" y="47"/>
                    <a:pt x="196" y="47"/>
                    <a:pt x="196" y="47"/>
                  </a:cubicBezTo>
                  <a:cubicBezTo>
                    <a:pt x="196" y="47"/>
                    <a:pt x="212" y="40"/>
                    <a:pt x="207" y="32"/>
                  </a:cubicBezTo>
                  <a:cubicBezTo>
                    <a:pt x="202" y="24"/>
                    <a:pt x="182" y="25"/>
                    <a:pt x="182" y="25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19" y="4"/>
                    <a:pt x="115" y="9"/>
                  </a:cubicBezTo>
                  <a:cubicBezTo>
                    <a:pt x="111" y="14"/>
                    <a:pt x="117" y="28"/>
                    <a:pt x="110" y="30"/>
                  </a:cubicBezTo>
                  <a:cubicBezTo>
                    <a:pt x="103" y="32"/>
                    <a:pt x="95" y="36"/>
                    <a:pt x="95" y="36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97" y="45"/>
                    <a:pt x="84" y="46"/>
                  </a:cubicBezTo>
                  <a:cubicBezTo>
                    <a:pt x="71" y="47"/>
                    <a:pt x="72" y="42"/>
                    <a:pt x="72" y="42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39" y="47"/>
                    <a:pt x="33" y="47"/>
                  </a:cubicBezTo>
                  <a:cubicBezTo>
                    <a:pt x="27" y="47"/>
                    <a:pt x="8" y="24"/>
                    <a:pt x="4" y="3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7" name="Freeform 91">
              <a:extLst>
                <a:ext uri="{FF2B5EF4-FFF2-40B4-BE49-F238E27FC236}">
                  <a16:creationId xmlns:a16="http://schemas.microsoft.com/office/drawing/2014/main" id="{6ED60EAB-A56F-D5F2-3671-562ABD8C7F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1519" y="4307544"/>
              <a:ext cx="141763" cy="132616"/>
            </a:xfrm>
            <a:custGeom>
              <a:avLst/>
              <a:gdLst>
                <a:gd name="T0" fmla="*/ 1 w 247"/>
                <a:gd name="T1" fmla="*/ 1 h 235"/>
                <a:gd name="T2" fmla="*/ 0 w 247"/>
                <a:gd name="T3" fmla="*/ 0 h 235"/>
                <a:gd name="T4" fmla="*/ 0 w 247"/>
                <a:gd name="T5" fmla="*/ 1 h 235"/>
                <a:gd name="T6" fmla="*/ 1 w 247"/>
                <a:gd name="T7" fmla="*/ 1 h 235"/>
                <a:gd name="T8" fmla="*/ 1 w 247"/>
                <a:gd name="T9" fmla="*/ 1 h 235"/>
                <a:gd name="T10" fmla="*/ 0 w 247"/>
                <a:gd name="T11" fmla="*/ 4 h 235"/>
                <a:gd name="T12" fmla="*/ 1 w 247"/>
                <a:gd name="T13" fmla="*/ 4 h 235"/>
                <a:gd name="T14" fmla="*/ 1 w 247"/>
                <a:gd name="T15" fmla="*/ 3 h 235"/>
                <a:gd name="T16" fmla="*/ 0 w 247"/>
                <a:gd name="T17" fmla="*/ 4 h 235"/>
                <a:gd name="T18" fmla="*/ 0 w 247"/>
                <a:gd name="T19" fmla="*/ 4 h 235"/>
                <a:gd name="T20" fmla="*/ 3 w 247"/>
                <a:gd name="T21" fmla="*/ 4 h 235"/>
                <a:gd name="T22" fmla="*/ 1 w 247"/>
                <a:gd name="T23" fmla="*/ 4 h 235"/>
                <a:gd name="T24" fmla="*/ 2 w 247"/>
                <a:gd name="T25" fmla="*/ 5 h 235"/>
                <a:gd name="T26" fmla="*/ 3 w 247"/>
                <a:gd name="T27" fmla="*/ 5 h 235"/>
                <a:gd name="T28" fmla="*/ 3 w 247"/>
                <a:gd name="T29" fmla="*/ 4 h 235"/>
                <a:gd name="T30" fmla="*/ 2 w 247"/>
                <a:gd name="T31" fmla="*/ 6 h 235"/>
                <a:gd name="T32" fmla="*/ 3 w 247"/>
                <a:gd name="T33" fmla="*/ 6 h 235"/>
                <a:gd name="T34" fmla="*/ 2 w 247"/>
                <a:gd name="T35" fmla="*/ 5 h 235"/>
                <a:gd name="T36" fmla="*/ 2 w 247"/>
                <a:gd name="T37" fmla="*/ 6 h 235"/>
                <a:gd name="T38" fmla="*/ 9 w 247"/>
                <a:gd name="T39" fmla="*/ 7 h 235"/>
                <a:gd name="T40" fmla="*/ 7 w 247"/>
                <a:gd name="T41" fmla="*/ 7 h 235"/>
                <a:gd name="T42" fmla="*/ 8 w 247"/>
                <a:gd name="T43" fmla="*/ 9 h 235"/>
                <a:gd name="T44" fmla="*/ 10 w 247"/>
                <a:gd name="T45" fmla="*/ 9 h 235"/>
                <a:gd name="T46" fmla="*/ 9 w 247"/>
                <a:gd name="T47" fmla="*/ 7 h 235"/>
                <a:gd name="T48" fmla="*/ 11 w 247"/>
                <a:gd name="T49" fmla="*/ 10 h 235"/>
                <a:gd name="T50" fmla="*/ 13 w 247"/>
                <a:gd name="T51" fmla="*/ 12 h 235"/>
                <a:gd name="T52" fmla="*/ 13 w 247"/>
                <a:gd name="T53" fmla="*/ 11 h 235"/>
                <a:gd name="T54" fmla="*/ 11 w 247"/>
                <a:gd name="T55" fmla="*/ 10 h 235"/>
                <a:gd name="T56" fmla="*/ 10 w 247"/>
                <a:gd name="T57" fmla="*/ 4 h 235"/>
                <a:gd name="T58" fmla="*/ 10 w 247"/>
                <a:gd name="T59" fmla="*/ 7 h 235"/>
                <a:gd name="T60" fmla="*/ 12 w 247"/>
                <a:gd name="T61" fmla="*/ 8 h 235"/>
                <a:gd name="T62" fmla="*/ 10 w 247"/>
                <a:gd name="T63" fmla="*/ 4 h 235"/>
                <a:gd name="T64" fmla="*/ 4 w 247"/>
                <a:gd name="T65" fmla="*/ 2 h 235"/>
                <a:gd name="T66" fmla="*/ 8 w 247"/>
                <a:gd name="T67" fmla="*/ 5 h 235"/>
                <a:gd name="T68" fmla="*/ 4 w 247"/>
                <a:gd name="T69" fmla="*/ 2 h 23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7"/>
                <a:gd name="T106" fmla="*/ 0 h 235"/>
                <a:gd name="T107" fmla="*/ 247 w 247"/>
                <a:gd name="T108" fmla="*/ 235 h 23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7" h="235">
                  <a:moveTo>
                    <a:pt x="21" y="14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32"/>
                    <a:pt x="15" y="32"/>
                    <a:pt x="15" y="32"/>
                  </a:cubicBezTo>
                  <a:lnTo>
                    <a:pt x="21" y="14"/>
                  </a:lnTo>
                  <a:close/>
                  <a:moveTo>
                    <a:pt x="0" y="84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0" y="70"/>
                    <a:pt x="0" y="70"/>
                    <a:pt x="0" y="70"/>
                  </a:cubicBezTo>
                  <a:lnTo>
                    <a:pt x="0" y="84"/>
                  </a:lnTo>
                  <a:close/>
                  <a:moveTo>
                    <a:pt x="51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53" y="91"/>
                    <a:pt x="53" y="91"/>
                    <a:pt x="53" y="91"/>
                  </a:cubicBezTo>
                  <a:lnTo>
                    <a:pt x="51" y="81"/>
                  </a:lnTo>
                  <a:close/>
                  <a:moveTo>
                    <a:pt x="39" y="126"/>
                  </a:moveTo>
                  <a:cubicBezTo>
                    <a:pt x="64" y="123"/>
                    <a:pt x="64" y="123"/>
                    <a:pt x="64" y="123"/>
                  </a:cubicBezTo>
                  <a:cubicBezTo>
                    <a:pt x="32" y="103"/>
                    <a:pt x="32" y="103"/>
                    <a:pt x="32" y="103"/>
                  </a:cubicBezTo>
                  <a:lnTo>
                    <a:pt x="39" y="126"/>
                  </a:lnTo>
                  <a:close/>
                  <a:moveTo>
                    <a:pt x="163" y="149"/>
                  </a:moveTo>
                  <a:cubicBezTo>
                    <a:pt x="145" y="139"/>
                    <a:pt x="128" y="142"/>
                    <a:pt x="128" y="142"/>
                  </a:cubicBezTo>
                  <a:cubicBezTo>
                    <a:pt x="128" y="142"/>
                    <a:pt x="124" y="161"/>
                    <a:pt x="142" y="169"/>
                  </a:cubicBezTo>
                  <a:cubicBezTo>
                    <a:pt x="168" y="180"/>
                    <a:pt x="183" y="172"/>
                    <a:pt x="183" y="172"/>
                  </a:cubicBezTo>
                  <a:cubicBezTo>
                    <a:pt x="183" y="172"/>
                    <a:pt x="182" y="160"/>
                    <a:pt x="163" y="149"/>
                  </a:cubicBezTo>
                  <a:close/>
                  <a:moveTo>
                    <a:pt x="205" y="193"/>
                  </a:moveTo>
                  <a:cubicBezTo>
                    <a:pt x="238" y="235"/>
                    <a:pt x="238" y="235"/>
                    <a:pt x="238" y="235"/>
                  </a:cubicBezTo>
                  <a:cubicBezTo>
                    <a:pt x="247" y="215"/>
                    <a:pt x="247" y="215"/>
                    <a:pt x="247" y="215"/>
                  </a:cubicBezTo>
                  <a:lnTo>
                    <a:pt x="205" y="193"/>
                  </a:lnTo>
                  <a:close/>
                  <a:moveTo>
                    <a:pt x="189" y="84"/>
                  </a:moveTo>
                  <a:cubicBezTo>
                    <a:pt x="189" y="84"/>
                    <a:pt x="178" y="119"/>
                    <a:pt x="184" y="130"/>
                  </a:cubicBezTo>
                  <a:cubicBezTo>
                    <a:pt x="191" y="140"/>
                    <a:pt x="218" y="160"/>
                    <a:pt x="218" y="160"/>
                  </a:cubicBezTo>
                  <a:lnTo>
                    <a:pt x="189" y="84"/>
                  </a:lnTo>
                  <a:close/>
                  <a:moveTo>
                    <a:pt x="81" y="41"/>
                  </a:moveTo>
                  <a:cubicBezTo>
                    <a:pt x="75" y="51"/>
                    <a:pt x="130" y="104"/>
                    <a:pt x="138" y="102"/>
                  </a:cubicBezTo>
                  <a:cubicBezTo>
                    <a:pt x="154" y="100"/>
                    <a:pt x="86" y="30"/>
                    <a:pt x="81" y="4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8" name="Freeform 92">
              <a:extLst>
                <a:ext uri="{FF2B5EF4-FFF2-40B4-BE49-F238E27FC236}">
                  <a16:creationId xmlns:a16="http://schemas.microsoft.com/office/drawing/2014/main" id="{EED506CB-CF57-C4FA-670D-6BC543768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667" y="3897499"/>
              <a:ext cx="117374" cy="166151"/>
            </a:xfrm>
            <a:custGeom>
              <a:avLst/>
              <a:gdLst>
                <a:gd name="T0" fmla="*/ 0 w 207"/>
                <a:gd name="T1" fmla="*/ 1 h 293"/>
                <a:gd name="T2" fmla="*/ 0 w 207"/>
                <a:gd name="T3" fmla="*/ 5 h 293"/>
                <a:gd name="T4" fmla="*/ 2 w 207"/>
                <a:gd name="T5" fmla="*/ 5 h 293"/>
                <a:gd name="T6" fmla="*/ 2 w 207"/>
                <a:gd name="T7" fmla="*/ 8 h 293"/>
                <a:gd name="T8" fmla="*/ 3 w 207"/>
                <a:gd name="T9" fmla="*/ 8 h 293"/>
                <a:gd name="T10" fmla="*/ 3 w 207"/>
                <a:gd name="T11" fmla="*/ 10 h 293"/>
                <a:gd name="T12" fmla="*/ 6 w 207"/>
                <a:gd name="T13" fmla="*/ 12 h 293"/>
                <a:gd name="T14" fmla="*/ 6 w 207"/>
                <a:gd name="T15" fmla="*/ 13 h 293"/>
                <a:gd name="T16" fmla="*/ 8 w 207"/>
                <a:gd name="T17" fmla="*/ 14 h 293"/>
                <a:gd name="T18" fmla="*/ 9 w 207"/>
                <a:gd name="T19" fmla="*/ 15 h 293"/>
                <a:gd name="T20" fmla="*/ 10 w 207"/>
                <a:gd name="T21" fmla="*/ 15 h 293"/>
                <a:gd name="T22" fmla="*/ 10 w 207"/>
                <a:gd name="T23" fmla="*/ 13 h 293"/>
                <a:gd name="T24" fmla="*/ 9 w 207"/>
                <a:gd name="T25" fmla="*/ 11 h 293"/>
                <a:gd name="T26" fmla="*/ 9 w 207"/>
                <a:gd name="T27" fmla="*/ 9 h 293"/>
                <a:gd name="T28" fmla="*/ 9 w 207"/>
                <a:gd name="T29" fmla="*/ 8 h 293"/>
                <a:gd name="T30" fmla="*/ 9 w 207"/>
                <a:gd name="T31" fmla="*/ 4 h 293"/>
                <a:gd name="T32" fmla="*/ 6 w 207"/>
                <a:gd name="T33" fmla="*/ 2 h 293"/>
                <a:gd name="T34" fmla="*/ 5 w 207"/>
                <a:gd name="T35" fmla="*/ 1 h 293"/>
                <a:gd name="T36" fmla="*/ 5 w 207"/>
                <a:gd name="T37" fmla="*/ 3 h 293"/>
                <a:gd name="T38" fmla="*/ 4 w 207"/>
                <a:gd name="T39" fmla="*/ 2 h 293"/>
                <a:gd name="T40" fmla="*/ 3 w 207"/>
                <a:gd name="T41" fmla="*/ 3 h 293"/>
                <a:gd name="T42" fmla="*/ 3 w 207"/>
                <a:gd name="T43" fmla="*/ 1 h 293"/>
                <a:gd name="T44" fmla="*/ 2 w 207"/>
                <a:gd name="T45" fmla="*/ 1 h 293"/>
                <a:gd name="T46" fmla="*/ 2 w 207"/>
                <a:gd name="T47" fmla="*/ 1 h 293"/>
                <a:gd name="T48" fmla="*/ 1 w 207"/>
                <a:gd name="T49" fmla="*/ 0 h 293"/>
                <a:gd name="T50" fmla="*/ 0 w 207"/>
                <a:gd name="T51" fmla="*/ 0 h 293"/>
                <a:gd name="T52" fmla="*/ 0 w 207"/>
                <a:gd name="T53" fmla="*/ 1 h 293"/>
                <a:gd name="T54" fmla="*/ 0 w 207"/>
                <a:gd name="T55" fmla="*/ 1 h 293"/>
                <a:gd name="T56" fmla="*/ 0 w 207"/>
                <a:gd name="T57" fmla="*/ 1 h 29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7"/>
                <a:gd name="T88" fmla="*/ 0 h 293"/>
                <a:gd name="T89" fmla="*/ 207 w 207"/>
                <a:gd name="T90" fmla="*/ 293 h 29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7" h="293">
                  <a:moveTo>
                    <a:pt x="1" y="30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38" y="79"/>
                    <a:pt x="38" y="99"/>
                  </a:cubicBezTo>
                  <a:cubicBezTo>
                    <a:pt x="37" y="119"/>
                    <a:pt x="28" y="141"/>
                    <a:pt x="39" y="153"/>
                  </a:cubicBezTo>
                  <a:cubicBezTo>
                    <a:pt x="50" y="166"/>
                    <a:pt x="62" y="153"/>
                    <a:pt x="62" y="153"/>
                  </a:cubicBezTo>
                  <a:cubicBezTo>
                    <a:pt x="62" y="153"/>
                    <a:pt x="55" y="194"/>
                    <a:pt x="65" y="203"/>
                  </a:cubicBezTo>
                  <a:cubicBezTo>
                    <a:pt x="75" y="212"/>
                    <a:pt x="114" y="236"/>
                    <a:pt x="114" y="236"/>
                  </a:cubicBezTo>
                  <a:cubicBezTo>
                    <a:pt x="114" y="236"/>
                    <a:pt x="116" y="256"/>
                    <a:pt x="121" y="258"/>
                  </a:cubicBezTo>
                  <a:cubicBezTo>
                    <a:pt x="126" y="259"/>
                    <a:pt x="153" y="271"/>
                    <a:pt x="153" y="271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202" y="290"/>
                    <a:pt x="202" y="290"/>
                    <a:pt x="202" y="290"/>
                  </a:cubicBezTo>
                  <a:cubicBezTo>
                    <a:pt x="202" y="290"/>
                    <a:pt x="207" y="270"/>
                    <a:pt x="205" y="252"/>
                  </a:cubicBezTo>
                  <a:cubicBezTo>
                    <a:pt x="203" y="235"/>
                    <a:pt x="173" y="215"/>
                    <a:pt x="172" y="210"/>
                  </a:cubicBezTo>
                  <a:cubicBezTo>
                    <a:pt x="171" y="205"/>
                    <a:pt x="177" y="193"/>
                    <a:pt x="170" y="184"/>
                  </a:cubicBezTo>
                  <a:cubicBezTo>
                    <a:pt x="162" y="175"/>
                    <a:pt x="168" y="173"/>
                    <a:pt x="168" y="160"/>
                  </a:cubicBezTo>
                  <a:cubicBezTo>
                    <a:pt x="169" y="148"/>
                    <a:pt x="172" y="109"/>
                    <a:pt x="167" y="87"/>
                  </a:cubicBezTo>
                  <a:cubicBezTo>
                    <a:pt x="163" y="65"/>
                    <a:pt x="121" y="50"/>
                    <a:pt x="115" y="41"/>
                  </a:cubicBezTo>
                  <a:cubicBezTo>
                    <a:pt x="113" y="38"/>
                    <a:pt x="108" y="34"/>
                    <a:pt x="103" y="31"/>
                  </a:cubicBezTo>
                  <a:cubicBezTo>
                    <a:pt x="100" y="39"/>
                    <a:pt x="95" y="50"/>
                    <a:pt x="91" y="55"/>
                  </a:cubicBezTo>
                  <a:cubicBezTo>
                    <a:pt x="85" y="63"/>
                    <a:pt x="83" y="46"/>
                    <a:pt x="72" y="47"/>
                  </a:cubicBezTo>
                  <a:cubicBezTo>
                    <a:pt x="61" y="48"/>
                    <a:pt x="62" y="58"/>
                    <a:pt x="49" y="54"/>
                  </a:cubicBezTo>
                  <a:cubicBezTo>
                    <a:pt x="36" y="50"/>
                    <a:pt x="52" y="38"/>
                    <a:pt x="52" y="32"/>
                  </a:cubicBezTo>
                  <a:cubicBezTo>
                    <a:pt x="52" y="26"/>
                    <a:pt x="45" y="28"/>
                    <a:pt x="45" y="28"/>
                  </a:cubicBezTo>
                  <a:cubicBezTo>
                    <a:pt x="45" y="28"/>
                    <a:pt x="46" y="20"/>
                    <a:pt x="39" y="16"/>
                  </a:cubicBezTo>
                  <a:cubicBezTo>
                    <a:pt x="32" y="12"/>
                    <a:pt x="21" y="12"/>
                    <a:pt x="21" y="12"/>
                  </a:cubicBezTo>
                  <a:cubicBezTo>
                    <a:pt x="21" y="12"/>
                    <a:pt x="19" y="0"/>
                    <a:pt x="12" y="1"/>
                  </a:cubicBezTo>
                  <a:cubicBezTo>
                    <a:pt x="5" y="2"/>
                    <a:pt x="6" y="8"/>
                    <a:pt x="7" y="17"/>
                  </a:cubicBezTo>
                  <a:cubicBezTo>
                    <a:pt x="7" y="21"/>
                    <a:pt x="4" y="25"/>
                    <a:pt x="0" y="29"/>
                  </a:cubicBezTo>
                  <a:cubicBezTo>
                    <a:pt x="1" y="29"/>
                    <a:pt x="1" y="30"/>
                    <a:pt x="1" y="3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89" name="Freeform 93">
              <a:extLst>
                <a:ext uri="{FF2B5EF4-FFF2-40B4-BE49-F238E27FC236}">
                  <a16:creationId xmlns:a16="http://schemas.microsoft.com/office/drawing/2014/main" id="{E57C132D-88C2-8083-E6C3-6EE2382EE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494" y="3659704"/>
              <a:ext cx="141763" cy="124995"/>
            </a:xfrm>
            <a:custGeom>
              <a:avLst/>
              <a:gdLst>
                <a:gd name="T0" fmla="*/ 11 w 252"/>
                <a:gd name="T1" fmla="*/ 0 h 224"/>
                <a:gd name="T2" fmla="*/ 10 w 252"/>
                <a:gd name="T3" fmla="*/ 0 h 224"/>
                <a:gd name="T4" fmla="*/ 9 w 252"/>
                <a:gd name="T5" fmla="*/ 0 h 224"/>
                <a:gd name="T6" fmla="*/ 9 w 252"/>
                <a:gd name="T7" fmla="*/ 0 h 224"/>
                <a:gd name="T8" fmla="*/ 8 w 252"/>
                <a:gd name="T9" fmla="*/ 1 h 224"/>
                <a:gd name="T10" fmla="*/ 8 w 252"/>
                <a:gd name="T11" fmla="*/ 2 h 224"/>
                <a:gd name="T12" fmla="*/ 8 w 252"/>
                <a:gd name="T13" fmla="*/ 1 h 224"/>
                <a:gd name="T14" fmla="*/ 7 w 252"/>
                <a:gd name="T15" fmla="*/ 1 h 224"/>
                <a:gd name="T16" fmla="*/ 6 w 252"/>
                <a:gd name="T17" fmla="*/ 1 h 224"/>
                <a:gd name="T18" fmla="*/ 6 w 252"/>
                <a:gd name="T19" fmla="*/ 1 h 224"/>
                <a:gd name="T20" fmla="*/ 5 w 252"/>
                <a:gd name="T21" fmla="*/ 0 h 224"/>
                <a:gd name="T22" fmla="*/ 4 w 252"/>
                <a:gd name="T23" fmla="*/ 1 h 224"/>
                <a:gd name="T24" fmla="*/ 2 w 252"/>
                <a:gd name="T25" fmla="*/ 0 h 224"/>
                <a:gd name="T26" fmla="*/ 1 w 252"/>
                <a:gd name="T27" fmla="*/ 1 h 224"/>
                <a:gd name="T28" fmla="*/ 0 w 252"/>
                <a:gd name="T29" fmla="*/ 3 h 224"/>
                <a:gd name="T30" fmla="*/ 0 w 252"/>
                <a:gd name="T31" fmla="*/ 4 h 224"/>
                <a:gd name="T32" fmla="*/ 0 w 252"/>
                <a:gd name="T33" fmla="*/ 4 h 224"/>
                <a:gd name="T34" fmla="*/ 0 w 252"/>
                <a:gd name="T35" fmla="*/ 5 h 224"/>
                <a:gd name="T36" fmla="*/ 1 w 252"/>
                <a:gd name="T37" fmla="*/ 5 h 224"/>
                <a:gd name="T38" fmla="*/ 1 w 252"/>
                <a:gd name="T39" fmla="*/ 7 h 224"/>
                <a:gd name="T40" fmla="*/ 1 w 252"/>
                <a:gd name="T41" fmla="*/ 7 h 224"/>
                <a:gd name="T42" fmla="*/ 1 w 252"/>
                <a:gd name="T43" fmla="*/ 8 h 224"/>
                <a:gd name="T44" fmla="*/ 2 w 252"/>
                <a:gd name="T45" fmla="*/ 10 h 224"/>
                <a:gd name="T46" fmla="*/ 3 w 252"/>
                <a:gd name="T47" fmla="*/ 9 h 224"/>
                <a:gd name="T48" fmla="*/ 3 w 252"/>
                <a:gd name="T49" fmla="*/ 10 h 224"/>
                <a:gd name="T50" fmla="*/ 5 w 252"/>
                <a:gd name="T51" fmla="*/ 10 h 224"/>
                <a:gd name="T52" fmla="*/ 5 w 252"/>
                <a:gd name="T53" fmla="*/ 11 h 224"/>
                <a:gd name="T54" fmla="*/ 6 w 252"/>
                <a:gd name="T55" fmla="*/ 11 h 224"/>
                <a:gd name="T56" fmla="*/ 7 w 252"/>
                <a:gd name="T57" fmla="*/ 11 h 224"/>
                <a:gd name="T58" fmla="*/ 7 w 252"/>
                <a:gd name="T59" fmla="*/ 10 h 224"/>
                <a:gd name="T60" fmla="*/ 8 w 252"/>
                <a:gd name="T61" fmla="*/ 10 h 224"/>
                <a:gd name="T62" fmla="*/ 8 w 252"/>
                <a:gd name="T63" fmla="*/ 10 h 224"/>
                <a:gd name="T64" fmla="*/ 10 w 252"/>
                <a:gd name="T65" fmla="*/ 10 h 224"/>
                <a:gd name="T66" fmla="*/ 9 w 252"/>
                <a:gd name="T67" fmla="*/ 9 h 224"/>
                <a:gd name="T68" fmla="*/ 9 w 252"/>
                <a:gd name="T69" fmla="*/ 8 h 224"/>
                <a:gd name="T70" fmla="*/ 10 w 252"/>
                <a:gd name="T71" fmla="*/ 8 h 224"/>
                <a:gd name="T72" fmla="*/ 10 w 252"/>
                <a:gd name="T73" fmla="*/ 7 h 224"/>
                <a:gd name="T74" fmla="*/ 11 w 252"/>
                <a:gd name="T75" fmla="*/ 7 h 224"/>
                <a:gd name="T76" fmla="*/ 11 w 252"/>
                <a:gd name="T77" fmla="*/ 6 h 224"/>
                <a:gd name="T78" fmla="*/ 12 w 252"/>
                <a:gd name="T79" fmla="*/ 6 h 224"/>
                <a:gd name="T80" fmla="*/ 13 w 252"/>
                <a:gd name="T81" fmla="*/ 5 h 224"/>
                <a:gd name="T82" fmla="*/ 12 w 252"/>
                <a:gd name="T83" fmla="*/ 4 h 224"/>
                <a:gd name="T84" fmla="*/ 13 w 252"/>
                <a:gd name="T85" fmla="*/ 3 h 224"/>
                <a:gd name="T86" fmla="*/ 11 w 252"/>
                <a:gd name="T87" fmla="*/ 1 h 224"/>
                <a:gd name="T88" fmla="*/ 11 w 252"/>
                <a:gd name="T89" fmla="*/ 0 h 224"/>
                <a:gd name="T90" fmla="*/ 11 w 252"/>
                <a:gd name="T91" fmla="*/ 0 h 2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2"/>
                <a:gd name="T139" fmla="*/ 0 h 224"/>
                <a:gd name="T140" fmla="*/ 252 w 252"/>
                <a:gd name="T141" fmla="*/ 224 h 2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2" h="224">
                  <a:moveTo>
                    <a:pt x="214" y="0"/>
                  </a:moveTo>
                  <a:cubicBezTo>
                    <a:pt x="206" y="9"/>
                    <a:pt x="206" y="9"/>
                    <a:pt x="206" y="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6"/>
                    <a:pt x="176" y="28"/>
                    <a:pt x="168" y="36"/>
                  </a:cubicBezTo>
                  <a:cubicBezTo>
                    <a:pt x="160" y="44"/>
                    <a:pt x="151" y="24"/>
                    <a:pt x="151" y="24"/>
                  </a:cubicBezTo>
                  <a:cubicBezTo>
                    <a:pt x="151" y="24"/>
                    <a:pt x="135" y="23"/>
                    <a:pt x="131" y="22"/>
                  </a:cubicBezTo>
                  <a:cubicBezTo>
                    <a:pt x="128" y="21"/>
                    <a:pt x="128" y="16"/>
                    <a:pt x="128" y="13"/>
                  </a:cubicBezTo>
                  <a:cubicBezTo>
                    <a:pt x="125" y="15"/>
                    <a:pt x="123" y="16"/>
                    <a:pt x="123" y="16"/>
                  </a:cubicBezTo>
                  <a:cubicBezTo>
                    <a:pt x="123" y="16"/>
                    <a:pt x="106" y="7"/>
                    <a:pt x="101" y="8"/>
                  </a:cubicBezTo>
                  <a:cubicBezTo>
                    <a:pt x="96" y="9"/>
                    <a:pt x="74" y="15"/>
                    <a:pt x="74" y="15"/>
                  </a:cubicBezTo>
                  <a:cubicBezTo>
                    <a:pt x="74" y="15"/>
                    <a:pt x="73" y="5"/>
                    <a:pt x="46" y="10"/>
                  </a:cubicBezTo>
                  <a:cubicBezTo>
                    <a:pt x="19" y="15"/>
                    <a:pt x="19" y="34"/>
                    <a:pt x="19" y="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20" y="134"/>
                    <a:pt x="23" y="136"/>
                    <a:pt x="26" y="139"/>
                  </a:cubicBezTo>
                  <a:cubicBezTo>
                    <a:pt x="41" y="156"/>
                    <a:pt x="27" y="168"/>
                    <a:pt x="27" y="168"/>
                  </a:cubicBezTo>
                  <a:cubicBezTo>
                    <a:pt x="27" y="168"/>
                    <a:pt x="36" y="190"/>
                    <a:pt x="46" y="191"/>
                  </a:cubicBezTo>
                  <a:cubicBezTo>
                    <a:pt x="56" y="191"/>
                    <a:pt x="59" y="178"/>
                    <a:pt x="59" y="178"/>
                  </a:cubicBezTo>
                  <a:cubicBezTo>
                    <a:pt x="59" y="178"/>
                    <a:pt x="58" y="202"/>
                    <a:pt x="68" y="204"/>
                  </a:cubicBezTo>
                  <a:cubicBezTo>
                    <a:pt x="79" y="206"/>
                    <a:pt x="89" y="198"/>
                    <a:pt x="91" y="208"/>
                  </a:cubicBezTo>
                  <a:cubicBezTo>
                    <a:pt x="92" y="212"/>
                    <a:pt x="95" y="218"/>
                    <a:pt x="97" y="223"/>
                  </a:cubicBezTo>
                  <a:cubicBezTo>
                    <a:pt x="110" y="224"/>
                    <a:pt x="110" y="224"/>
                    <a:pt x="110" y="224"/>
                  </a:cubicBezTo>
                  <a:cubicBezTo>
                    <a:pt x="112" y="219"/>
                    <a:pt x="124" y="214"/>
                    <a:pt x="139" y="213"/>
                  </a:cubicBezTo>
                  <a:cubicBezTo>
                    <a:pt x="159" y="211"/>
                    <a:pt x="135" y="197"/>
                    <a:pt x="135" y="197"/>
                  </a:cubicBezTo>
                  <a:cubicBezTo>
                    <a:pt x="135" y="197"/>
                    <a:pt x="149" y="197"/>
                    <a:pt x="153" y="197"/>
                  </a:cubicBezTo>
                  <a:cubicBezTo>
                    <a:pt x="157" y="197"/>
                    <a:pt x="159" y="190"/>
                    <a:pt x="169" y="190"/>
                  </a:cubicBezTo>
                  <a:cubicBezTo>
                    <a:pt x="179" y="190"/>
                    <a:pt x="186" y="206"/>
                    <a:pt x="193" y="205"/>
                  </a:cubicBezTo>
                  <a:cubicBezTo>
                    <a:pt x="200" y="204"/>
                    <a:pt x="193" y="194"/>
                    <a:pt x="183" y="186"/>
                  </a:cubicBezTo>
                  <a:cubicBezTo>
                    <a:pt x="173" y="178"/>
                    <a:pt x="173" y="160"/>
                    <a:pt x="175" y="154"/>
                  </a:cubicBezTo>
                  <a:cubicBezTo>
                    <a:pt x="177" y="148"/>
                    <a:pt x="204" y="152"/>
                    <a:pt x="204" y="152"/>
                  </a:cubicBezTo>
                  <a:cubicBezTo>
                    <a:pt x="201" y="138"/>
                    <a:pt x="201" y="138"/>
                    <a:pt x="201" y="13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23" y="126"/>
                    <a:pt x="228" y="123"/>
                  </a:cubicBezTo>
                  <a:cubicBezTo>
                    <a:pt x="233" y="120"/>
                    <a:pt x="245" y="125"/>
                    <a:pt x="245" y="125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8" y="111"/>
                    <a:pt x="238" y="75"/>
                    <a:pt x="237" y="72"/>
                  </a:cubicBezTo>
                  <a:cubicBezTo>
                    <a:pt x="236" y="69"/>
                    <a:pt x="252" y="69"/>
                    <a:pt x="252" y="56"/>
                  </a:cubicBezTo>
                  <a:cubicBezTo>
                    <a:pt x="252" y="43"/>
                    <a:pt x="231" y="32"/>
                    <a:pt x="231" y="32"/>
                  </a:cubicBezTo>
                  <a:cubicBezTo>
                    <a:pt x="231" y="4"/>
                    <a:pt x="231" y="4"/>
                    <a:pt x="231" y="4"/>
                  </a:cubicBezTo>
                  <a:lnTo>
                    <a:pt x="214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0" name="Freeform 94">
              <a:extLst>
                <a:ext uri="{FF2B5EF4-FFF2-40B4-BE49-F238E27FC236}">
                  <a16:creationId xmlns:a16="http://schemas.microsoft.com/office/drawing/2014/main" id="{347D4AC6-35EE-6CFB-0160-1BBED4C63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034" y="3415811"/>
              <a:ext cx="230174" cy="266757"/>
            </a:xfrm>
            <a:custGeom>
              <a:avLst/>
              <a:gdLst>
                <a:gd name="T0" fmla="*/ 1 w 404"/>
                <a:gd name="T1" fmla="*/ 6 h 470"/>
                <a:gd name="T2" fmla="*/ 3 w 404"/>
                <a:gd name="T3" fmla="*/ 9 h 470"/>
                <a:gd name="T4" fmla="*/ 3 w 404"/>
                <a:gd name="T5" fmla="*/ 8 h 470"/>
                <a:gd name="T6" fmla="*/ 4 w 404"/>
                <a:gd name="T7" fmla="*/ 10 h 470"/>
                <a:gd name="T8" fmla="*/ 4 w 404"/>
                <a:gd name="T9" fmla="*/ 12 h 470"/>
                <a:gd name="T10" fmla="*/ 4 w 404"/>
                <a:gd name="T11" fmla="*/ 13 h 470"/>
                <a:gd name="T12" fmla="*/ 7 w 404"/>
                <a:gd name="T13" fmla="*/ 13 h 470"/>
                <a:gd name="T14" fmla="*/ 10 w 404"/>
                <a:gd name="T15" fmla="*/ 12 h 470"/>
                <a:gd name="T16" fmla="*/ 11 w 404"/>
                <a:gd name="T17" fmla="*/ 13 h 470"/>
                <a:gd name="T18" fmla="*/ 13 w 404"/>
                <a:gd name="T19" fmla="*/ 15 h 470"/>
                <a:gd name="T20" fmla="*/ 15 w 404"/>
                <a:gd name="T21" fmla="*/ 18 h 470"/>
                <a:gd name="T22" fmla="*/ 15 w 404"/>
                <a:gd name="T23" fmla="*/ 19 h 470"/>
                <a:gd name="T24" fmla="*/ 16 w 404"/>
                <a:gd name="T25" fmla="*/ 22 h 470"/>
                <a:gd name="T26" fmla="*/ 15 w 404"/>
                <a:gd name="T27" fmla="*/ 23 h 470"/>
                <a:gd name="T28" fmla="*/ 17 w 404"/>
                <a:gd name="T29" fmla="*/ 24 h 470"/>
                <a:gd name="T30" fmla="*/ 18 w 404"/>
                <a:gd name="T31" fmla="*/ 22 h 470"/>
                <a:gd name="T32" fmla="*/ 19 w 404"/>
                <a:gd name="T33" fmla="*/ 22 h 470"/>
                <a:gd name="T34" fmla="*/ 21 w 404"/>
                <a:gd name="T35" fmla="*/ 22 h 470"/>
                <a:gd name="T36" fmla="*/ 21 w 404"/>
                <a:gd name="T37" fmla="*/ 21 h 470"/>
                <a:gd name="T38" fmla="*/ 19 w 404"/>
                <a:gd name="T39" fmla="*/ 19 h 470"/>
                <a:gd name="T40" fmla="*/ 19 w 404"/>
                <a:gd name="T41" fmla="*/ 17 h 470"/>
                <a:gd name="T42" fmla="*/ 18 w 404"/>
                <a:gd name="T43" fmla="*/ 15 h 470"/>
                <a:gd name="T44" fmla="*/ 16 w 404"/>
                <a:gd name="T45" fmla="*/ 15 h 470"/>
                <a:gd name="T46" fmla="*/ 15 w 404"/>
                <a:gd name="T47" fmla="*/ 12 h 470"/>
                <a:gd name="T48" fmla="*/ 13 w 404"/>
                <a:gd name="T49" fmla="*/ 10 h 470"/>
                <a:gd name="T50" fmla="*/ 10 w 404"/>
                <a:gd name="T51" fmla="*/ 9 h 470"/>
                <a:gd name="T52" fmla="*/ 11 w 404"/>
                <a:gd name="T53" fmla="*/ 8 h 470"/>
                <a:gd name="T54" fmla="*/ 11 w 404"/>
                <a:gd name="T55" fmla="*/ 6 h 470"/>
                <a:gd name="T56" fmla="*/ 10 w 404"/>
                <a:gd name="T57" fmla="*/ 4 h 470"/>
                <a:gd name="T58" fmla="*/ 8 w 404"/>
                <a:gd name="T59" fmla="*/ 5 h 470"/>
                <a:gd name="T60" fmla="*/ 7 w 404"/>
                <a:gd name="T61" fmla="*/ 3 h 470"/>
                <a:gd name="T62" fmla="*/ 6 w 404"/>
                <a:gd name="T63" fmla="*/ 2 h 470"/>
                <a:gd name="T64" fmla="*/ 5 w 404"/>
                <a:gd name="T65" fmla="*/ 0 h 470"/>
                <a:gd name="T66" fmla="*/ 3 w 404"/>
                <a:gd name="T67" fmla="*/ 1 h 470"/>
                <a:gd name="T68" fmla="*/ 4 w 404"/>
                <a:gd name="T69" fmla="*/ 4 h 470"/>
                <a:gd name="T70" fmla="*/ 3 w 404"/>
                <a:gd name="T71" fmla="*/ 3 h 470"/>
                <a:gd name="T72" fmla="*/ 1 w 404"/>
                <a:gd name="T73" fmla="*/ 4 h 470"/>
                <a:gd name="T74" fmla="*/ 1 w 404"/>
                <a:gd name="T75" fmla="*/ 4 h 470"/>
                <a:gd name="T76" fmla="*/ 0 w 404"/>
                <a:gd name="T77" fmla="*/ 6 h 47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04"/>
                <a:gd name="T118" fmla="*/ 0 h 470"/>
                <a:gd name="T119" fmla="*/ 404 w 404"/>
                <a:gd name="T120" fmla="*/ 470 h 47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04" h="470">
                  <a:moveTo>
                    <a:pt x="17" y="121"/>
                  </a:moveTo>
                  <a:cubicBezTo>
                    <a:pt x="17" y="121"/>
                    <a:pt x="27" y="116"/>
                    <a:pt x="28" y="124"/>
                  </a:cubicBezTo>
                  <a:cubicBezTo>
                    <a:pt x="29" y="132"/>
                    <a:pt x="22" y="153"/>
                    <a:pt x="28" y="158"/>
                  </a:cubicBezTo>
                  <a:cubicBezTo>
                    <a:pt x="34" y="163"/>
                    <a:pt x="47" y="163"/>
                    <a:pt x="47" y="163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68" y="146"/>
                    <a:pt x="68" y="160"/>
                  </a:cubicBezTo>
                  <a:cubicBezTo>
                    <a:pt x="68" y="174"/>
                    <a:pt x="66" y="180"/>
                    <a:pt x="66" y="180"/>
                  </a:cubicBezTo>
                  <a:cubicBezTo>
                    <a:pt x="66" y="180"/>
                    <a:pt x="74" y="187"/>
                    <a:pt x="74" y="196"/>
                  </a:cubicBezTo>
                  <a:cubicBezTo>
                    <a:pt x="74" y="205"/>
                    <a:pt x="60" y="216"/>
                    <a:pt x="60" y="216"/>
                  </a:cubicBezTo>
                  <a:cubicBezTo>
                    <a:pt x="60" y="216"/>
                    <a:pt x="73" y="215"/>
                    <a:pt x="73" y="224"/>
                  </a:cubicBezTo>
                  <a:cubicBezTo>
                    <a:pt x="73" y="233"/>
                    <a:pt x="49" y="264"/>
                    <a:pt x="59" y="267"/>
                  </a:cubicBezTo>
                  <a:cubicBezTo>
                    <a:pt x="69" y="270"/>
                    <a:pt x="88" y="254"/>
                    <a:pt x="88" y="254"/>
                  </a:cubicBezTo>
                  <a:cubicBezTo>
                    <a:pt x="88" y="254"/>
                    <a:pt x="101" y="229"/>
                    <a:pt x="108" y="231"/>
                  </a:cubicBezTo>
                  <a:cubicBezTo>
                    <a:pt x="115" y="233"/>
                    <a:pt x="129" y="244"/>
                    <a:pt x="143" y="245"/>
                  </a:cubicBezTo>
                  <a:cubicBezTo>
                    <a:pt x="157" y="246"/>
                    <a:pt x="154" y="221"/>
                    <a:pt x="164" y="220"/>
                  </a:cubicBezTo>
                  <a:cubicBezTo>
                    <a:pt x="174" y="219"/>
                    <a:pt x="187" y="228"/>
                    <a:pt x="187" y="228"/>
                  </a:cubicBezTo>
                  <a:cubicBezTo>
                    <a:pt x="187" y="228"/>
                    <a:pt x="194" y="226"/>
                    <a:pt x="202" y="228"/>
                  </a:cubicBezTo>
                  <a:cubicBezTo>
                    <a:pt x="210" y="230"/>
                    <a:pt x="197" y="236"/>
                    <a:pt x="215" y="247"/>
                  </a:cubicBezTo>
                  <a:cubicBezTo>
                    <a:pt x="233" y="258"/>
                    <a:pt x="247" y="270"/>
                    <a:pt x="247" y="270"/>
                  </a:cubicBezTo>
                  <a:cubicBezTo>
                    <a:pt x="248" y="298"/>
                    <a:pt x="248" y="298"/>
                    <a:pt x="248" y="298"/>
                  </a:cubicBezTo>
                  <a:cubicBezTo>
                    <a:pt x="248" y="298"/>
                    <a:pt x="255" y="318"/>
                    <a:pt x="260" y="327"/>
                  </a:cubicBezTo>
                  <a:cubicBezTo>
                    <a:pt x="265" y="336"/>
                    <a:pt x="283" y="343"/>
                    <a:pt x="283" y="347"/>
                  </a:cubicBezTo>
                  <a:cubicBezTo>
                    <a:pt x="283" y="351"/>
                    <a:pt x="285" y="364"/>
                    <a:pt x="285" y="364"/>
                  </a:cubicBezTo>
                  <a:cubicBezTo>
                    <a:pt x="285" y="364"/>
                    <a:pt x="288" y="357"/>
                    <a:pt x="294" y="367"/>
                  </a:cubicBezTo>
                  <a:cubicBezTo>
                    <a:pt x="300" y="377"/>
                    <a:pt x="285" y="390"/>
                    <a:pt x="287" y="394"/>
                  </a:cubicBezTo>
                  <a:cubicBezTo>
                    <a:pt x="289" y="398"/>
                    <a:pt x="312" y="413"/>
                    <a:pt x="302" y="425"/>
                  </a:cubicBezTo>
                  <a:cubicBezTo>
                    <a:pt x="296" y="432"/>
                    <a:pt x="291" y="436"/>
                    <a:pt x="287" y="439"/>
                  </a:cubicBezTo>
                  <a:cubicBezTo>
                    <a:pt x="287" y="442"/>
                    <a:pt x="287" y="447"/>
                    <a:pt x="290" y="448"/>
                  </a:cubicBezTo>
                  <a:cubicBezTo>
                    <a:pt x="294" y="449"/>
                    <a:pt x="310" y="450"/>
                    <a:pt x="310" y="450"/>
                  </a:cubicBezTo>
                  <a:cubicBezTo>
                    <a:pt x="310" y="450"/>
                    <a:pt x="319" y="470"/>
                    <a:pt x="327" y="462"/>
                  </a:cubicBezTo>
                  <a:cubicBezTo>
                    <a:pt x="335" y="454"/>
                    <a:pt x="323" y="442"/>
                    <a:pt x="323" y="442"/>
                  </a:cubicBezTo>
                  <a:cubicBezTo>
                    <a:pt x="334" y="434"/>
                    <a:pt x="334" y="434"/>
                    <a:pt x="334" y="434"/>
                  </a:cubicBezTo>
                  <a:cubicBezTo>
                    <a:pt x="343" y="426"/>
                    <a:pt x="343" y="426"/>
                    <a:pt x="343" y="426"/>
                  </a:cubicBezTo>
                  <a:cubicBezTo>
                    <a:pt x="365" y="435"/>
                    <a:pt x="365" y="435"/>
                    <a:pt x="365" y="435"/>
                  </a:cubicBezTo>
                  <a:cubicBezTo>
                    <a:pt x="373" y="426"/>
                    <a:pt x="373" y="426"/>
                    <a:pt x="373" y="426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390" y="430"/>
                    <a:pt x="396" y="431"/>
                    <a:pt x="400" y="423"/>
                  </a:cubicBezTo>
                  <a:cubicBezTo>
                    <a:pt x="404" y="415"/>
                    <a:pt x="391" y="410"/>
                    <a:pt x="391" y="410"/>
                  </a:cubicBezTo>
                  <a:cubicBezTo>
                    <a:pt x="402" y="389"/>
                    <a:pt x="402" y="389"/>
                    <a:pt x="402" y="389"/>
                  </a:cubicBezTo>
                  <a:cubicBezTo>
                    <a:pt x="402" y="389"/>
                    <a:pt x="383" y="380"/>
                    <a:pt x="369" y="369"/>
                  </a:cubicBezTo>
                  <a:cubicBezTo>
                    <a:pt x="355" y="358"/>
                    <a:pt x="369" y="355"/>
                    <a:pt x="377" y="350"/>
                  </a:cubicBezTo>
                  <a:cubicBezTo>
                    <a:pt x="385" y="345"/>
                    <a:pt x="361" y="331"/>
                    <a:pt x="361" y="331"/>
                  </a:cubicBezTo>
                  <a:cubicBezTo>
                    <a:pt x="361" y="331"/>
                    <a:pt x="351" y="330"/>
                    <a:pt x="344" y="323"/>
                  </a:cubicBezTo>
                  <a:cubicBezTo>
                    <a:pt x="337" y="316"/>
                    <a:pt x="334" y="299"/>
                    <a:pt x="334" y="299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9" y="289"/>
                    <a:pt x="319" y="289"/>
                    <a:pt x="319" y="289"/>
                  </a:cubicBezTo>
                  <a:cubicBezTo>
                    <a:pt x="319" y="289"/>
                    <a:pt x="308" y="278"/>
                    <a:pt x="295" y="267"/>
                  </a:cubicBezTo>
                  <a:cubicBezTo>
                    <a:pt x="282" y="256"/>
                    <a:pt x="285" y="236"/>
                    <a:pt x="285" y="236"/>
                  </a:cubicBezTo>
                  <a:cubicBezTo>
                    <a:pt x="285" y="236"/>
                    <a:pt x="263" y="228"/>
                    <a:pt x="259" y="224"/>
                  </a:cubicBezTo>
                  <a:cubicBezTo>
                    <a:pt x="255" y="220"/>
                    <a:pt x="256" y="203"/>
                    <a:pt x="256" y="203"/>
                  </a:cubicBezTo>
                  <a:cubicBezTo>
                    <a:pt x="256" y="203"/>
                    <a:pt x="238" y="198"/>
                    <a:pt x="232" y="193"/>
                  </a:cubicBezTo>
                  <a:cubicBezTo>
                    <a:pt x="226" y="188"/>
                    <a:pt x="193" y="168"/>
                    <a:pt x="193" y="168"/>
                  </a:cubicBezTo>
                  <a:cubicBezTo>
                    <a:pt x="193" y="168"/>
                    <a:pt x="193" y="156"/>
                    <a:pt x="191" y="152"/>
                  </a:cubicBezTo>
                  <a:cubicBezTo>
                    <a:pt x="189" y="148"/>
                    <a:pt x="218" y="156"/>
                    <a:pt x="218" y="156"/>
                  </a:cubicBezTo>
                  <a:cubicBezTo>
                    <a:pt x="218" y="156"/>
                    <a:pt x="237" y="142"/>
                    <a:pt x="243" y="132"/>
                  </a:cubicBezTo>
                  <a:cubicBezTo>
                    <a:pt x="249" y="122"/>
                    <a:pt x="230" y="120"/>
                    <a:pt x="212" y="112"/>
                  </a:cubicBezTo>
                  <a:cubicBezTo>
                    <a:pt x="194" y="104"/>
                    <a:pt x="214" y="98"/>
                    <a:pt x="214" y="98"/>
                  </a:cubicBezTo>
                  <a:cubicBezTo>
                    <a:pt x="214" y="98"/>
                    <a:pt x="192" y="80"/>
                    <a:pt x="184" y="79"/>
                  </a:cubicBezTo>
                  <a:cubicBezTo>
                    <a:pt x="176" y="78"/>
                    <a:pt x="179" y="90"/>
                    <a:pt x="172" y="98"/>
                  </a:cubicBezTo>
                  <a:cubicBezTo>
                    <a:pt x="165" y="106"/>
                    <a:pt x="160" y="90"/>
                    <a:pt x="160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38" y="76"/>
                    <a:pt x="128" y="63"/>
                  </a:cubicBezTo>
                  <a:cubicBezTo>
                    <a:pt x="118" y="50"/>
                    <a:pt x="131" y="41"/>
                    <a:pt x="127" y="37"/>
                  </a:cubicBezTo>
                  <a:cubicBezTo>
                    <a:pt x="123" y="33"/>
                    <a:pt x="118" y="40"/>
                    <a:pt x="118" y="40"/>
                  </a:cubicBezTo>
                  <a:cubicBezTo>
                    <a:pt x="118" y="40"/>
                    <a:pt x="102" y="22"/>
                    <a:pt x="96" y="15"/>
                  </a:cubicBezTo>
                  <a:cubicBezTo>
                    <a:pt x="93" y="12"/>
                    <a:pt x="92" y="7"/>
                    <a:pt x="91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59" y="9"/>
                    <a:pt x="60" y="22"/>
                  </a:cubicBezTo>
                  <a:cubicBezTo>
                    <a:pt x="61" y="35"/>
                    <a:pt x="79" y="47"/>
                    <a:pt x="79" y="47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18" y="92"/>
                    <a:pt x="9" y="95"/>
                  </a:cubicBezTo>
                  <a:cubicBezTo>
                    <a:pt x="0" y="98"/>
                    <a:pt x="2" y="110"/>
                    <a:pt x="2" y="110"/>
                  </a:cubicBezTo>
                  <a:cubicBezTo>
                    <a:pt x="6" y="111"/>
                    <a:pt x="17" y="121"/>
                    <a:pt x="17" y="12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1" name="Freeform 95">
              <a:extLst>
                <a:ext uri="{FF2B5EF4-FFF2-40B4-BE49-F238E27FC236}">
                  <a16:creationId xmlns:a16="http://schemas.microsoft.com/office/drawing/2014/main" id="{412D5188-302F-724D-A2CD-1C4CF7457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4152" y="3231368"/>
              <a:ext cx="240844" cy="568574"/>
            </a:xfrm>
            <a:custGeom>
              <a:avLst/>
              <a:gdLst>
                <a:gd name="T0" fmla="*/ 0 w 426"/>
                <a:gd name="T1" fmla="*/ 22 h 1001"/>
                <a:gd name="T2" fmla="*/ 4 w 426"/>
                <a:gd name="T3" fmla="*/ 24 h 1001"/>
                <a:gd name="T4" fmla="*/ 7 w 426"/>
                <a:gd name="T5" fmla="*/ 29 h 1001"/>
                <a:gd name="T6" fmla="*/ 7 w 426"/>
                <a:gd name="T7" fmla="*/ 34 h 1001"/>
                <a:gd name="T8" fmla="*/ 9 w 426"/>
                <a:gd name="T9" fmla="*/ 35 h 1001"/>
                <a:gd name="T10" fmla="*/ 12 w 426"/>
                <a:gd name="T11" fmla="*/ 33 h 1001"/>
                <a:gd name="T12" fmla="*/ 14 w 426"/>
                <a:gd name="T13" fmla="*/ 33 h 1001"/>
                <a:gd name="T14" fmla="*/ 16 w 426"/>
                <a:gd name="T15" fmla="*/ 39 h 1001"/>
                <a:gd name="T16" fmla="*/ 18 w 426"/>
                <a:gd name="T17" fmla="*/ 44 h 1001"/>
                <a:gd name="T18" fmla="*/ 17 w 426"/>
                <a:gd name="T19" fmla="*/ 47 h 1001"/>
                <a:gd name="T20" fmla="*/ 18 w 426"/>
                <a:gd name="T21" fmla="*/ 50 h 1001"/>
                <a:gd name="T22" fmla="*/ 19 w 426"/>
                <a:gd name="T23" fmla="*/ 50 h 1001"/>
                <a:gd name="T24" fmla="*/ 20 w 426"/>
                <a:gd name="T25" fmla="*/ 45 h 1001"/>
                <a:gd name="T26" fmla="*/ 17 w 426"/>
                <a:gd name="T27" fmla="*/ 39 h 1001"/>
                <a:gd name="T28" fmla="*/ 17 w 426"/>
                <a:gd name="T29" fmla="*/ 35 h 1001"/>
                <a:gd name="T30" fmla="*/ 17 w 426"/>
                <a:gd name="T31" fmla="*/ 34 h 1001"/>
                <a:gd name="T32" fmla="*/ 15 w 426"/>
                <a:gd name="T33" fmla="*/ 31 h 1001"/>
                <a:gd name="T34" fmla="*/ 14 w 426"/>
                <a:gd name="T35" fmla="*/ 29 h 1001"/>
                <a:gd name="T36" fmla="*/ 14 w 426"/>
                <a:gd name="T37" fmla="*/ 26 h 1001"/>
                <a:gd name="T38" fmla="*/ 16 w 426"/>
                <a:gd name="T39" fmla="*/ 25 h 1001"/>
                <a:gd name="T40" fmla="*/ 18 w 426"/>
                <a:gd name="T41" fmla="*/ 23 h 1001"/>
                <a:gd name="T42" fmla="*/ 20 w 426"/>
                <a:gd name="T43" fmla="*/ 21 h 1001"/>
                <a:gd name="T44" fmla="*/ 20 w 426"/>
                <a:gd name="T45" fmla="*/ 20 h 1001"/>
                <a:gd name="T46" fmla="*/ 20 w 426"/>
                <a:gd name="T47" fmla="*/ 20 h 1001"/>
                <a:gd name="T48" fmla="*/ 19 w 426"/>
                <a:gd name="T49" fmla="*/ 19 h 1001"/>
                <a:gd name="T50" fmla="*/ 17 w 426"/>
                <a:gd name="T51" fmla="*/ 17 h 1001"/>
                <a:gd name="T52" fmla="*/ 16 w 426"/>
                <a:gd name="T53" fmla="*/ 15 h 1001"/>
                <a:gd name="T54" fmla="*/ 15 w 426"/>
                <a:gd name="T55" fmla="*/ 12 h 1001"/>
                <a:gd name="T56" fmla="*/ 12 w 426"/>
                <a:gd name="T57" fmla="*/ 12 h 1001"/>
                <a:gd name="T58" fmla="*/ 12 w 426"/>
                <a:gd name="T59" fmla="*/ 10 h 1001"/>
                <a:gd name="T60" fmla="*/ 12 w 426"/>
                <a:gd name="T61" fmla="*/ 8 h 1001"/>
                <a:gd name="T62" fmla="*/ 13 w 426"/>
                <a:gd name="T63" fmla="*/ 7 h 1001"/>
                <a:gd name="T64" fmla="*/ 13 w 426"/>
                <a:gd name="T65" fmla="*/ 4 h 1001"/>
                <a:gd name="T66" fmla="*/ 11 w 426"/>
                <a:gd name="T67" fmla="*/ 1 h 1001"/>
                <a:gd name="T68" fmla="*/ 10 w 426"/>
                <a:gd name="T69" fmla="*/ 1 h 1001"/>
                <a:gd name="T70" fmla="*/ 8 w 426"/>
                <a:gd name="T71" fmla="*/ 4 h 1001"/>
                <a:gd name="T72" fmla="*/ 5 w 426"/>
                <a:gd name="T73" fmla="*/ 5 h 1001"/>
                <a:gd name="T74" fmla="*/ 5 w 426"/>
                <a:gd name="T75" fmla="*/ 8 h 1001"/>
                <a:gd name="T76" fmla="*/ 4 w 426"/>
                <a:gd name="T77" fmla="*/ 12 h 1001"/>
                <a:gd name="T78" fmla="*/ 1 w 426"/>
                <a:gd name="T79" fmla="*/ 13 h 1001"/>
                <a:gd name="T80" fmla="*/ 1 w 426"/>
                <a:gd name="T81" fmla="*/ 16 h 1001"/>
                <a:gd name="T82" fmla="*/ 1 w 426"/>
                <a:gd name="T83" fmla="*/ 18 h 1001"/>
                <a:gd name="T84" fmla="*/ 1 w 426"/>
                <a:gd name="T85" fmla="*/ 20 h 100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6"/>
                <a:gd name="T130" fmla="*/ 0 h 1001"/>
                <a:gd name="T131" fmla="*/ 426 w 426"/>
                <a:gd name="T132" fmla="*/ 1001 h 100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6" h="1001">
                  <a:moveTo>
                    <a:pt x="0" y="391"/>
                  </a:moveTo>
                  <a:cubicBezTo>
                    <a:pt x="5" y="391"/>
                    <a:pt x="9" y="391"/>
                    <a:pt x="9" y="391"/>
                  </a:cubicBezTo>
                  <a:cubicBezTo>
                    <a:pt x="9" y="422"/>
                    <a:pt x="9" y="422"/>
                    <a:pt x="9" y="422"/>
                  </a:cubicBezTo>
                  <a:cubicBezTo>
                    <a:pt x="9" y="422"/>
                    <a:pt x="32" y="428"/>
                    <a:pt x="41" y="438"/>
                  </a:cubicBezTo>
                  <a:cubicBezTo>
                    <a:pt x="51" y="448"/>
                    <a:pt x="59" y="470"/>
                    <a:pt x="59" y="470"/>
                  </a:cubicBezTo>
                  <a:cubicBezTo>
                    <a:pt x="81" y="465"/>
                    <a:pt x="81" y="465"/>
                    <a:pt x="81" y="465"/>
                  </a:cubicBezTo>
                  <a:cubicBezTo>
                    <a:pt x="67" y="494"/>
                    <a:pt x="67" y="494"/>
                    <a:pt x="67" y="494"/>
                  </a:cubicBezTo>
                  <a:cubicBezTo>
                    <a:pt x="67" y="494"/>
                    <a:pt x="98" y="501"/>
                    <a:pt x="110" y="510"/>
                  </a:cubicBezTo>
                  <a:cubicBezTo>
                    <a:pt x="122" y="519"/>
                    <a:pt x="130" y="555"/>
                    <a:pt x="132" y="562"/>
                  </a:cubicBezTo>
                  <a:cubicBezTo>
                    <a:pt x="134" y="568"/>
                    <a:pt x="148" y="581"/>
                    <a:pt x="148" y="581"/>
                  </a:cubicBezTo>
                  <a:cubicBezTo>
                    <a:pt x="137" y="593"/>
                    <a:pt x="137" y="593"/>
                    <a:pt x="137" y="593"/>
                  </a:cubicBezTo>
                  <a:cubicBezTo>
                    <a:pt x="145" y="654"/>
                    <a:pt x="145" y="654"/>
                    <a:pt x="145" y="654"/>
                  </a:cubicBezTo>
                  <a:cubicBezTo>
                    <a:pt x="134" y="662"/>
                    <a:pt x="134" y="662"/>
                    <a:pt x="134" y="662"/>
                  </a:cubicBezTo>
                  <a:cubicBezTo>
                    <a:pt x="134" y="662"/>
                    <a:pt x="140" y="681"/>
                    <a:pt x="149" y="680"/>
                  </a:cubicBezTo>
                  <a:cubicBezTo>
                    <a:pt x="158" y="679"/>
                    <a:pt x="168" y="671"/>
                    <a:pt x="168" y="671"/>
                  </a:cubicBezTo>
                  <a:cubicBezTo>
                    <a:pt x="168" y="671"/>
                    <a:pt x="172" y="686"/>
                    <a:pt x="183" y="681"/>
                  </a:cubicBezTo>
                  <a:cubicBezTo>
                    <a:pt x="195" y="677"/>
                    <a:pt x="206" y="654"/>
                    <a:pt x="206" y="654"/>
                  </a:cubicBezTo>
                  <a:cubicBezTo>
                    <a:pt x="206" y="654"/>
                    <a:pt x="228" y="650"/>
                    <a:pt x="240" y="641"/>
                  </a:cubicBezTo>
                  <a:cubicBezTo>
                    <a:pt x="252" y="631"/>
                    <a:pt x="238" y="602"/>
                    <a:pt x="245" y="596"/>
                  </a:cubicBezTo>
                  <a:cubicBezTo>
                    <a:pt x="253" y="590"/>
                    <a:pt x="268" y="617"/>
                    <a:pt x="268" y="617"/>
                  </a:cubicBezTo>
                  <a:cubicBezTo>
                    <a:pt x="267" y="638"/>
                    <a:pt x="267" y="638"/>
                    <a:pt x="267" y="638"/>
                  </a:cubicBezTo>
                  <a:cubicBezTo>
                    <a:pt x="267" y="638"/>
                    <a:pt x="288" y="639"/>
                    <a:pt x="289" y="656"/>
                  </a:cubicBezTo>
                  <a:cubicBezTo>
                    <a:pt x="289" y="673"/>
                    <a:pt x="296" y="685"/>
                    <a:pt x="298" y="698"/>
                  </a:cubicBezTo>
                  <a:cubicBezTo>
                    <a:pt x="300" y="712"/>
                    <a:pt x="303" y="745"/>
                    <a:pt x="303" y="745"/>
                  </a:cubicBezTo>
                  <a:cubicBezTo>
                    <a:pt x="303" y="745"/>
                    <a:pt x="304" y="757"/>
                    <a:pt x="311" y="766"/>
                  </a:cubicBezTo>
                  <a:cubicBezTo>
                    <a:pt x="319" y="775"/>
                    <a:pt x="322" y="788"/>
                    <a:pt x="322" y="788"/>
                  </a:cubicBezTo>
                  <a:cubicBezTo>
                    <a:pt x="350" y="849"/>
                    <a:pt x="350" y="849"/>
                    <a:pt x="350" y="849"/>
                  </a:cubicBezTo>
                  <a:cubicBezTo>
                    <a:pt x="360" y="879"/>
                    <a:pt x="360" y="879"/>
                    <a:pt x="360" y="879"/>
                  </a:cubicBezTo>
                  <a:cubicBezTo>
                    <a:pt x="360" y="879"/>
                    <a:pt x="346" y="876"/>
                    <a:pt x="345" y="884"/>
                  </a:cubicBezTo>
                  <a:cubicBezTo>
                    <a:pt x="343" y="893"/>
                    <a:pt x="337" y="918"/>
                    <a:pt x="337" y="918"/>
                  </a:cubicBezTo>
                  <a:cubicBezTo>
                    <a:pt x="366" y="908"/>
                    <a:pt x="366" y="908"/>
                    <a:pt x="366" y="908"/>
                  </a:cubicBezTo>
                  <a:cubicBezTo>
                    <a:pt x="358" y="945"/>
                    <a:pt x="358" y="945"/>
                    <a:pt x="358" y="945"/>
                  </a:cubicBezTo>
                  <a:cubicBezTo>
                    <a:pt x="358" y="945"/>
                    <a:pt x="354" y="957"/>
                    <a:pt x="355" y="970"/>
                  </a:cubicBezTo>
                  <a:cubicBezTo>
                    <a:pt x="356" y="982"/>
                    <a:pt x="363" y="1001"/>
                    <a:pt x="363" y="1001"/>
                  </a:cubicBezTo>
                  <a:cubicBezTo>
                    <a:pt x="363" y="1001"/>
                    <a:pt x="372" y="988"/>
                    <a:pt x="373" y="979"/>
                  </a:cubicBezTo>
                  <a:cubicBezTo>
                    <a:pt x="374" y="970"/>
                    <a:pt x="366" y="963"/>
                    <a:pt x="375" y="956"/>
                  </a:cubicBezTo>
                  <a:cubicBezTo>
                    <a:pt x="384" y="949"/>
                    <a:pt x="389" y="942"/>
                    <a:pt x="392" y="932"/>
                  </a:cubicBezTo>
                  <a:cubicBezTo>
                    <a:pt x="395" y="922"/>
                    <a:pt x="402" y="897"/>
                    <a:pt x="398" y="884"/>
                  </a:cubicBezTo>
                  <a:cubicBezTo>
                    <a:pt x="394" y="871"/>
                    <a:pt x="396" y="861"/>
                    <a:pt x="396" y="861"/>
                  </a:cubicBezTo>
                  <a:cubicBezTo>
                    <a:pt x="396" y="861"/>
                    <a:pt x="381" y="849"/>
                    <a:pt x="377" y="843"/>
                  </a:cubicBezTo>
                  <a:cubicBezTo>
                    <a:pt x="373" y="837"/>
                    <a:pt x="378" y="813"/>
                    <a:pt x="374" y="798"/>
                  </a:cubicBezTo>
                  <a:cubicBezTo>
                    <a:pt x="370" y="783"/>
                    <a:pt x="348" y="770"/>
                    <a:pt x="344" y="760"/>
                  </a:cubicBezTo>
                  <a:cubicBezTo>
                    <a:pt x="340" y="750"/>
                    <a:pt x="328" y="736"/>
                    <a:pt x="328" y="736"/>
                  </a:cubicBezTo>
                  <a:cubicBezTo>
                    <a:pt x="328" y="736"/>
                    <a:pt x="320" y="723"/>
                    <a:pt x="330" y="713"/>
                  </a:cubicBezTo>
                  <a:cubicBezTo>
                    <a:pt x="340" y="703"/>
                    <a:pt x="341" y="693"/>
                    <a:pt x="341" y="687"/>
                  </a:cubicBezTo>
                  <a:cubicBezTo>
                    <a:pt x="341" y="681"/>
                    <a:pt x="338" y="670"/>
                    <a:pt x="338" y="670"/>
                  </a:cubicBezTo>
                  <a:cubicBezTo>
                    <a:pt x="338" y="670"/>
                    <a:pt x="350" y="671"/>
                    <a:pt x="350" y="658"/>
                  </a:cubicBezTo>
                  <a:cubicBezTo>
                    <a:pt x="350" y="645"/>
                    <a:pt x="344" y="653"/>
                    <a:pt x="344" y="653"/>
                  </a:cubicBezTo>
                  <a:cubicBezTo>
                    <a:pt x="344" y="653"/>
                    <a:pt x="336" y="652"/>
                    <a:pt x="331" y="640"/>
                  </a:cubicBezTo>
                  <a:cubicBezTo>
                    <a:pt x="326" y="628"/>
                    <a:pt x="340" y="633"/>
                    <a:pt x="332" y="622"/>
                  </a:cubicBezTo>
                  <a:cubicBezTo>
                    <a:pt x="324" y="611"/>
                    <a:pt x="298" y="602"/>
                    <a:pt x="295" y="592"/>
                  </a:cubicBezTo>
                  <a:cubicBezTo>
                    <a:pt x="292" y="582"/>
                    <a:pt x="287" y="579"/>
                    <a:pt x="287" y="579"/>
                  </a:cubicBezTo>
                  <a:cubicBezTo>
                    <a:pt x="291" y="564"/>
                    <a:pt x="291" y="564"/>
                    <a:pt x="291" y="564"/>
                  </a:cubicBezTo>
                  <a:cubicBezTo>
                    <a:pt x="291" y="564"/>
                    <a:pt x="278" y="558"/>
                    <a:pt x="273" y="554"/>
                  </a:cubicBezTo>
                  <a:cubicBezTo>
                    <a:pt x="268" y="550"/>
                    <a:pt x="265" y="545"/>
                    <a:pt x="268" y="542"/>
                  </a:cubicBezTo>
                  <a:cubicBezTo>
                    <a:pt x="271" y="539"/>
                    <a:pt x="282" y="545"/>
                    <a:pt x="282" y="536"/>
                  </a:cubicBezTo>
                  <a:cubicBezTo>
                    <a:pt x="282" y="527"/>
                    <a:pt x="271" y="516"/>
                    <a:pt x="272" y="512"/>
                  </a:cubicBezTo>
                  <a:cubicBezTo>
                    <a:pt x="273" y="508"/>
                    <a:pt x="283" y="507"/>
                    <a:pt x="284" y="498"/>
                  </a:cubicBezTo>
                  <a:cubicBezTo>
                    <a:pt x="285" y="489"/>
                    <a:pt x="277" y="473"/>
                    <a:pt x="288" y="471"/>
                  </a:cubicBezTo>
                  <a:cubicBezTo>
                    <a:pt x="299" y="469"/>
                    <a:pt x="308" y="480"/>
                    <a:pt x="318" y="477"/>
                  </a:cubicBezTo>
                  <a:cubicBezTo>
                    <a:pt x="328" y="474"/>
                    <a:pt x="330" y="456"/>
                    <a:pt x="330" y="456"/>
                  </a:cubicBezTo>
                  <a:cubicBezTo>
                    <a:pt x="347" y="455"/>
                    <a:pt x="347" y="455"/>
                    <a:pt x="347" y="455"/>
                  </a:cubicBezTo>
                  <a:cubicBezTo>
                    <a:pt x="352" y="440"/>
                    <a:pt x="352" y="440"/>
                    <a:pt x="352" y="440"/>
                  </a:cubicBezTo>
                  <a:cubicBezTo>
                    <a:pt x="352" y="440"/>
                    <a:pt x="371" y="434"/>
                    <a:pt x="375" y="435"/>
                  </a:cubicBezTo>
                  <a:cubicBezTo>
                    <a:pt x="375" y="435"/>
                    <a:pt x="373" y="423"/>
                    <a:pt x="382" y="420"/>
                  </a:cubicBezTo>
                  <a:cubicBezTo>
                    <a:pt x="391" y="417"/>
                    <a:pt x="399" y="414"/>
                    <a:pt x="399" y="414"/>
                  </a:cubicBezTo>
                  <a:cubicBezTo>
                    <a:pt x="394" y="407"/>
                    <a:pt x="394" y="407"/>
                    <a:pt x="394" y="407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99" y="392"/>
                    <a:pt x="399" y="392"/>
                    <a:pt x="399" y="39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1" y="382"/>
                    <a:pt x="426" y="364"/>
                    <a:pt x="416" y="363"/>
                  </a:cubicBezTo>
                  <a:cubicBezTo>
                    <a:pt x="406" y="362"/>
                    <a:pt x="397" y="380"/>
                    <a:pt x="397" y="380"/>
                  </a:cubicBezTo>
                  <a:cubicBezTo>
                    <a:pt x="397" y="380"/>
                    <a:pt x="378" y="381"/>
                    <a:pt x="375" y="381"/>
                  </a:cubicBezTo>
                  <a:cubicBezTo>
                    <a:pt x="372" y="381"/>
                    <a:pt x="372" y="369"/>
                    <a:pt x="372" y="369"/>
                  </a:cubicBezTo>
                  <a:cubicBezTo>
                    <a:pt x="361" y="370"/>
                    <a:pt x="361" y="370"/>
                    <a:pt x="361" y="370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6"/>
                    <a:pt x="323" y="332"/>
                    <a:pt x="326" y="329"/>
                  </a:cubicBezTo>
                  <a:cubicBezTo>
                    <a:pt x="329" y="326"/>
                    <a:pt x="320" y="314"/>
                    <a:pt x="320" y="314"/>
                  </a:cubicBezTo>
                  <a:cubicBezTo>
                    <a:pt x="320" y="314"/>
                    <a:pt x="343" y="305"/>
                    <a:pt x="336" y="299"/>
                  </a:cubicBezTo>
                  <a:cubicBezTo>
                    <a:pt x="329" y="293"/>
                    <a:pt x="301" y="292"/>
                    <a:pt x="301" y="292"/>
                  </a:cubicBezTo>
                  <a:cubicBezTo>
                    <a:pt x="296" y="265"/>
                    <a:pt x="296" y="265"/>
                    <a:pt x="296" y="265"/>
                  </a:cubicBezTo>
                  <a:cubicBezTo>
                    <a:pt x="280" y="252"/>
                    <a:pt x="280" y="252"/>
                    <a:pt x="280" y="252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68" y="237"/>
                    <a:pt x="260" y="238"/>
                  </a:cubicBezTo>
                  <a:cubicBezTo>
                    <a:pt x="252" y="239"/>
                    <a:pt x="236" y="249"/>
                    <a:pt x="236" y="249"/>
                  </a:cubicBezTo>
                  <a:cubicBezTo>
                    <a:pt x="242" y="235"/>
                    <a:pt x="242" y="235"/>
                    <a:pt x="242" y="235"/>
                  </a:cubicBezTo>
                  <a:cubicBezTo>
                    <a:pt x="242" y="235"/>
                    <a:pt x="237" y="225"/>
                    <a:pt x="232" y="220"/>
                  </a:cubicBezTo>
                  <a:cubicBezTo>
                    <a:pt x="227" y="215"/>
                    <a:pt x="226" y="206"/>
                    <a:pt x="226" y="206"/>
                  </a:cubicBezTo>
                  <a:cubicBezTo>
                    <a:pt x="233" y="203"/>
                    <a:pt x="233" y="203"/>
                    <a:pt x="233" y="203"/>
                  </a:cubicBezTo>
                  <a:cubicBezTo>
                    <a:pt x="231" y="183"/>
                    <a:pt x="231" y="183"/>
                    <a:pt x="231" y="183"/>
                  </a:cubicBezTo>
                  <a:cubicBezTo>
                    <a:pt x="231" y="183"/>
                    <a:pt x="242" y="187"/>
                    <a:pt x="243" y="176"/>
                  </a:cubicBezTo>
                  <a:cubicBezTo>
                    <a:pt x="244" y="165"/>
                    <a:pt x="243" y="156"/>
                    <a:pt x="243" y="156"/>
                  </a:cubicBezTo>
                  <a:cubicBezTo>
                    <a:pt x="243" y="156"/>
                    <a:pt x="255" y="164"/>
                    <a:pt x="258" y="157"/>
                  </a:cubicBezTo>
                  <a:cubicBezTo>
                    <a:pt x="261" y="150"/>
                    <a:pt x="262" y="144"/>
                    <a:pt x="262" y="144"/>
                  </a:cubicBezTo>
                  <a:cubicBezTo>
                    <a:pt x="262" y="144"/>
                    <a:pt x="246" y="133"/>
                    <a:pt x="253" y="133"/>
                  </a:cubicBezTo>
                  <a:cubicBezTo>
                    <a:pt x="260" y="133"/>
                    <a:pt x="270" y="127"/>
                    <a:pt x="270" y="127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55" y="74"/>
                    <a:pt x="255" y="74"/>
                    <a:pt x="255" y="74"/>
                  </a:cubicBezTo>
                  <a:cubicBezTo>
                    <a:pt x="255" y="74"/>
                    <a:pt x="257" y="52"/>
                    <a:pt x="250" y="50"/>
                  </a:cubicBezTo>
                  <a:cubicBezTo>
                    <a:pt x="243" y="48"/>
                    <a:pt x="228" y="50"/>
                    <a:pt x="228" y="50"/>
                  </a:cubicBezTo>
                  <a:cubicBezTo>
                    <a:pt x="228" y="50"/>
                    <a:pt x="219" y="23"/>
                    <a:pt x="211" y="15"/>
                  </a:cubicBezTo>
                  <a:cubicBezTo>
                    <a:pt x="203" y="7"/>
                    <a:pt x="189" y="0"/>
                    <a:pt x="189" y="0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63" y="41"/>
                    <a:pt x="163" y="50"/>
                  </a:cubicBezTo>
                  <a:cubicBezTo>
                    <a:pt x="163" y="59"/>
                    <a:pt x="186" y="69"/>
                    <a:pt x="184" y="73"/>
                  </a:cubicBezTo>
                  <a:cubicBezTo>
                    <a:pt x="182" y="77"/>
                    <a:pt x="159" y="69"/>
                    <a:pt x="159" y="69"/>
                  </a:cubicBezTo>
                  <a:cubicBezTo>
                    <a:pt x="159" y="69"/>
                    <a:pt x="144" y="70"/>
                    <a:pt x="136" y="72"/>
                  </a:cubicBezTo>
                  <a:cubicBezTo>
                    <a:pt x="128" y="74"/>
                    <a:pt x="133" y="89"/>
                    <a:pt x="121" y="93"/>
                  </a:cubicBezTo>
                  <a:cubicBezTo>
                    <a:pt x="109" y="97"/>
                    <a:pt x="98" y="102"/>
                    <a:pt x="98" y="102"/>
                  </a:cubicBezTo>
                  <a:cubicBezTo>
                    <a:pt x="98" y="102"/>
                    <a:pt x="100" y="116"/>
                    <a:pt x="101" y="121"/>
                  </a:cubicBezTo>
                  <a:cubicBezTo>
                    <a:pt x="102" y="126"/>
                    <a:pt x="108" y="137"/>
                    <a:pt x="108" y="13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58"/>
                    <a:pt x="82" y="162"/>
                    <a:pt x="82" y="172"/>
                  </a:cubicBezTo>
                  <a:cubicBezTo>
                    <a:pt x="82" y="182"/>
                    <a:pt x="92" y="190"/>
                    <a:pt x="92" y="190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80" y="249"/>
                    <a:pt x="80" y="249"/>
                    <a:pt x="80" y="249"/>
                  </a:cubicBezTo>
                  <a:cubicBezTo>
                    <a:pt x="80" y="249"/>
                    <a:pt x="55" y="245"/>
                    <a:pt x="51" y="244"/>
                  </a:cubicBezTo>
                  <a:cubicBezTo>
                    <a:pt x="47" y="243"/>
                    <a:pt x="22" y="242"/>
                    <a:pt x="26" y="244"/>
                  </a:cubicBezTo>
                  <a:cubicBezTo>
                    <a:pt x="30" y="246"/>
                    <a:pt x="44" y="257"/>
                    <a:pt x="44" y="257"/>
                  </a:cubicBezTo>
                  <a:cubicBezTo>
                    <a:pt x="46" y="290"/>
                    <a:pt x="46" y="290"/>
                    <a:pt x="46" y="290"/>
                  </a:cubicBezTo>
                  <a:cubicBezTo>
                    <a:pt x="46" y="290"/>
                    <a:pt x="29" y="292"/>
                    <a:pt x="32" y="301"/>
                  </a:cubicBezTo>
                  <a:cubicBezTo>
                    <a:pt x="35" y="310"/>
                    <a:pt x="35" y="324"/>
                    <a:pt x="39" y="328"/>
                  </a:cubicBezTo>
                  <a:cubicBezTo>
                    <a:pt x="43" y="332"/>
                    <a:pt x="53" y="344"/>
                    <a:pt x="44" y="346"/>
                  </a:cubicBezTo>
                  <a:cubicBezTo>
                    <a:pt x="35" y="348"/>
                    <a:pt x="31" y="336"/>
                    <a:pt x="31" y="342"/>
                  </a:cubicBezTo>
                  <a:cubicBezTo>
                    <a:pt x="31" y="348"/>
                    <a:pt x="32" y="356"/>
                    <a:pt x="32" y="356"/>
                  </a:cubicBezTo>
                  <a:cubicBezTo>
                    <a:pt x="18" y="344"/>
                    <a:pt x="18" y="344"/>
                    <a:pt x="18" y="344"/>
                  </a:cubicBezTo>
                  <a:cubicBezTo>
                    <a:pt x="25" y="383"/>
                    <a:pt x="25" y="383"/>
                    <a:pt x="25" y="383"/>
                  </a:cubicBezTo>
                  <a:cubicBezTo>
                    <a:pt x="4" y="380"/>
                    <a:pt x="4" y="380"/>
                    <a:pt x="4" y="380"/>
                  </a:cubicBezTo>
                  <a:cubicBezTo>
                    <a:pt x="4" y="380"/>
                    <a:pt x="2" y="384"/>
                    <a:pt x="0" y="39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2" name="Freeform 96">
              <a:extLst>
                <a:ext uri="{FF2B5EF4-FFF2-40B4-BE49-F238E27FC236}">
                  <a16:creationId xmlns:a16="http://schemas.microsoft.com/office/drawing/2014/main" id="{C4B0B724-20C9-F372-961D-9742C80F9E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5472" y="3571293"/>
              <a:ext cx="44206" cy="28962"/>
            </a:xfrm>
            <a:custGeom>
              <a:avLst/>
              <a:gdLst>
                <a:gd name="T0" fmla="*/ 1 w 76"/>
                <a:gd name="T1" fmla="*/ 1 h 52"/>
                <a:gd name="T2" fmla="*/ 1 w 76"/>
                <a:gd name="T3" fmla="*/ 3 h 52"/>
                <a:gd name="T4" fmla="*/ 1 w 76"/>
                <a:gd name="T5" fmla="*/ 1 h 52"/>
                <a:gd name="T6" fmla="*/ 2 w 76"/>
                <a:gd name="T7" fmla="*/ 0 h 52"/>
                <a:gd name="T8" fmla="*/ 3 w 76"/>
                <a:gd name="T9" fmla="*/ 1 h 52"/>
                <a:gd name="T10" fmla="*/ 3 w 76"/>
                <a:gd name="T11" fmla="*/ 1 h 52"/>
                <a:gd name="T12" fmla="*/ 2 w 76"/>
                <a:gd name="T13" fmla="*/ 0 h 52"/>
                <a:gd name="T14" fmla="*/ 4 w 76"/>
                <a:gd name="T15" fmla="*/ 1 h 52"/>
                <a:gd name="T16" fmla="*/ 3 w 76"/>
                <a:gd name="T17" fmla="*/ 2 h 52"/>
                <a:gd name="T18" fmla="*/ 4 w 76"/>
                <a:gd name="T19" fmla="*/ 1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52"/>
                <a:gd name="T32" fmla="*/ 76 w 76"/>
                <a:gd name="T33" fmla="*/ 52 h 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52">
                  <a:moveTo>
                    <a:pt x="16" y="34"/>
                  </a:moveTo>
                  <a:cubicBezTo>
                    <a:pt x="0" y="34"/>
                    <a:pt x="11" y="52"/>
                    <a:pt x="11" y="52"/>
                  </a:cubicBezTo>
                  <a:cubicBezTo>
                    <a:pt x="23" y="52"/>
                    <a:pt x="32" y="34"/>
                    <a:pt x="16" y="34"/>
                  </a:cubicBezTo>
                  <a:close/>
                  <a:moveTo>
                    <a:pt x="35" y="8"/>
                  </a:moveTo>
                  <a:cubicBezTo>
                    <a:pt x="28" y="16"/>
                    <a:pt x="47" y="26"/>
                    <a:pt x="47" y="2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41" y="0"/>
                    <a:pt x="35" y="8"/>
                  </a:cubicBezTo>
                  <a:close/>
                  <a:moveTo>
                    <a:pt x="71" y="32"/>
                  </a:moveTo>
                  <a:cubicBezTo>
                    <a:pt x="66" y="26"/>
                    <a:pt x="51" y="38"/>
                    <a:pt x="58" y="42"/>
                  </a:cubicBezTo>
                  <a:cubicBezTo>
                    <a:pt x="68" y="48"/>
                    <a:pt x="76" y="37"/>
                    <a:pt x="71" y="3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3" name="Freeform 97">
              <a:extLst>
                <a:ext uri="{FF2B5EF4-FFF2-40B4-BE49-F238E27FC236}">
                  <a16:creationId xmlns:a16="http://schemas.microsoft.com/office/drawing/2014/main" id="{067FA4BB-13B1-0451-B8B4-09977D0BD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5472" y="3876158"/>
              <a:ext cx="263709" cy="202735"/>
            </a:xfrm>
            <a:custGeom>
              <a:avLst/>
              <a:gdLst>
                <a:gd name="T0" fmla="*/ 0 w 461"/>
                <a:gd name="T1" fmla="*/ 18 h 355"/>
                <a:gd name="T2" fmla="*/ 2 w 461"/>
                <a:gd name="T3" fmla="*/ 18 h 355"/>
                <a:gd name="T4" fmla="*/ 3 w 461"/>
                <a:gd name="T5" fmla="*/ 18 h 355"/>
                <a:gd name="T6" fmla="*/ 5 w 461"/>
                <a:gd name="T7" fmla="*/ 18 h 355"/>
                <a:gd name="T8" fmla="*/ 6 w 461"/>
                <a:gd name="T9" fmla="*/ 17 h 355"/>
                <a:gd name="T10" fmla="*/ 8 w 461"/>
                <a:gd name="T11" fmla="*/ 17 h 355"/>
                <a:gd name="T12" fmla="*/ 10 w 461"/>
                <a:gd name="T13" fmla="*/ 18 h 355"/>
                <a:gd name="T14" fmla="*/ 11 w 461"/>
                <a:gd name="T15" fmla="*/ 17 h 355"/>
                <a:gd name="T16" fmla="*/ 12 w 461"/>
                <a:gd name="T17" fmla="*/ 17 h 355"/>
                <a:gd name="T18" fmla="*/ 12 w 461"/>
                <a:gd name="T19" fmla="*/ 16 h 355"/>
                <a:gd name="T20" fmla="*/ 12 w 461"/>
                <a:gd name="T21" fmla="*/ 15 h 355"/>
                <a:gd name="T22" fmla="*/ 14 w 461"/>
                <a:gd name="T23" fmla="*/ 14 h 355"/>
                <a:gd name="T24" fmla="*/ 14 w 461"/>
                <a:gd name="T25" fmla="*/ 13 h 355"/>
                <a:gd name="T26" fmla="*/ 14 w 461"/>
                <a:gd name="T27" fmla="*/ 12 h 355"/>
                <a:gd name="T28" fmla="*/ 15 w 461"/>
                <a:gd name="T29" fmla="*/ 10 h 355"/>
                <a:gd name="T30" fmla="*/ 15 w 461"/>
                <a:gd name="T31" fmla="*/ 9 h 355"/>
                <a:gd name="T32" fmla="*/ 18 w 461"/>
                <a:gd name="T33" fmla="*/ 9 h 355"/>
                <a:gd name="T34" fmla="*/ 20 w 461"/>
                <a:gd name="T35" fmla="*/ 10 h 355"/>
                <a:gd name="T36" fmla="*/ 20 w 461"/>
                <a:gd name="T37" fmla="*/ 10 h 355"/>
                <a:gd name="T38" fmla="*/ 20 w 461"/>
                <a:gd name="T39" fmla="*/ 10 h 355"/>
                <a:gd name="T40" fmla="*/ 20 w 461"/>
                <a:gd name="T41" fmla="*/ 7 h 355"/>
                <a:gd name="T42" fmla="*/ 21 w 461"/>
                <a:gd name="T43" fmla="*/ 9 h 355"/>
                <a:gd name="T44" fmla="*/ 23 w 461"/>
                <a:gd name="T45" fmla="*/ 8 h 355"/>
                <a:gd name="T46" fmla="*/ 21 w 461"/>
                <a:gd name="T47" fmla="*/ 7 h 355"/>
                <a:gd name="T48" fmla="*/ 24 w 461"/>
                <a:gd name="T49" fmla="*/ 7 h 355"/>
                <a:gd name="T50" fmla="*/ 24 w 461"/>
                <a:gd name="T51" fmla="*/ 6 h 355"/>
                <a:gd name="T52" fmla="*/ 24 w 461"/>
                <a:gd name="T53" fmla="*/ 6 h 355"/>
                <a:gd name="T54" fmla="*/ 23 w 461"/>
                <a:gd name="T55" fmla="*/ 4 h 355"/>
                <a:gd name="T56" fmla="*/ 21 w 461"/>
                <a:gd name="T57" fmla="*/ 4 h 355"/>
                <a:gd name="T58" fmla="*/ 20 w 461"/>
                <a:gd name="T59" fmla="*/ 2 h 355"/>
                <a:gd name="T60" fmla="*/ 19 w 461"/>
                <a:gd name="T61" fmla="*/ 2 h 355"/>
                <a:gd name="T62" fmla="*/ 18 w 461"/>
                <a:gd name="T63" fmla="*/ 0 h 355"/>
                <a:gd name="T64" fmla="*/ 18 w 461"/>
                <a:gd name="T65" fmla="*/ 1 h 355"/>
                <a:gd name="T66" fmla="*/ 17 w 461"/>
                <a:gd name="T67" fmla="*/ 0 h 355"/>
                <a:gd name="T68" fmla="*/ 17 w 461"/>
                <a:gd name="T69" fmla="*/ 2 h 355"/>
                <a:gd name="T70" fmla="*/ 16 w 461"/>
                <a:gd name="T71" fmla="*/ 3 h 355"/>
                <a:gd name="T72" fmla="*/ 15 w 461"/>
                <a:gd name="T73" fmla="*/ 4 h 355"/>
                <a:gd name="T74" fmla="*/ 15 w 461"/>
                <a:gd name="T75" fmla="*/ 4 h 355"/>
                <a:gd name="T76" fmla="*/ 15 w 461"/>
                <a:gd name="T77" fmla="*/ 6 h 355"/>
                <a:gd name="T78" fmla="*/ 13 w 461"/>
                <a:gd name="T79" fmla="*/ 5 h 355"/>
                <a:gd name="T80" fmla="*/ 12 w 461"/>
                <a:gd name="T81" fmla="*/ 7 h 355"/>
                <a:gd name="T82" fmla="*/ 11 w 461"/>
                <a:gd name="T83" fmla="*/ 9 h 355"/>
                <a:gd name="T84" fmla="*/ 9 w 461"/>
                <a:gd name="T85" fmla="*/ 11 h 355"/>
                <a:gd name="T86" fmla="*/ 6 w 461"/>
                <a:gd name="T87" fmla="*/ 12 h 355"/>
                <a:gd name="T88" fmla="*/ 4 w 461"/>
                <a:gd name="T89" fmla="*/ 14 h 355"/>
                <a:gd name="T90" fmla="*/ 3 w 461"/>
                <a:gd name="T91" fmla="*/ 15 h 355"/>
                <a:gd name="T92" fmla="*/ 3 w 461"/>
                <a:gd name="T93" fmla="*/ 17 h 355"/>
                <a:gd name="T94" fmla="*/ 1 w 461"/>
                <a:gd name="T95" fmla="*/ 16 h 355"/>
                <a:gd name="T96" fmla="*/ 0 w 461"/>
                <a:gd name="T97" fmla="*/ 17 h 355"/>
                <a:gd name="T98" fmla="*/ 0 w 461"/>
                <a:gd name="T99" fmla="*/ 17 h 355"/>
                <a:gd name="T100" fmla="*/ 0 w 461"/>
                <a:gd name="T101" fmla="*/ 18 h 35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61"/>
                <a:gd name="T154" fmla="*/ 0 h 355"/>
                <a:gd name="T155" fmla="*/ 461 w 461"/>
                <a:gd name="T156" fmla="*/ 355 h 35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61" h="355">
                  <a:moveTo>
                    <a:pt x="9" y="338"/>
                  </a:moveTo>
                  <a:cubicBezTo>
                    <a:pt x="17" y="347"/>
                    <a:pt x="39" y="355"/>
                    <a:pt x="43" y="352"/>
                  </a:cubicBezTo>
                  <a:cubicBezTo>
                    <a:pt x="47" y="350"/>
                    <a:pt x="46" y="342"/>
                    <a:pt x="61" y="342"/>
                  </a:cubicBezTo>
                  <a:cubicBezTo>
                    <a:pt x="75" y="342"/>
                    <a:pt x="88" y="351"/>
                    <a:pt x="98" y="345"/>
                  </a:cubicBezTo>
                  <a:cubicBezTo>
                    <a:pt x="108" y="339"/>
                    <a:pt x="121" y="318"/>
                    <a:pt x="121" y="318"/>
                  </a:cubicBezTo>
                  <a:cubicBezTo>
                    <a:pt x="121" y="318"/>
                    <a:pt x="146" y="315"/>
                    <a:pt x="150" y="318"/>
                  </a:cubicBezTo>
                  <a:cubicBezTo>
                    <a:pt x="154" y="320"/>
                    <a:pt x="179" y="336"/>
                    <a:pt x="182" y="335"/>
                  </a:cubicBezTo>
                  <a:cubicBezTo>
                    <a:pt x="185" y="335"/>
                    <a:pt x="203" y="322"/>
                    <a:pt x="203" y="322"/>
                  </a:cubicBezTo>
                  <a:cubicBezTo>
                    <a:pt x="219" y="322"/>
                    <a:pt x="219" y="322"/>
                    <a:pt x="219" y="322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57" y="268"/>
                    <a:pt x="257" y="268"/>
                    <a:pt x="257" y="268"/>
                  </a:cubicBezTo>
                  <a:cubicBezTo>
                    <a:pt x="257" y="268"/>
                    <a:pt x="245" y="252"/>
                    <a:pt x="252" y="243"/>
                  </a:cubicBezTo>
                  <a:cubicBezTo>
                    <a:pt x="258" y="234"/>
                    <a:pt x="265" y="235"/>
                    <a:pt x="265" y="235"/>
                  </a:cubicBezTo>
                  <a:cubicBezTo>
                    <a:pt x="265" y="235"/>
                    <a:pt x="274" y="220"/>
                    <a:pt x="275" y="204"/>
                  </a:cubicBezTo>
                  <a:cubicBezTo>
                    <a:pt x="277" y="188"/>
                    <a:pt x="270" y="166"/>
                    <a:pt x="284" y="165"/>
                  </a:cubicBezTo>
                  <a:cubicBezTo>
                    <a:pt x="299" y="164"/>
                    <a:pt x="340" y="165"/>
                    <a:pt x="344" y="166"/>
                  </a:cubicBezTo>
                  <a:cubicBezTo>
                    <a:pt x="348" y="166"/>
                    <a:pt x="367" y="183"/>
                    <a:pt x="375" y="190"/>
                  </a:cubicBezTo>
                  <a:cubicBezTo>
                    <a:pt x="374" y="189"/>
                    <a:pt x="374" y="189"/>
                    <a:pt x="374" y="189"/>
                  </a:cubicBezTo>
                  <a:cubicBezTo>
                    <a:pt x="387" y="186"/>
                    <a:pt x="387" y="186"/>
                    <a:pt x="387" y="186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93" y="160"/>
                    <a:pt x="402" y="162"/>
                  </a:cubicBezTo>
                  <a:cubicBezTo>
                    <a:pt x="412" y="163"/>
                    <a:pt x="427" y="160"/>
                    <a:pt x="427" y="160"/>
                  </a:cubicBezTo>
                  <a:cubicBezTo>
                    <a:pt x="427" y="160"/>
                    <a:pt x="402" y="136"/>
                    <a:pt x="408" y="126"/>
                  </a:cubicBezTo>
                  <a:cubicBezTo>
                    <a:pt x="413" y="115"/>
                    <a:pt x="444" y="131"/>
                    <a:pt x="444" y="131"/>
                  </a:cubicBezTo>
                  <a:cubicBezTo>
                    <a:pt x="461" y="111"/>
                    <a:pt x="461" y="111"/>
                    <a:pt x="461" y="111"/>
                  </a:cubicBezTo>
                  <a:cubicBezTo>
                    <a:pt x="444" y="105"/>
                    <a:pt x="444" y="105"/>
                    <a:pt x="444" y="105"/>
                  </a:cubicBezTo>
                  <a:cubicBezTo>
                    <a:pt x="444" y="105"/>
                    <a:pt x="441" y="93"/>
                    <a:pt x="433" y="88"/>
                  </a:cubicBezTo>
                  <a:cubicBezTo>
                    <a:pt x="425" y="82"/>
                    <a:pt x="393" y="77"/>
                    <a:pt x="393" y="77"/>
                  </a:cubicBezTo>
                  <a:cubicBezTo>
                    <a:pt x="393" y="77"/>
                    <a:pt x="392" y="58"/>
                    <a:pt x="380" y="46"/>
                  </a:cubicBezTo>
                  <a:cubicBezTo>
                    <a:pt x="367" y="33"/>
                    <a:pt x="354" y="42"/>
                    <a:pt x="354" y="42"/>
                  </a:cubicBezTo>
                  <a:cubicBezTo>
                    <a:pt x="343" y="1"/>
                    <a:pt x="343" y="1"/>
                    <a:pt x="343" y="1"/>
                  </a:cubicBezTo>
                  <a:cubicBezTo>
                    <a:pt x="339" y="14"/>
                    <a:pt x="339" y="14"/>
                    <a:pt x="339" y="1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3" y="41"/>
                    <a:pt x="323" y="41"/>
                    <a:pt x="323" y="41"/>
                  </a:cubicBezTo>
                  <a:cubicBezTo>
                    <a:pt x="323" y="41"/>
                    <a:pt x="308" y="45"/>
                    <a:pt x="301" y="50"/>
                  </a:cubicBezTo>
                  <a:cubicBezTo>
                    <a:pt x="294" y="55"/>
                    <a:pt x="293" y="77"/>
                    <a:pt x="293" y="77"/>
                  </a:cubicBezTo>
                  <a:cubicBezTo>
                    <a:pt x="276" y="83"/>
                    <a:pt x="276" y="83"/>
                    <a:pt x="276" y="83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83" y="107"/>
                    <a:pt x="259" y="104"/>
                    <a:pt x="243" y="101"/>
                  </a:cubicBezTo>
                  <a:cubicBezTo>
                    <a:pt x="228" y="97"/>
                    <a:pt x="227" y="136"/>
                    <a:pt x="227" y="136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0" y="166"/>
                    <a:pt x="192" y="201"/>
                    <a:pt x="176" y="213"/>
                  </a:cubicBezTo>
                  <a:cubicBezTo>
                    <a:pt x="160" y="224"/>
                    <a:pt x="119" y="232"/>
                    <a:pt x="110" y="235"/>
                  </a:cubicBezTo>
                  <a:cubicBezTo>
                    <a:pt x="101" y="237"/>
                    <a:pt x="69" y="262"/>
                    <a:pt x="69" y="262"/>
                  </a:cubicBezTo>
                  <a:cubicBezTo>
                    <a:pt x="60" y="285"/>
                    <a:pt x="60" y="285"/>
                    <a:pt x="60" y="285"/>
                  </a:cubicBezTo>
                  <a:cubicBezTo>
                    <a:pt x="60" y="285"/>
                    <a:pt x="84" y="303"/>
                    <a:pt x="65" y="317"/>
                  </a:cubicBezTo>
                  <a:cubicBezTo>
                    <a:pt x="47" y="331"/>
                    <a:pt x="34" y="308"/>
                    <a:pt x="23" y="305"/>
                  </a:cubicBezTo>
                  <a:cubicBezTo>
                    <a:pt x="13" y="303"/>
                    <a:pt x="0" y="322"/>
                    <a:pt x="0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28"/>
                    <a:pt x="5" y="334"/>
                    <a:pt x="9" y="33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4" name="Freeform 98">
              <a:extLst>
                <a:ext uri="{FF2B5EF4-FFF2-40B4-BE49-F238E27FC236}">
                  <a16:creationId xmlns:a16="http://schemas.microsoft.com/office/drawing/2014/main" id="{D2167D88-561D-C557-7120-25A60E05D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7408" y="4356322"/>
              <a:ext cx="96033" cy="44205"/>
            </a:xfrm>
            <a:custGeom>
              <a:avLst/>
              <a:gdLst>
                <a:gd name="T0" fmla="*/ 3 w 168"/>
                <a:gd name="T1" fmla="*/ 2 h 77"/>
                <a:gd name="T2" fmla="*/ 3 w 168"/>
                <a:gd name="T3" fmla="*/ 2 h 77"/>
                <a:gd name="T4" fmla="*/ 3 w 168"/>
                <a:gd name="T5" fmla="*/ 2 h 77"/>
                <a:gd name="T6" fmla="*/ 3 w 168"/>
                <a:gd name="T7" fmla="*/ 2 h 77"/>
                <a:gd name="T8" fmla="*/ 8 w 168"/>
                <a:gd name="T9" fmla="*/ 0 h 77"/>
                <a:gd name="T10" fmla="*/ 7 w 168"/>
                <a:gd name="T11" fmla="*/ 1 h 77"/>
                <a:gd name="T12" fmla="*/ 4 w 168"/>
                <a:gd name="T13" fmla="*/ 1 h 77"/>
                <a:gd name="T14" fmla="*/ 3 w 168"/>
                <a:gd name="T15" fmla="*/ 2 h 77"/>
                <a:gd name="T16" fmla="*/ 3 w 168"/>
                <a:gd name="T17" fmla="*/ 2 h 77"/>
                <a:gd name="T18" fmla="*/ 3 w 168"/>
                <a:gd name="T19" fmla="*/ 3 h 77"/>
                <a:gd name="T20" fmla="*/ 3 w 168"/>
                <a:gd name="T21" fmla="*/ 3 h 77"/>
                <a:gd name="T22" fmla="*/ 3 w 168"/>
                <a:gd name="T23" fmla="*/ 4 h 77"/>
                <a:gd name="T24" fmla="*/ 3 w 168"/>
                <a:gd name="T25" fmla="*/ 4 h 77"/>
                <a:gd name="T26" fmla="*/ 3 w 168"/>
                <a:gd name="T27" fmla="*/ 4 h 77"/>
                <a:gd name="T28" fmla="*/ 4 w 168"/>
                <a:gd name="T29" fmla="*/ 3 h 77"/>
                <a:gd name="T30" fmla="*/ 6 w 168"/>
                <a:gd name="T31" fmla="*/ 3 h 77"/>
                <a:gd name="T32" fmla="*/ 9 w 168"/>
                <a:gd name="T33" fmla="*/ 0 h 77"/>
                <a:gd name="T34" fmla="*/ 8 w 168"/>
                <a:gd name="T35" fmla="*/ 0 h 77"/>
                <a:gd name="T36" fmla="*/ 0 w 168"/>
                <a:gd name="T37" fmla="*/ 3 h 77"/>
                <a:gd name="T38" fmla="*/ 0 w 168"/>
                <a:gd name="T39" fmla="*/ 3 h 77"/>
                <a:gd name="T40" fmla="*/ 1 w 168"/>
                <a:gd name="T41" fmla="*/ 3 h 77"/>
                <a:gd name="T42" fmla="*/ 2 w 168"/>
                <a:gd name="T43" fmla="*/ 3 h 77"/>
                <a:gd name="T44" fmla="*/ 1 w 168"/>
                <a:gd name="T45" fmla="*/ 3 h 77"/>
                <a:gd name="T46" fmla="*/ 0 w 168"/>
                <a:gd name="T47" fmla="*/ 3 h 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8"/>
                <a:gd name="T73" fmla="*/ 0 h 77"/>
                <a:gd name="T74" fmla="*/ 168 w 168"/>
                <a:gd name="T75" fmla="*/ 77 h 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8" h="77"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152" y="0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96" y="15"/>
                    <a:pt x="84" y="15"/>
                  </a:cubicBezTo>
                  <a:cubicBezTo>
                    <a:pt x="73" y="15"/>
                    <a:pt x="67" y="33"/>
                    <a:pt x="67" y="33"/>
                  </a:cubicBezTo>
                  <a:cubicBezTo>
                    <a:pt x="67" y="33"/>
                    <a:pt x="61" y="32"/>
                    <a:pt x="53" y="33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56" y="54"/>
                    <a:pt x="50" y="66"/>
                  </a:cubicBezTo>
                  <a:cubicBezTo>
                    <a:pt x="46" y="72"/>
                    <a:pt x="49" y="76"/>
                    <a:pt x="52" y="77"/>
                  </a:cubicBezTo>
                  <a:cubicBezTo>
                    <a:pt x="55" y="74"/>
                    <a:pt x="57" y="72"/>
                    <a:pt x="57" y="72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8" y="62"/>
                    <a:pt x="111" y="59"/>
                  </a:cubicBezTo>
                  <a:cubicBezTo>
                    <a:pt x="124" y="56"/>
                    <a:pt x="168" y="9"/>
                    <a:pt x="168" y="9"/>
                  </a:cubicBezTo>
                  <a:lnTo>
                    <a:pt x="152" y="0"/>
                  </a:lnTo>
                  <a:close/>
                  <a:moveTo>
                    <a:pt x="0" y="58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15" y="58"/>
                    <a:pt x="24" y="61"/>
                    <a:pt x="24" y="61"/>
                  </a:cubicBezTo>
                  <a:cubicBezTo>
                    <a:pt x="24" y="61"/>
                    <a:pt x="24" y="54"/>
                    <a:pt x="28" y="48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5" name="Freeform 99">
              <a:extLst>
                <a:ext uri="{FF2B5EF4-FFF2-40B4-BE49-F238E27FC236}">
                  <a16:creationId xmlns:a16="http://schemas.microsoft.com/office/drawing/2014/main" id="{0E9E086B-1695-16F4-D3C6-87B0F5B42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7086" y="4155111"/>
              <a:ext cx="414617" cy="278952"/>
            </a:xfrm>
            <a:custGeom>
              <a:avLst/>
              <a:gdLst>
                <a:gd name="T0" fmla="*/ 15 w 730"/>
                <a:gd name="T1" fmla="*/ 1 h 491"/>
                <a:gd name="T2" fmla="*/ 17 w 730"/>
                <a:gd name="T3" fmla="*/ 0 h 491"/>
                <a:gd name="T4" fmla="*/ 27 w 730"/>
                <a:gd name="T5" fmla="*/ 9 h 491"/>
                <a:gd name="T6" fmla="*/ 25 w 730"/>
                <a:gd name="T7" fmla="*/ 11 h 491"/>
                <a:gd name="T8" fmla="*/ 21 w 730"/>
                <a:gd name="T9" fmla="*/ 12 h 491"/>
                <a:gd name="T10" fmla="*/ 20 w 730"/>
                <a:gd name="T11" fmla="*/ 13 h 491"/>
                <a:gd name="T12" fmla="*/ 25 w 730"/>
                <a:gd name="T13" fmla="*/ 13 h 491"/>
                <a:gd name="T14" fmla="*/ 27 w 730"/>
                <a:gd name="T15" fmla="*/ 12 h 491"/>
                <a:gd name="T16" fmla="*/ 28 w 730"/>
                <a:gd name="T17" fmla="*/ 11 h 491"/>
                <a:gd name="T18" fmla="*/ 29 w 730"/>
                <a:gd name="T19" fmla="*/ 7 h 491"/>
                <a:gd name="T20" fmla="*/ 29 w 730"/>
                <a:gd name="T21" fmla="*/ 5 h 491"/>
                <a:gd name="T22" fmla="*/ 27 w 730"/>
                <a:gd name="T23" fmla="*/ 3 h 491"/>
                <a:gd name="T24" fmla="*/ 26 w 730"/>
                <a:gd name="T25" fmla="*/ 1 h 491"/>
                <a:gd name="T26" fmla="*/ 27 w 730"/>
                <a:gd name="T27" fmla="*/ 4 h 491"/>
                <a:gd name="T28" fmla="*/ 30 w 730"/>
                <a:gd name="T29" fmla="*/ 6 h 491"/>
                <a:gd name="T30" fmla="*/ 31 w 730"/>
                <a:gd name="T31" fmla="*/ 7 h 491"/>
                <a:gd name="T32" fmla="*/ 38 w 730"/>
                <a:gd name="T33" fmla="*/ 13 h 491"/>
                <a:gd name="T34" fmla="*/ 34 w 730"/>
                <a:gd name="T35" fmla="*/ 10 h 491"/>
                <a:gd name="T36" fmla="*/ 35 w 730"/>
                <a:gd name="T37" fmla="*/ 12 h 491"/>
                <a:gd name="T38" fmla="*/ 38 w 730"/>
                <a:gd name="T39" fmla="*/ 16 h 491"/>
                <a:gd name="T40" fmla="*/ 1 w 730"/>
                <a:gd name="T41" fmla="*/ 21 h 491"/>
                <a:gd name="T42" fmla="*/ 1 w 730"/>
                <a:gd name="T43" fmla="*/ 21 h 491"/>
                <a:gd name="T44" fmla="*/ 23 w 730"/>
                <a:gd name="T45" fmla="*/ 23 h 491"/>
                <a:gd name="T46" fmla="*/ 23 w 730"/>
                <a:gd name="T47" fmla="*/ 22 h 491"/>
                <a:gd name="T48" fmla="*/ 21 w 730"/>
                <a:gd name="T49" fmla="*/ 20 h 491"/>
                <a:gd name="T50" fmla="*/ 19 w 730"/>
                <a:gd name="T51" fmla="*/ 19 h 491"/>
                <a:gd name="T52" fmla="*/ 19 w 730"/>
                <a:gd name="T53" fmla="*/ 18 h 491"/>
                <a:gd name="T54" fmla="*/ 16 w 730"/>
                <a:gd name="T55" fmla="*/ 14 h 491"/>
                <a:gd name="T56" fmla="*/ 16 w 730"/>
                <a:gd name="T57" fmla="*/ 12 h 491"/>
                <a:gd name="T58" fmla="*/ 13 w 730"/>
                <a:gd name="T59" fmla="*/ 9 h 491"/>
                <a:gd name="T60" fmla="*/ 10 w 730"/>
                <a:gd name="T61" fmla="*/ 6 h 491"/>
                <a:gd name="T62" fmla="*/ 8 w 730"/>
                <a:gd name="T63" fmla="*/ 5 h 491"/>
                <a:gd name="T64" fmla="*/ 3 w 730"/>
                <a:gd name="T65" fmla="*/ 3 h 491"/>
                <a:gd name="T66" fmla="*/ 0 w 730"/>
                <a:gd name="T67" fmla="*/ 2 h 491"/>
                <a:gd name="T68" fmla="*/ 1 w 730"/>
                <a:gd name="T69" fmla="*/ 8 h 491"/>
                <a:gd name="T70" fmla="*/ 1 w 730"/>
                <a:gd name="T71" fmla="*/ 13 h 491"/>
                <a:gd name="T72" fmla="*/ 1 w 730"/>
                <a:gd name="T73" fmla="*/ 15 h 491"/>
                <a:gd name="T74" fmla="*/ 1 w 730"/>
                <a:gd name="T75" fmla="*/ 18 h 491"/>
                <a:gd name="T76" fmla="*/ 1 w 730"/>
                <a:gd name="T77" fmla="*/ 21 h 491"/>
                <a:gd name="T78" fmla="*/ 4 w 730"/>
                <a:gd name="T79" fmla="*/ 21 h 491"/>
                <a:gd name="T80" fmla="*/ 4 w 730"/>
                <a:gd name="T81" fmla="*/ 18 h 491"/>
                <a:gd name="T82" fmla="*/ 7 w 730"/>
                <a:gd name="T83" fmla="*/ 17 h 491"/>
                <a:gd name="T84" fmla="*/ 7 w 730"/>
                <a:gd name="T85" fmla="*/ 16 h 491"/>
                <a:gd name="T86" fmla="*/ 10 w 730"/>
                <a:gd name="T87" fmla="*/ 16 h 491"/>
                <a:gd name="T88" fmla="*/ 13 w 730"/>
                <a:gd name="T89" fmla="*/ 18 h 491"/>
                <a:gd name="T90" fmla="*/ 16 w 730"/>
                <a:gd name="T91" fmla="*/ 20 h 491"/>
                <a:gd name="T92" fmla="*/ 22 w 730"/>
                <a:gd name="T93" fmla="*/ 24 h 491"/>
                <a:gd name="T94" fmla="*/ 23 w 730"/>
                <a:gd name="T95" fmla="*/ 24 h 49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0"/>
                <a:gd name="T145" fmla="*/ 0 h 491"/>
                <a:gd name="T146" fmla="*/ 730 w 730"/>
                <a:gd name="T147" fmla="*/ 491 h 49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0" h="491">
                  <a:moveTo>
                    <a:pt x="331" y="7"/>
                  </a:moveTo>
                  <a:cubicBezTo>
                    <a:pt x="318" y="0"/>
                    <a:pt x="296" y="19"/>
                    <a:pt x="296" y="19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33" y="35"/>
                    <a:pt x="344" y="14"/>
                    <a:pt x="331" y="7"/>
                  </a:cubicBezTo>
                  <a:close/>
                  <a:moveTo>
                    <a:pt x="508" y="150"/>
                  </a:moveTo>
                  <a:cubicBezTo>
                    <a:pt x="499" y="159"/>
                    <a:pt x="521" y="171"/>
                    <a:pt x="521" y="171"/>
                  </a:cubicBezTo>
                  <a:cubicBezTo>
                    <a:pt x="523" y="184"/>
                    <a:pt x="523" y="184"/>
                    <a:pt x="523" y="184"/>
                  </a:cubicBezTo>
                  <a:cubicBezTo>
                    <a:pt x="476" y="209"/>
                    <a:pt x="476" y="209"/>
                    <a:pt x="476" y="209"/>
                  </a:cubicBezTo>
                  <a:cubicBezTo>
                    <a:pt x="476" y="209"/>
                    <a:pt x="452" y="207"/>
                    <a:pt x="436" y="210"/>
                  </a:cubicBezTo>
                  <a:cubicBezTo>
                    <a:pt x="420" y="213"/>
                    <a:pt x="414" y="222"/>
                    <a:pt x="404" y="228"/>
                  </a:cubicBezTo>
                  <a:cubicBezTo>
                    <a:pt x="394" y="234"/>
                    <a:pt x="388" y="222"/>
                    <a:pt x="382" y="234"/>
                  </a:cubicBezTo>
                  <a:cubicBezTo>
                    <a:pt x="398" y="257"/>
                    <a:pt x="398" y="257"/>
                    <a:pt x="398" y="257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74" y="251"/>
                    <a:pt x="474" y="251"/>
                    <a:pt x="474" y="251"/>
                  </a:cubicBezTo>
                  <a:cubicBezTo>
                    <a:pt x="474" y="251"/>
                    <a:pt x="486" y="251"/>
                    <a:pt x="499" y="250"/>
                  </a:cubicBezTo>
                  <a:cubicBezTo>
                    <a:pt x="513" y="248"/>
                    <a:pt x="523" y="228"/>
                    <a:pt x="523" y="228"/>
                  </a:cubicBezTo>
                  <a:cubicBezTo>
                    <a:pt x="542" y="223"/>
                    <a:pt x="542" y="223"/>
                    <a:pt x="542" y="223"/>
                  </a:cubicBezTo>
                  <a:cubicBezTo>
                    <a:pt x="536" y="206"/>
                    <a:pt x="536" y="206"/>
                    <a:pt x="536" y="206"/>
                  </a:cubicBezTo>
                  <a:cubicBezTo>
                    <a:pt x="554" y="209"/>
                    <a:pt x="554" y="209"/>
                    <a:pt x="554" y="209"/>
                  </a:cubicBezTo>
                  <a:cubicBezTo>
                    <a:pt x="554" y="209"/>
                    <a:pt x="562" y="157"/>
                    <a:pt x="555" y="140"/>
                  </a:cubicBezTo>
                  <a:cubicBezTo>
                    <a:pt x="548" y="122"/>
                    <a:pt x="517" y="141"/>
                    <a:pt x="508" y="150"/>
                  </a:cubicBezTo>
                  <a:close/>
                  <a:moveTo>
                    <a:pt x="564" y="94"/>
                  </a:moveTo>
                  <a:cubicBezTo>
                    <a:pt x="555" y="94"/>
                    <a:pt x="555" y="94"/>
                    <a:pt x="555" y="94"/>
                  </a:cubicBezTo>
                  <a:cubicBezTo>
                    <a:pt x="555" y="94"/>
                    <a:pt x="524" y="60"/>
                    <a:pt x="520" y="58"/>
                  </a:cubicBezTo>
                  <a:cubicBezTo>
                    <a:pt x="516" y="55"/>
                    <a:pt x="508" y="55"/>
                    <a:pt x="508" y="55"/>
                  </a:cubicBezTo>
                  <a:cubicBezTo>
                    <a:pt x="494" y="31"/>
                    <a:pt x="494" y="31"/>
                    <a:pt x="494" y="31"/>
                  </a:cubicBezTo>
                  <a:cubicBezTo>
                    <a:pt x="486" y="63"/>
                    <a:pt x="486" y="63"/>
                    <a:pt x="486" y="63"/>
                  </a:cubicBezTo>
                  <a:cubicBezTo>
                    <a:pt x="516" y="69"/>
                    <a:pt x="516" y="69"/>
                    <a:pt x="516" y="69"/>
                  </a:cubicBezTo>
                  <a:cubicBezTo>
                    <a:pt x="516" y="69"/>
                    <a:pt x="539" y="96"/>
                    <a:pt x="545" y="102"/>
                  </a:cubicBezTo>
                  <a:cubicBezTo>
                    <a:pt x="551" y="107"/>
                    <a:pt x="571" y="109"/>
                    <a:pt x="576" y="122"/>
                  </a:cubicBezTo>
                  <a:cubicBezTo>
                    <a:pt x="580" y="135"/>
                    <a:pt x="562" y="179"/>
                    <a:pt x="589" y="181"/>
                  </a:cubicBezTo>
                  <a:cubicBezTo>
                    <a:pt x="604" y="182"/>
                    <a:pt x="612" y="150"/>
                    <a:pt x="599" y="131"/>
                  </a:cubicBezTo>
                  <a:cubicBezTo>
                    <a:pt x="586" y="112"/>
                    <a:pt x="564" y="94"/>
                    <a:pt x="564" y="94"/>
                  </a:cubicBezTo>
                  <a:close/>
                  <a:moveTo>
                    <a:pt x="728" y="249"/>
                  </a:moveTo>
                  <a:cubicBezTo>
                    <a:pt x="687" y="202"/>
                    <a:pt x="687" y="202"/>
                    <a:pt x="687" y="202"/>
                  </a:cubicBezTo>
                  <a:cubicBezTo>
                    <a:pt x="687" y="202"/>
                    <a:pt x="683" y="177"/>
                    <a:pt x="664" y="185"/>
                  </a:cubicBezTo>
                  <a:cubicBezTo>
                    <a:pt x="653" y="190"/>
                    <a:pt x="659" y="206"/>
                    <a:pt x="659" y="206"/>
                  </a:cubicBezTo>
                  <a:cubicBezTo>
                    <a:pt x="670" y="225"/>
                    <a:pt x="670" y="225"/>
                    <a:pt x="670" y="225"/>
                  </a:cubicBezTo>
                  <a:cubicBezTo>
                    <a:pt x="687" y="257"/>
                    <a:pt x="687" y="257"/>
                    <a:pt x="687" y="257"/>
                  </a:cubicBezTo>
                  <a:cubicBezTo>
                    <a:pt x="730" y="300"/>
                    <a:pt x="730" y="300"/>
                    <a:pt x="730" y="300"/>
                  </a:cubicBezTo>
                  <a:lnTo>
                    <a:pt x="728" y="249"/>
                  </a:lnTo>
                  <a:close/>
                  <a:moveTo>
                    <a:pt x="17" y="401"/>
                  </a:move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lose/>
                  <a:moveTo>
                    <a:pt x="452" y="453"/>
                  </a:moveTo>
                  <a:cubicBezTo>
                    <a:pt x="425" y="436"/>
                    <a:pt x="425" y="436"/>
                    <a:pt x="425" y="436"/>
                  </a:cubicBezTo>
                  <a:cubicBezTo>
                    <a:pt x="437" y="426"/>
                    <a:pt x="437" y="426"/>
                    <a:pt x="437" y="426"/>
                  </a:cubicBezTo>
                  <a:cubicBezTo>
                    <a:pt x="437" y="426"/>
                    <a:pt x="413" y="425"/>
                    <a:pt x="406" y="418"/>
                  </a:cubicBezTo>
                  <a:cubicBezTo>
                    <a:pt x="400" y="411"/>
                    <a:pt x="408" y="397"/>
                    <a:pt x="408" y="388"/>
                  </a:cubicBezTo>
                  <a:cubicBezTo>
                    <a:pt x="408" y="379"/>
                    <a:pt x="375" y="396"/>
                    <a:pt x="375" y="396"/>
                  </a:cubicBezTo>
                  <a:cubicBezTo>
                    <a:pt x="374" y="375"/>
                    <a:pt x="374" y="375"/>
                    <a:pt x="374" y="375"/>
                  </a:cubicBezTo>
                  <a:cubicBezTo>
                    <a:pt x="357" y="367"/>
                    <a:pt x="357" y="367"/>
                    <a:pt x="357" y="367"/>
                  </a:cubicBezTo>
                  <a:cubicBezTo>
                    <a:pt x="357" y="337"/>
                    <a:pt x="357" y="337"/>
                    <a:pt x="357" y="337"/>
                  </a:cubicBezTo>
                  <a:cubicBezTo>
                    <a:pt x="321" y="311"/>
                    <a:pt x="321" y="311"/>
                    <a:pt x="321" y="311"/>
                  </a:cubicBezTo>
                  <a:cubicBezTo>
                    <a:pt x="304" y="274"/>
                    <a:pt x="304" y="274"/>
                    <a:pt x="304" y="274"/>
                  </a:cubicBezTo>
                  <a:cubicBezTo>
                    <a:pt x="304" y="274"/>
                    <a:pt x="342" y="261"/>
                    <a:pt x="342" y="245"/>
                  </a:cubicBezTo>
                  <a:cubicBezTo>
                    <a:pt x="342" y="229"/>
                    <a:pt x="308" y="220"/>
                    <a:pt x="308" y="220"/>
                  </a:cubicBezTo>
                  <a:cubicBezTo>
                    <a:pt x="306" y="216"/>
                    <a:pt x="256" y="202"/>
                    <a:pt x="256" y="202"/>
                  </a:cubicBezTo>
                  <a:cubicBezTo>
                    <a:pt x="256" y="202"/>
                    <a:pt x="252" y="189"/>
                    <a:pt x="256" y="169"/>
                  </a:cubicBezTo>
                  <a:cubicBezTo>
                    <a:pt x="260" y="150"/>
                    <a:pt x="232" y="147"/>
                    <a:pt x="232" y="147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31" y="87"/>
                    <a:pt x="131" y="87"/>
                    <a:pt x="131" y="87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75"/>
                    <a:pt x="30" y="139"/>
                    <a:pt x="30" y="155"/>
                  </a:cubicBezTo>
                  <a:cubicBezTo>
                    <a:pt x="30" y="175"/>
                    <a:pt x="22" y="197"/>
                    <a:pt x="24" y="212"/>
                  </a:cubicBezTo>
                  <a:cubicBezTo>
                    <a:pt x="26" y="227"/>
                    <a:pt x="27" y="253"/>
                    <a:pt x="27" y="253"/>
                  </a:cubicBezTo>
                  <a:cubicBezTo>
                    <a:pt x="27" y="253"/>
                    <a:pt x="0" y="271"/>
                    <a:pt x="11" y="277"/>
                  </a:cubicBezTo>
                  <a:cubicBezTo>
                    <a:pt x="22" y="284"/>
                    <a:pt x="26" y="282"/>
                    <a:pt x="26" y="282"/>
                  </a:cubicBezTo>
                  <a:cubicBezTo>
                    <a:pt x="26" y="282"/>
                    <a:pt x="23" y="319"/>
                    <a:pt x="21" y="327"/>
                  </a:cubicBezTo>
                  <a:cubicBezTo>
                    <a:pt x="19" y="334"/>
                    <a:pt x="15" y="353"/>
                    <a:pt x="15" y="353"/>
                  </a:cubicBezTo>
                  <a:cubicBezTo>
                    <a:pt x="19" y="369"/>
                    <a:pt x="19" y="369"/>
                    <a:pt x="19" y="369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34" y="405"/>
                    <a:pt x="75" y="396"/>
                    <a:pt x="75" y="396"/>
                  </a:cubicBezTo>
                  <a:cubicBezTo>
                    <a:pt x="88" y="408"/>
                    <a:pt x="88" y="408"/>
                    <a:pt x="88" y="408"/>
                  </a:cubicBezTo>
                  <a:cubicBezTo>
                    <a:pt x="88" y="408"/>
                    <a:pt x="114" y="398"/>
                    <a:pt x="126" y="388"/>
                  </a:cubicBezTo>
                  <a:cubicBezTo>
                    <a:pt x="138" y="377"/>
                    <a:pt x="71" y="347"/>
                    <a:pt x="71" y="347"/>
                  </a:cubicBezTo>
                  <a:cubicBezTo>
                    <a:pt x="71" y="347"/>
                    <a:pt x="126" y="355"/>
                    <a:pt x="138" y="353"/>
                  </a:cubicBezTo>
                  <a:cubicBezTo>
                    <a:pt x="150" y="350"/>
                    <a:pt x="130" y="329"/>
                    <a:pt x="130" y="329"/>
                  </a:cubicBezTo>
                  <a:cubicBezTo>
                    <a:pt x="130" y="329"/>
                    <a:pt x="146" y="341"/>
                    <a:pt x="151" y="338"/>
                  </a:cubicBezTo>
                  <a:cubicBezTo>
                    <a:pt x="156" y="336"/>
                    <a:pt x="146" y="313"/>
                    <a:pt x="146" y="313"/>
                  </a:cubicBezTo>
                  <a:cubicBezTo>
                    <a:pt x="146" y="313"/>
                    <a:pt x="156" y="322"/>
                    <a:pt x="163" y="324"/>
                  </a:cubicBezTo>
                  <a:cubicBezTo>
                    <a:pt x="169" y="325"/>
                    <a:pt x="179" y="312"/>
                    <a:pt x="185" y="311"/>
                  </a:cubicBezTo>
                  <a:cubicBezTo>
                    <a:pt x="192" y="309"/>
                    <a:pt x="202" y="329"/>
                    <a:pt x="209" y="333"/>
                  </a:cubicBezTo>
                  <a:cubicBezTo>
                    <a:pt x="215" y="337"/>
                    <a:pt x="240" y="332"/>
                    <a:pt x="258" y="342"/>
                  </a:cubicBezTo>
                  <a:cubicBezTo>
                    <a:pt x="277" y="353"/>
                    <a:pt x="270" y="376"/>
                    <a:pt x="277" y="388"/>
                  </a:cubicBezTo>
                  <a:cubicBezTo>
                    <a:pt x="283" y="400"/>
                    <a:pt x="296" y="392"/>
                    <a:pt x="302" y="398"/>
                  </a:cubicBezTo>
                  <a:cubicBezTo>
                    <a:pt x="307" y="405"/>
                    <a:pt x="316" y="446"/>
                    <a:pt x="330" y="456"/>
                  </a:cubicBezTo>
                  <a:cubicBezTo>
                    <a:pt x="345" y="466"/>
                    <a:pt x="409" y="460"/>
                    <a:pt x="418" y="464"/>
                  </a:cubicBezTo>
                  <a:cubicBezTo>
                    <a:pt x="427" y="468"/>
                    <a:pt x="447" y="491"/>
                    <a:pt x="459" y="491"/>
                  </a:cubicBezTo>
                  <a:cubicBezTo>
                    <a:pt x="471" y="491"/>
                    <a:pt x="450" y="464"/>
                    <a:pt x="450" y="464"/>
                  </a:cubicBezTo>
                  <a:lnTo>
                    <a:pt x="452" y="453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6" name="Freeform 100">
              <a:extLst>
                <a:ext uri="{FF2B5EF4-FFF2-40B4-BE49-F238E27FC236}">
                  <a16:creationId xmlns:a16="http://schemas.microsoft.com/office/drawing/2014/main" id="{692AA3CE-4C72-C765-0E6F-D5CD4DDAB6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6098" y="3929510"/>
              <a:ext cx="1240803" cy="498455"/>
            </a:xfrm>
            <a:custGeom>
              <a:avLst/>
              <a:gdLst>
                <a:gd name="T0" fmla="*/ 24 w 2179"/>
                <a:gd name="T1" fmla="*/ 15 h 879"/>
                <a:gd name="T2" fmla="*/ 31 w 2179"/>
                <a:gd name="T3" fmla="*/ 23 h 879"/>
                <a:gd name="T4" fmla="*/ 29 w 2179"/>
                <a:gd name="T5" fmla="*/ 23 h 879"/>
                <a:gd name="T6" fmla="*/ 9 w 2179"/>
                <a:gd name="T7" fmla="*/ 17 h 879"/>
                <a:gd name="T8" fmla="*/ 2 w 2179"/>
                <a:gd name="T9" fmla="*/ 9 h 879"/>
                <a:gd name="T10" fmla="*/ 89 w 2179"/>
                <a:gd name="T11" fmla="*/ 16 h 879"/>
                <a:gd name="T12" fmla="*/ 85 w 2179"/>
                <a:gd name="T13" fmla="*/ 21 h 879"/>
                <a:gd name="T14" fmla="*/ 102 w 2179"/>
                <a:gd name="T15" fmla="*/ 21 h 879"/>
                <a:gd name="T16" fmla="*/ 59 w 2179"/>
                <a:gd name="T17" fmla="*/ 25 h 879"/>
                <a:gd name="T18" fmla="*/ 63 w 2179"/>
                <a:gd name="T19" fmla="*/ 25 h 879"/>
                <a:gd name="T20" fmla="*/ 67 w 2179"/>
                <a:gd name="T21" fmla="*/ 32 h 879"/>
                <a:gd name="T22" fmla="*/ 67 w 2179"/>
                <a:gd name="T23" fmla="*/ 23 h 879"/>
                <a:gd name="T24" fmla="*/ 65 w 2179"/>
                <a:gd name="T25" fmla="*/ 19 h 879"/>
                <a:gd name="T26" fmla="*/ 74 w 2179"/>
                <a:gd name="T27" fmla="*/ 13 h 879"/>
                <a:gd name="T28" fmla="*/ 65 w 2179"/>
                <a:gd name="T29" fmla="*/ 12 h 879"/>
                <a:gd name="T30" fmla="*/ 69 w 2179"/>
                <a:gd name="T31" fmla="*/ 20 h 879"/>
                <a:gd name="T32" fmla="*/ 59 w 2179"/>
                <a:gd name="T33" fmla="*/ 38 h 879"/>
                <a:gd name="T34" fmla="*/ 80 w 2179"/>
                <a:gd name="T35" fmla="*/ 19 h 879"/>
                <a:gd name="T36" fmla="*/ 84 w 2179"/>
                <a:gd name="T37" fmla="*/ 15 h 879"/>
                <a:gd name="T38" fmla="*/ 81 w 2179"/>
                <a:gd name="T39" fmla="*/ 12 h 879"/>
                <a:gd name="T40" fmla="*/ 79 w 2179"/>
                <a:gd name="T41" fmla="*/ 24 h 879"/>
                <a:gd name="T42" fmla="*/ 85 w 2179"/>
                <a:gd name="T43" fmla="*/ 23 h 879"/>
                <a:gd name="T44" fmla="*/ 86 w 2179"/>
                <a:gd name="T45" fmla="*/ 26 h 879"/>
                <a:gd name="T46" fmla="*/ 105 w 2179"/>
                <a:gd name="T47" fmla="*/ 22 h 879"/>
                <a:gd name="T48" fmla="*/ 95 w 2179"/>
                <a:gd name="T49" fmla="*/ 18 h 879"/>
                <a:gd name="T50" fmla="*/ 91 w 2179"/>
                <a:gd name="T51" fmla="*/ 20 h 879"/>
                <a:gd name="T52" fmla="*/ 93 w 2179"/>
                <a:gd name="T53" fmla="*/ 27 h 879"/>
                <a:gd name="T54" fmla="*/ 102 w 2179"/>
                <a:gd name="T55" fmla="*/ 29 h 879"/>
                <a:gd name="T56" fmla="*/ 108 w 2179"/>
                <a:gd name="T57" fmla="*/ 38 h 879"/>
                <a:gd name="T58" fmla="*/ 113 w 2179"/>
                <a:gd name="T59" fmla="*/ 37 h 879"/>
                <a:gd name="T60" fmla="*/ 13 w 2179"/>
                <a:gd name="T61" fmla="*/ 25 h 879"/>
                <a:gd name="T62" fmla="*/ 106 w 2179"/>
                <a:gd name="T63" fmla="*/ 37 h 879"/>
                <a:gd name="T64" fmla="*/ 97 w 2179"/>
                <a:gd name="T65" fmla="*/ 35 h 879"/>
                <a:gd name="T66" fmla="*/ 74 w 2179"/>
                <a:gd name="T67" fmla="*/ 21 h 879"/>
                <a:gd name="T68" fmla="*/ 45 w 2179"/>
                <a:gd name="T69" fmla="*/ 35 h 879"/>
                <a:gd name="T70" fmla="*/ 26 w 2179"/>
                <a:gd name="T71" fmla="*/ 32 h 879"/>
                <a:gd name="T72" fmla="*/ 24 w 2179"/>
                <a:gd name="T73" fmla="*/ 21 h 879"/>
                <a:gd name="T74" fmla="*/ 18 w 2179"/>
                <a:gd name="T75" fmla="*/ 12 h 879"/>
                <a:gd name="T76" fmla="*/ 8 w 2179"/>
                <a:gd name="T77" fmla="*/ 4 h 879"/>
                <a:gd name="T78" fmla="*/ 6 w 2179"/>
                <a:gd name="T79" fmla="*/ 8 h 879"/>
                <a:gd name="T80" fmla="*/ 14 w 2179"/>
                <a:gd name="T81" fmla="*/ 21 h 879"/>
                <a:gd name="T82" fmla="*/ 23 w 2179"/>
                <a:gd name="T83" fmla="*/ 32 h 879"/>
                <a:gd name="T84" fmla="*/ 73 w 2179"/>
                <a:gd name="T85" fmla="*/ 43 h 879"/>
                <a:gd name="T86" fmla="*/ 41 w 2179"/>
                <a:gd name="T87" fmla="*/ 35 h 879"/>
                <a:gd name="T88" fmla="*/ 28 w 2179"/>
                <a:gd name="T89" fmla="*/ 32 h 879"/>
                <a:gd name="T90" fmla="*/ 37 w 2179"/>
                <a:gd name="T91" fmla="*/ 38 h 879"/>
                <a:gd name="T92" fmla="*/ 52 w 2179"/>
                <a:gd name="T93" fmla="*/ 25 h 879"/>
                <a:gd name="T94" fmla="*/ 59 w 2179"/>
                <a:gd name="T95" fmla="*/ 14 h 879"/>
                <a:gd name="T96" fmla="*/ 57 w 2179"/>
                <a:gd name="T97" fmla="*/ 6 h 879"/>
                <a:gd name="T98" fmla="*/ 49 w 2179"/>
                <a:gd name="T99" fmla="*/ 11 h 879"/>
                <a:gd name="T100" fmla="*/ 37 w 2179"/>
                <a:gd name="T101" fmla="*/ 13 h 879"/>
                <a:gd name="T102" fmla="*/ 37 w 2179"/>
                <a:gd name="T103" fmla="*/ 20 h 879"/>
                <a:gd name="T104" fmla="*/ 43 w 2179"/>
                <a:gd name="T105" fmla="*/ 24 h 879"/>
                <a:gd name="T106" fmla="*/ 51 w 2179"/>
                <a:gd name="T107" fmla="*/ 39 h 879"/>
                <a:gd name="T108" fmla="*/ 62 w 2179"/>
                <a:gd name="T109" fmla="*/ 43 h 879"/>
                <a:gd name="T110" fmla="*/ 60 w 2179"/>
                <a:gd name="T111" fmla="*/ 41 h 879"/>
                <a:gd name="T112" fmla="*/ 55 w 2179"/>
                <a:gd name="T113" fmla="*/ 40 h 879"/>
                <a:gd name="T114" fmla="*/ 56 w 2179"/>
                <a:gd name="T115" fmla="*/ 40 h 8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79"/>
                <a:gd name="T175" fmla="*/ 0 h 879"/>
                <a:gd name="T176" fmla="*/ 2179 w 2179"/>
                <a:gd name="T177" fmla="*/ 879 h 8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79" h="879">
                  <a:moveTo>
                    <a:pt x="1196" y="656"/>
                  </a:moveTo>
                  <a:cubicBezTo>
                    <a:pt x="1210" y="655"/>
                    <a:pt x="1210" y="655"/>
                    <a:pt x="1210" y="655"/>
                  </a:cubicBezTo>
                  <a:cubicBezTo>
                    <a:pt x="1218" y="637"/>
                    <a:pt x="1218" y="637"/>
                    <a:pt x="1218" y="637"/>
                  </a:cubicBezTo>
                  <a:cubicBezTo>
                    <a:pt x="1215" y="622"/>
                    <a:pt x="1215" y="622"/>
                    <a:pt x="1215" y="622"/>
                  </a:cubicBezTo>
                  <a:lnTo>
                    <a:pt x="1196" y="656"/>
                  </a:lnTo>
                  <a:close/>
                  <a:moveTo>
                    <a:pt x="453" y="310"/>
                  </a:moveTo>
                  <a:cubicBezTo>
                    <a:pt x="472" y="321"/>
                    <a:pt x="472" y="321"/>
                    <a:pt x="472" y="321"/>
                  </a:cubicBezTo>
                  <a:cubicBezTo>
                    <a:pt x="472" y="300"/>
                    <a:pt x="472" y="300"/>
                    <a:pt x="472" y="300"/>
                  </a:cubicBezTo>
                  <a:cubicBezTo>
                    <a:pt x="455" y="287"/>
                    <a:pt x="455" y="287"/>
                    <a:pt x="455" y="287"/>
                  </a:cubicBezTo>
                  <a:lnTo>
                    <a:pt x="453" y="310"/>
                  </a:lnTo>
                  <a:close/>
                  <a:moveTo>
                    <a:pt x="455" y="331"/>
                  </a:moveTo>
                  <a:cubicBezTo>
                    <a:pt x="441" y="344"/>
                    <a:pt x="441" y="344"/>
                    <a:pt x="441" y="344"/>
                  </a:cubicBezTo>
                  <a:cubicBezTo>
                    <a:pt x="458" y="365"/>
                    <a:pt x="458" y="365"/>
                    <a:pt x="458" y="365"/>
                  </a:cubicBezTo>
                  <a:lnTo>
                    <a:pt x="455" y="331"/>
                  </a:lnTo>
                  <a:close/>
                  <a:moveTo>
                    <a:pt x="611" y="478"/>
                  </a:moveTo>
                  <a:cubicBezTo>
                    <a:pt x="624" y="491"/>
                    <a:pt x="624" y="491"/>
                    <a:pt x="624" y="491"/>
                  </a:cubicBezTo>
                  <a:cubicBezTo>
                    <a:pt x="630" y="474"/>
                    <a:pt x="630" y="474"/>
                    <a:pt x="630" y="474"/>
                  </a:cubicBezTo>
                  <a:cubicBezTo>
                    <a:pt x="630" y="474"/>
                    <a:pt x="622" y="444"/>
                    <a:pt x="603" y="446"/>
                  </a:cubicBezTo>
                  <a:cubicBezTo>
                    <a:pt x="584" y="447"/>
                    <a:pt x="590" y="466"/>
                    <a:pt x="596" y="484"/>
                  </a:cubicBezTo>
                  <a:lnTo>
                    <a:pt x="611" y="478"/>
                  </a:lnTo>
                  <a:close/>
                  <a:moveTo>
                    <a:pt x="459" y="249"/>
                  </a:moveTo>
                  <a:cubicBezTo>
                    <a:pt x="454" y="237"/>
                    <a:pt x="440" y="244"/>
                    <a:pt x="450" y="260"/>
                  </a:cubicBezTo>
                  <a:cubicBezTo>
                    <a:pt x="461" y="279"/>
                    <a:pt x="464" y="261"/>
                    <a:pt x="459" y="249"/>
                  </a:cubicBezTo>
                  <a:close/>
                  <a:moveTo>
                    <a:pt x="507" y="418"/>
                  </a:moveTo>
                  <a:cubicBezTo>
                    <a:pt x="507" y="418"/>
                    <a:pt x="512" y="447"/>
                    <a:pt x="523" y="459"/>
                  </a:cubicBezTo>
                  <a:cubicBezTo>
                    <a:pt x="533" y="471"/>
                    <a:pt x="559" y="471"/>
                    <a:pt x="559" y="471"/>
                  </a:cubicBezTo>
                  <a:cubicBezTo>
                    <a:pt x="558" y="443"/>
                    <a:pt x="558" y="443"/>
                    <a:pt x="558" y="443"/>
                  </a:cubicBezTo>
                  <a:cubicBezTo>
                    <a:pt x="546" y="435"/>
                    <a:pt x="546" y="435"/>
                    <a:pt x="546" y="435"/>
                  </a:cubicBezTo>
                  <a:cubicBezTo>
                    <a:pt x="545" y="415"/>
                    <a:pt x="545" y="415"/>
                    <a:pt x="545" y="415"/>
                  </a:cubicBezTo>
                  <a:cubicBezTo>
                    <a:pt x="545" y="415"/>
                    <a:pt x="530" y="390"/>
                    <a:pt x="508" y="384"/>
                  </a:cubicBezTo>
                  <a:cubicBezTo>
                    <a:pt x="486" y="378"/>
                    <a:pt x="487" y="403"/>
                    <a:pt x="487" y="403"/>
                  </a:cubicBezTo>
                  <a:cubicBezTo>
                    <a:pt x="487" y="403"/>
                    <a:pt x="473" y="399"/>
                    <a:pt x="480" y="419"/>
                  </a:cubicBezTo>
                  <a:lnTo>
                    <a:pt x="507" y="418"/>
                  </a:lnTo>
                  <a:close/>
                  <a:moveTo>
                    <a:pt x="169" y="296"/>
                  </a:moveTo>
                  <a:cubicBezTo>
                    <a:pt x="154" y="310"/>
                    <a:pt x="154" y="310"/>
                    <a:pt x="154" y="310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2" y="330"/>
                    <a:pt x="152" y="348"/>
                    <a:pt x="164" y="344"/>
                  </a:cubicBezTo>
                  <a:cubicBezTo>
                    <a:pt x="171" y="341"/>
                    <a:pt x="168" y="316"/>
                    <a:pt x="168" y="316"/>
                  </a:cubicBezTo>
                  <a:cubicBezTo>
                    <a:pt x="175" y="307"/>
                    <a:pt x="175" y="307"/>
                    <a:pt x="175" y="307"/>
                  </a:cubicBezTo>
                  <a:lnTo>
                    <a:pt x="169" y="296"/>
                  </a:lnTo>
                  <a:close/>
                  <a:moveTo>
                    <a:pt x="180" y="360"/>
                  </a:moveTo>
                  <a:cubicBezTo>
                    <a:pt x="170" y="372"/>
                    <a:pt x="176" y="414"/>
                    <a:pt x="198" y="410"/>
                  </a:cubicBezTo>
                  <a:cubicBezTo>
                    <a:pt x="207" y="408"/>
                    <a:pt x="191" y="348"/>
                    <a:pt x="180" y="360"/>
                  </a:cubicBezTo>
                  <a:close/>
                  <a:moveTo>
                    <a:pt x="35" y="152"/>
                  </a:moveTo>
                  <a:cubicBezTo>
                    <a:pt x="30" y="157"/>
                    <a:pt x="28" y="173"/>
                    <a:pt x="40" y="174"/>
                  </a:cubicBezTo>
                  <a:cubicBezTo>
                    <a:pt x="52" y="176"/>
                    <a:pt x="55" y="189"/>
                    <a:pt x="66" y="181"/>
                  </a:cubicBezTo>
                  <a:cubicBezTo>
                    <a:pt x="73" y="175"/>
                    <a:pt x="40" y="146"/>
                    <a:pt x="35" y="152"/>
                  </a:cubicBezTo>
                  <a:close/>
                  <a:moveTo>
                    <a:pt x="112" y="221"/>
                  </a:moveTo>
                  <a:cubicBezTo>
                    <a:pt x="104" y="221"/>
                    <a:pt x="94" y="234"/>
                    <a:pt x="106" y="242"/>
                  </a:cubicBezTo>
                  <a:cubicBezTo>
                    <a:pt x="118" y="250"/>
                    <a:pt x="122" y="280"/>
                    <a:pt x="134" y="280"/>
                  </a:cubicBezTo>
                  <a:cubicBezTo>
                    <a:pt x="141" y="280"/>
                    <a:pt x="142" y="249"/>
                    <a:pt x="138" y="245"/>
                  </a:cubicBezTo>
                  <a:cubicBezTo>
                    <a:pt x="134" y="241"/>
                    <a:pt x="120" y="221"/>
                    <a:pt x="112" y="221"/>
                  </a:cubicBezTo>
                  <a:close/>
                  <a:moveTo>
                    <a:pt x="1721" y="328"/>
                  </a:moveTo>
                  <a:cubicBezTo>
                    <a:pt x="1721" y="328"/>
                    <a:pt x="1725" y="316"/>
                    <a:pt x="1708" y="314"/>
                  </a:cubicBezTo>
                  <a:cubicBezTo>
                    <a:pt x="1691" y="311"/>
                    <a:pt x="1680" y="316"/>
                    <a:pt x="1680" y="316"/>
                  </a:cubicBezTo>
                  <a:cubicBezTo>
                    <a:pt x="1684" y="334"/>
                    <a:pt x="1684" y="334"/>
                    <a:pt x="1684" y="334"/>
                  </a:cubicBezTo>
                  <a:cubicBezTo>
                    <a:pt x="1693" y="333"/>
                    <a:pt x="1721" y="328"/>
                    <a:pt x="1721" y="328"/>
                  </a:cubicBezTo>
                  <a:close/>
                  <a:moveTo>
                    <a:pt x="230" y="434"/>
                  </a:moveTo>
                  <a:cubicBezTo>
                    <a:pt x="239" y="433"/>
                    <a:pt x="226" y="413"/>
                    <a:pt x="218" y="418"/>
                  </a:cubicBezTo>
                  <a:cubicBezTo>
                    <a:pt x="211" y="422"/>
                    <a:pt x="220" y="436"/>
                    <a:pt x="230" y="434"/>
                  </a:cubicBezTo>
                  <a:close/>
                  <a:moveTo>
                    <a:pt x="1652" y="438"/>
                  </a:moveTo>
                  <a:cubicBezTo>
                    <a:pt x="1674" y="429"/>
                    <a:pt x="1672" y="413"/>
                    <a:pt x="1672" y="413"/>
                  </a:cubicBezTo>
                  <a:cubicBezTo>
                    <a:pt x="1627" y="412"/>
                    <a:pt x="1627" y="412"/>
                    <a:pt x="1627" y="412"/>
                  </a:cubicBezTo>
                  <a:cubicBezTo>
                    <a:pt x="1627" y="412"/>
                    <a:pt x="1630" y="447"/>
                    <a:pt x="1652" y="438"/>
                  </a:cubicBezTo>
                  <a:close/>
                  <a:moveTo>
                    <a:pt x="1609" y="194"/>
                  </a:moveTo>
                  <a:cubicBezTo>
                    <a:pt x="1624" y="182"/>
                    <a:pt x="1618" y="175"/>
                    <a:pt x="1605" y="171"/>
                  </a:cubicBezTo>
                  <a:cubicBezTo>
                    <a:pt x="1592" y="167"/>
                    <a:pt x="1586" y="172"/>
                    <a:pt x="1586" y="172"/>
                  </a:cubicBezTo>
                  <a:cubicBezTo>
                    <a:pt x="1586" y="172"/>
                    <a:pt x="1601" y="202"/>
                    <a:pt x="1609" y="194"/>
                  </a:cubicBezTo>
                  <a:close/>
                  <a:moveTo>
                    <a:pt x="1918" y="353"/>
                  </a:moveTo>
                  <a:cubicBezTo>
                    <a:pt x="1937" y="362"/>
                    <a:pt x="1945" y="353"/>
                    <a:pt x="1930" y="346"/>
                  </a:cubicBezTo>
                  <a:cubicBezTo>
                    <a:pt x="1916" y="340"/>
                    <a:pt x="1910" y="349"/>
                    <a:pt x="1918" y="353"/>
                  </a:cubicBezTo>
                  <a:close/>
                  <a:moveTo>
                    <a:pt x="1950" y="413"/>
                  </a:moveTo>
                  <a:cubicBezTo>
                    <a:pt x="1959" y="413"/>
                    <a:pt x="1986" y="406"/>
                    <a:pt x="1986" y="406"/>
                  </a:cubicBezTo>
                  <a:cubicBezTo>
                    <a:pt x="1986" y="406"/>
                    <a:pt x="1962" y="396"/>
                    <a:pt x="1957" y="395"/>
                  </a:cubicBezTo>
                  <a:cubicBezTo>
                    <a:pt x="1953" y="394"/>
                    <a:pt x="1924" y="400"/>
                    <a:pt x="1924" y="400"/>
                  </a:cubicBezTo>
                  <a:cubicBezTo>
                    <a:pt x="1924" y="400"/>
                    <a:pt x="1940" y="413"/>
                    <a:pt x="1950" y="413"/>
                  </a:cubicBezTo>
                  <a:close/>
                  <a:moveTo>
                    <a:pt x="1145" y="370"/>
                  </a:moveTo>
                  <a:cubicBezTo>
                    <a:pt x="1142" y="380"/>
                    <a:pt x="1161" y="400"/>
                    <a:pt x="1153" y="409"/>
                  </a:cubicBezTo>
                  <a:cubicBezTo>
                    <a:pt x="1145" y="418"/>
                    <a:pt x="1122" y="424"/>
                    <a:pt x="1120" y="437"/>
                  </a:cubicBezTo>
                  <a:cubicBezTo>
                    <a:pt x="1119" y="451"/>
                    <a:pt x="1130" y="464"/>
                    <a:pt x="1130" y="464"/>
                  </a:cubicBezTo>
                  <a:cubicBezTo>
                    <a:pt x="1130" y="464"/>
                    <a:pt x="1114" y="478"/>
                    <a:pt x="1124" y="485"/>
                  </a:cubicBezTo>
                  <a:cubicBezTo>
                    <a:pt x="1135" y="492"/>
                    <a:pt x="1153" y="477"/>
                    <a:pt x="1157" y="489"/>
                  </a:cubicBezTo>
                  <a:cubicBezTo>
                    <a:pt x="1161" y="501"/>
                    <a:pt x="1153" y="510"/>
                    <a:pt x="1153" y="510"/>
                  </a:cubicBezTo>
                  <a:cubicBezTo>
                    <a:pt x="1164" y="524"/>
                    <a:pt x="1164" y="524"/>
                    <a:pt x="1164" y="524"/>
                  </a:cubicBezTo>
                  <a:cubicBezTo>
                    <a:pt x="1158" y="568"/>
                    <a:pt x="1158" y="568"/>
                    <a:pt x="1158" y="568"/>
                  </a:cubicBezTo>
                  <a:cubicBezTo>
                    <a:pt x="1158" y="568"/>
                    <a:pt x="1134" y="582"/>
                    <a:pt x="1146" y="606"/>
                  </a:cubicBezTo>
                  <a:cubicBezTo>
                    <a:pt x="1157" y="630"/>
                    <a:pt x="1173" y="630"/>
                    <a:pt x="1191" y="612"/>
                  </a:cubicBezTo>
                  <a:cubicBezTo>
                    <a:pt x="1208" y="595"/>
                    <a:pt x="1188" y="566"/>
                    <a:pt x="1188" y="566"/>
                  </a:cubicBezTo>
                  <a:cubicBezTo>
                    <a:pt x="1188" y="566"/>
                    <a:pt x="1209" y="551"/>
                    <a:pt x="1209" y="530"/>
                  </a:cubicBezTo>
                  <a:cubicBezTo>
                    <a:pt x="1208" y="508"/>
                    <a:pt x="1217" y="489"/>
                    <a:pt x="1210" y="476"/>
                  </a:cubicBezTo>
                  <a:cubicBezTo>
                    <a:pt x="1202" y="464"/>
                    <a:pt x="1198" y="439"/>
                    <a:pt x="1200" y="434"/>
                  </a:cubicBezTo>
                  <a:cubicBezTo>
                    <a:pt x="1201" y="429"/>
                    <a:pt x="1207" y="401"/>
                    <a:pt x="1217" y="419"/>
                  </a:cubicBezTo>
                  <a:cubicBezTo>
                    <a:pt x="1228" y="437"/>
                    <a:pt x="1228" y="468"/>
                    <a:pt x="1228" y="468"/>
                  </a:cubicBezTo>
                  <a:cubicBezTo>
                    <a:pt x="1251" y="494"/>
                    <a:pt x="1251" y="494"/>
                    <a:pt x="1251" y="494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65" y="551"/>
                    <a:pt x="1265" y="551"/>
                    <a:pt x="1265" y="551"/>
                  </a:cubicBezTo>
                  <a:cubicBezTo>
                    <a:pt x="1266" y="575"/>
                    <a:pt x="1266" y="575"/>
                    <a:pt x="1266" y="575"/>
                  </a:cubicBezTo>
                  <a:cubicBezTo>
                    <a:pt x="1275" y="624"/>
                    <a:pt x="1275" y="624"/>
                    <a:pt x="1275" y="624"/>
                  </a:cubicBezTo>
                  <a:cubicBezTo>
                    <a:pt x="1285" y="614"/>
                    <a:pt x="1285" y="614"/>
                    <a:pt x="1285" y="614"/>
                  </a:cubicBezTo>
                  <a:cubicBezTo>
                    <a:pt x="1312" y="622"/>
                    <a:pt x="1312" y="622"/>
                    <a:pt x="1312" y="622"/>
                  </a:cubicBezTo>
                  <a:cubicBezTo>
                    <a:pt x="1312" y="622"/>
                    <a:pt x="1314" y="605"/>
                    <a:pt x="1313" y="592"/>
                  </a:cubicBezTo>
                  <a:cubicBezTo>
                    <a:pt x="1312" y="579"/>
                    <a:pt x="1319" y="572"/>
                    <a:pt x="1319" y="572"/>
                  </a:cubicBezTo>
                  <a:cubicBezTo>
                    <a:pt x="1325" y="588"/>
                    <a:pt x="1325" y="588"/>
                    <a:pt x="1325" y="588"/>
                  </a:cubicBezTo>
                  <a:cubicBezTo>
                    <a:pt x="1325" y="588"/>
                    <a:pt x="1342" y="590"/>
                    <a:pt x="1344" y="574"/>
                  </a:cubicBezTo>
                  <a:cubicBezTo>
                    <a:pt x="1345" y="558"/>
                    <a:pt x="1341" y="546"/>
                    <a:pt x="1341" y="546"/>
                  </a:cubicBezTo>
                  <a:cubicBezTo>
                    <a:pt x="1341" y="546"/>
                    <a:pt x="1301" y="514"/>
                    <a:pt x="1303" y="502"/>
                  </a:cubicBezTo>
                  <a:cubicBezTo>
                    <a:pt x="1305" y="490"/>
                    <a:pt x="1324" y="477"/>
                    <a:pt x="1313" y="467"/>
                  </a:cubicBezTo>
                  <a:cubicBezTo>
                    <a:pt x="1301" y="457"/>
                    <a:pt x="1292" y="454"/>
                    <a:pt x="1291" y="446"/>
                  </a:cubicBezTo>
                  <a:cubicBezTo>
                    <a:pt x="1291" y="437"/>
                    <a:pt x="1304" y="418"/>
                    <a:pt x="1290" y="412"/>
                  </a:cubicBezTo>
                  <a:cubicBezTo>
                    <a:pt x="1277" y="407"/>
                    <a:pt x="1257" y="390"/>
                    <a:pt x="1257" y="390"/>
                  </a:cubicBezTo>
                  <a:cubicBezTo>
                    <a:pt x="1257" y="390"/>
                    <a:pt x="1279" y="395"/>
                    <a:pt x="1289" y="385"/>
                  </a:cubicBezTo>
                  <a:cubicBezTo>
                    <a:pt x="1298" y="376"/>
                    <a:pt x="1308" y="354"/>
                    <a:pt x="1308" y="354"/>
                  </a:cubicBezTo>
                  <a:cubicBezTo>
                    <a:pt x="1308" y="354"/>
                    <a:pt x="1347" y="356"/>
                    <a:pt x="1348" y="348"/>
                  </a:cubicBezTo>
                  <a:cubicBezTo>
                    <a:pt x="1349" y="339"/>
                    <a:pt x="1338" y="324"/>
                    <a:pt x="1328" y="323"/>
                  </a:cubicBezTo>
                  <a:cubicBezTo>
                    <a:pt x="1317" y="323"/>
                    <a:pt x="1310" y="341"/>
                    <a:pt x="1310" y="341"/>
                  </a:cubicBezTo>
                  <a:cubicBezTo>
                    <a:pt x="1310" y="341"/>
                    <a:pt x="1281" y="333"/>
                    <a:pt x="1269" y="337"/>
                  </a:cubicBezTo>
                  <a:cubicBezTo>
                    <a:pt x="1258" y="340"/>
                    <a:pt x="1252" y="369"/>
                    <a:pt x="1240" y="370"/>
                  </a:cubicBezTo>
                  <a:cubicBezTo>
                    <a:pt x="1229" y="370"/>
                    <a:pt x="1230" y="350"/>
                    <a:pt x="1213" y="340"/>
                  </a:cubicBezTo>
                  <a:cubicBezTo>
                    <a:pt x="1196" y="330"/>
                    <a:pt x="1188" y="333"/>
                    <a:pt x="1188" y="333"/>
                  </a:cubicBezTo>
                  <a:cubicBezTo>
                    <a:pt x="1188" y="333"/>
                    <a:pt x="1193" y="274"/>
                    <a:pt x="1209" y="273"/>
                  </a:cubicBezTo>
                  <a:cubicBezTo>
                    <a:pt x="1225" y="272"/>
                    <a:pt x="1255" y="283"/>
                    <a:pt x="1269" y="279"/>
                  </a:cubicBezTo>
                  <a:cubicBezTo>
                    <a:pt x="1282" y="276"/>
                    <a:pt x="1273" y="264"/>
                    <a:pt x="1284" y="266"/>
                  </a:cubicBezTo>
                  <a:cubicBezTo>
                    <a:pt x="1296" y="267"/>
                    <a:pt x="1349" y="293"/>
                    <a:pt x="1359" y="294"/>
                  </a:cubicBezTo>
                  <a:cubicBezTo>
                    <a:pt x="1370" y="294"/>
                    <a:pt x="1372" y="285"/>
                    <a:pt x="1379" y="281"/>
                  </a:cubicBezTo>
                  <a:cubicBezTo>
                    <a:pt x="1386" y="277"/>
                    <a:pt x="1399" y="283"/>
                    <a:pt x="1408" y="278"/>
                  </a:cubicBezTo>
                  <a:cubicBezTo>
                    <a:pt x="1417" y="272"/>
                    <a:pt x="1406" y="267"/>
                    <a:pt x="1415" y="258"/>
                  </a:cubicBezTo>
                  <a:cubicBezTo>
                    <a:pt x="1423" y="249"/>
                    <a:pt x="1443" y="240"/>
                    <a:pt x="1443" y="240"/>
                  </a:cubicBezTo>
                  <a:cubicBezTo>
                    <a:pt x="1436" y="220"/>
                    <a:pt x="1436" y="220"/>
                    <a:pt x="1436" y="220"/>
                  </a:cubicBezTo>
                  <a:cubicBezTo>
                    <a:pt x="1384" y="242"/>
                    <a:pt x="1384" y="242"/>
                    <a:pt x="1384" y="242"/>
                  </a:cubicBezTo>
                  <a:cubicBezTo>
                    <a:pt x="1384" y="242"/>
                    <a:pt x="1396" y="255"/>
                    <a:pt x="1381" y="256"/>
                  </a:cubicBezTo>
                  <a:cubicBezTo>
                    <a:pt x="1366" y="257"/>
                    <a:pt x="1353" y="248"/>
                    <a:pt x="1344" y="248"/>
                  </a:cubicBezTo>
                  <a:cubicBezTo>
                    <a:pt x="1336" y="248"/>
                    <a:pt x="1321" y="261"/>
                    <a:pt x="1311" y="259"/>
                  </a:cubicBezTo>
                  <a:cubicBezTo>
                    <a:pt x="1300" y="256"/>
                    <a:pt x="1275" y="244"/>
                    <a:pt x="1268" y="244"/>
                  </a:cubicBezTo>
                  <a:cubicBezTo>
                    <a:pt x="1261" y="244"/>
                    <a:pt x="1245" y="244"/>
                    <a:pt x="1245" y="244"/>
                  </a:cubicBezTo>
                  <a:cubicBezTo>
                    <a:pt x="1253" y="232"/>
                    <a:pt x="1253" y="232"/>
                    <a:pt x="1253" y="232"/>
                  </a:cubicBezTo>
                  <a:cubicBezTo>
                    <a:pt x="1253" y="232"/>
                    <a:pt x="1226" y="225"/>
                    <a:pt x="1223" y="228"/>
                  </a:cubicBezTo>
                  <a:cubicBezTo>
                    <a:pt x="1219" y="232"/>
                    <a:pt x="1224" y="249"/>
                    <a:pt x="1212" y="256"/>
                  </a:cubicBezTo>
                  <a:cubicBezTo>
                    <a:pt x="1201" y="263"/>
                    <a:pt x="1179" y="261"/>
                    <a:pt x="1179" y="267"/>
                  </a:cubicBezTo>
                  <a:cubicBezTo>
                    <a:pt x="1179" y="273"/>
                    <a:pt x="1178" y="287"/>
                    <a:pt x="1178" y="287"/>
                  </a:cubicBezTo>
                  <a:cubicBezTo>
                    <a:pt x="1164" y="289"/>
                    <a:pt x="1164" y="289"/>
                    <a:pt x="1164" y="289"/>
                  </a:cubicBezTo>
                  <a:cubicBezTo>
                    <a:pt x="1174" y="336"/>
                    <a:pt x="1174" y="336"/>
                    <a:pt x="1174" y="336"/>
                  </a:cubicBezTo>
                  <a:cubicBezTo>
                    <a:pt x="1164" y="335"/>
                    <a:pt x="1164" y="335"/>
                    <a:pt x="1164" y="335"/>
                  </a:cubicBezTo>
                  <a:cubicBezTo>
                    <a:pt x="1164" y="335"/>
                    <a:pt x="1147" y="360"/>
                    <a:pt x="1145" y="370"/>
                  </a:cubicBezTo>
                  <a:close/>
                  <a:moveTo>
                    <a:pt x="1328" y="387"/>
                  </a:moveTo>
                  <a:cubicBezTo>
                    <a:pt x="1328" y="400"/>
                    <a:pt x="1328" y="400"/>
                    <a:pt x="1328" y="400"/>
                  </a:cubicBezTo>
                  <a:cubicBezTo>
                    <a:pt x="1328" y="400"/>
                    <a:pt x="1343" y="412"/>
                    <a:pt x="1350" y="395"/>
                  </a:cubicBezTo>
                  <a:cubicBezTo>
                    <a:pt x="1358" y="379"/>
                    <a:pt x="1328" y="387"/>
                    <a:pt x="1328" y="387"/>
                  </a:cubicBezTo>
                  <a:close/>
                  <a:moveTo>
                    <a:pt x="1127" y="743"/>
                  </a:moveTo>
                  <a:cubicBezTo>
                    <a:pt x="1118" y="740"/>
                    <a:pt x="1111" y="746"/>
                    <a:pt x="1111" y="746"/>
                  </a:cubicBezTo>
                  <a:cubicBezTo>
                    <a:pt x="1080" y="739"/>
                    <a:pt x="1080" y="739"/>
                    <a:pt x="1080" y="739"/>
                  </a:cubicBezTo>
                  <a:cubicBezTo>
                    <a:pt x="1099" y="766"/>
                    <a:pt x="1099" y="766"/>
                    <a:pt x="1099" y="766"/>
                  </a:cubicBezTo>
                  <a:cubicBezTo>
                    <a:pt x="1099" y="766"/>
                    <a:pt x="1126" y="793"/>
                    <a:pt x="1132" y="775"/>
                  </a:cubicBezTo>
                  <a:cubicBezTo>
                    <a:pt x="1137" y="758"/>
                    <a:pt x="1136" y="746"/>
                    <a:pt x="1127" y="743"/>
                  </a:cubicBezTo>
                  <a:close/>
                  <a:moveTo>
                    <a:pt x="1400" y="740"/>
                  </a:moveTo>
                  <a:cubicBezTo>
                    <a:pt x="1379" y="754"/>
                    <a:pt x="1379" y="754"/>
                    <a:pt x="1379" y="754"/>
                  </a:cubicBezTo>
                  <a:cubicBezTo>
                    <a:pt x="1400" y="759"/>
                    <a:pt x="1400" y="759"/>
                    <a:pt x="1400" y="759"/>
                  </a:cubicBezTo>
                  <a:lnTo>
                    <a:pt x="1400" y="740"/>
                  </a:lnTo>
                  <a:close/>
                  <a:moveTo>
                    <a:pt x="327" y="200"/>
                  </a:moveTo>
                  <a:cubicBezTo>
                    <a:pt x="315" y="190"/>
                    <a:pt x="304" y="196"/>
                    <a:pt x="310" y="212"/>
                  </a:cubicBezTo>
                  <a:cubicBezTo>
                    <a:pt x="314" y="226"/>
                    <a:pt x="339" y="209"/>
                    <a:pt x="327" y="200"/>
                  </a:cubicBezTo>
                  <a:close/>
                  <a:moveTo>
                    <a:pt x="1569" y="393"/>
                  </a:moveTo>
                  <a:cubicBezTo>
                    <a:pt x="1561" y="383"/>
                    <a:pt x="1542" y="370"/>
                    <a:pt x="1542" y="370"/>
                  </a:cubicBezTo>
                  <a:cubicBezTo>
                    <a:pt x="1540" y="400"/>
                    <a:pt x="1540" y="400"/>
                    <a:pt x="1540" y="400"/>
                  </a:cubicBezTo>
                  <a:cubicBezTo>
                    <a:pt x="1552" y="408"/>
                    <a:pt x="1578" y="404"/>
                    <a:pt x="1569" y="393"/>
                  </a:cubicBezTo>
                  <a:close/>
                  <a:moveTo>
                    <a:pt x="1543" y="318"/>
                  </a:moveTo>
                  <a:cubicBezTo>
                    <a:pt x="1552" y="325"/>
                    <a:pt x="1590" y="359"/>
                    <a:pt x="1599" y="356"/>
                  </a:cubicBezTo>
                  <a:cubicBezTo>
                    <a:pt x="1608" y="353"/>
                    <a:pt x="1598" y="340"/>
                    <a:pt x="1587" y="334"/>
                  </a:cubicBezTo>
                  <a:cubicBezTo>
                    <a:pt x="1577" y="328"/>
                    <a:pt x="1571" y="316"/>
                    <a:pt x="1581" y="306"/>
                  </a:cubicBezTo>
                  <a:cubicBezTo>
                    <a:pt x="1592" y="296"/>
                    <a:pt x="1611" y="306"/>
                    <a:pt x="1611" y="306"/>
                  </a:cubicBezTo>
                  <a:cubicBezTo>
                    <a:pt x="1620" y="299"/>
                    <a:pt x="1620" y="299"/>
                    <a:pt x="1620" y="299"/>
                  </a:cubicBezTo>
                  <a:cubicBezTo>
                    <a:pt x="1603" y="288"/>
                    <a:pt x="1603" y="288"/>
                    <a:pt x="1603" y="288"/>
                  </a:cubicBezTo>
                  <a:cubicBezTo>
                    <a:pt x="1603" y="288"/>
                    <a:pt x="1617" y="281"/>
                    <a:pt x="1620" y="269"/>
                  </a:cubicBezTo>
                  <a:cubicBezTo>
                    <a:pt x="1623" y="258"/>
                    <a:pt x="1608" y="250"/>
                    <a:pt x="1598" y="249"/>
                  </a:cubicBezTo>
                  <a:cubicBezTo>
                    <a:pt x="1587" y="247"/>
                    <a:pt x="1577" y="274"/>
                    <a:pt x="1565" y="275"/>
                  </a:cubicBezTo>
                  <a:cubicBezTo>
                    <a:pt x="1554" y="277"/>
                    <a:pt x="1557" y="250"/>
                    <a:pt x="1557" y="250"/>
                  </a:cubicBezTo>
                  <a:cubicBezTo>
                    <a:pt x="1557" y="250"/>
                    <a:pt x="1567" y="237"/>
                    <a:pt x="1570" y="227"/>
                  </a:cubicBezTo>
                  <a:cubicBezTo>
                    <a:pt x="1573" y="216"/>
                    <a:pt x="1567" y="211"/>
                    <a:pt x="1567" y="211"/>
                  </a:cubicBezTo>
                  <a:cubicBezTo>
                    <a:pt x="1576" y="184"/>
                    <a:pt x="1576" y="184"/>
                    <a:pt x="1576" y="184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8" y="230"/>
                    <a:pt x="1548" y="230"/>
                    <a:pt x="1548" y="230"/>
                  </a:cubicBezTo>
                  <a:cubicBezTo>
                    <a:pt x="1548" y="230"/>
                    <a:pt x="1525" y="240"/>
                    <a:pt x="1527" y="265"/>
                  </a:cubicBezTo>
                  <a:cubicBezTo>
                    <a:pt x="1529" y="281"/>
                    <a:pt x="1540" y="284"/>
                    <a:pt x="1543" y="293"/>
                  </a:cubicBezTo>
                  <a:cubicBezTo>
                    <a:pt x="1546" y="302"/>
                    <a:pt x="1535" y="310"/>
                    <a:pt x="1543" y="318"/>
                  </a:cubicBezTo>
                  <a:close/>
                  <a:moveTo>
                    <a:pt x="1505" y="474"/>
                  </a:moveTo>
                  <a:cubicBezTo>
                    <a:pt x="1496" y="464"/>
                    <a:pt x="1496" y="464"/>
                    <a:pt x="1496" y="464"/>
                  </a:cubicBezTo>
                  <a:cubicBezTo>
                    <a:pt x="1482" y="475"/>
                    <a:pt x="1482" y="475"/>
                    <a:pt x="1482" y="475"/>
                  </a:cubicBezTo>
                  <a:cubicBezTo>
                    <a:pt x="1482" y="475"/>
                    <a:pt x="1475" y="494"/>
                    <a:pt x="1489" y="503"/>
                  </a:cubicBezTo>
                  <a:cubicBezTo>
                    <a:pt x="1502" y="513"/>
                    <a:pt x="1521" y="509"/>
                    <a:pt x="1521" y="509"/>
                  </a:cubicBezTo>
                  <a:cubicBezTo>
                    <a:pt x="1529" y="498"/>
                    <a:pt x="1517" y="471"/>
                    <a:pt x="1517" y="471"/>
                  </a:cubicBezTo>
                  <a:lnTo>
                    <a:pt x="1505" y="474"/>
                  </a:lnTo>
                  <a:close/>
                  <a:moveTo>
                    <a:pt x="1437" y="740"/>
                  </a:moveTo>
                  <a:cubicBezTo>
                    <a:pt x="1487" y="728"/>
                    <a:pt x="1487" y="728"/>
                    <a:pt x="1487" y="728"/>
                  </a:cubicBezTo>
                  <a:cubicBezTo>
                    <a:pt x="1449" y="718"/>
                    <a:pt x="1449" y="718"/>
                    <a:pt x="1449" y="718"/>
                  </a:cubicBezTo>
                  <a:lnTo>
                    <a:pt x="1437" y="740"/>
                  </a:lnTo>
                  <a:close/>
                  <a:moveTo>
                    <a:pt x="1700" y="502"/>
                  </a:moveTo>
                  <a:cubicBezTo>
                    <a:pt x="1686" y="490"/>
                    <a:pt x="1686" y="490"/>
                    <a:pt x="1686" y="490"/>
                  </a:cubicBezTo>
                  <a:cubicBezTo>
                    <a:pt x="1687" y="479"/>
                    <a:pt x="1687" y="479"/>
                    <a:pt x="1687" y="479"/>
                  </a:cubicBezTo>
                  <a:cubicBezTo>
                    <a:pt x="1687" y="479"/>
                    <a:pt x="1681" y="458"/>
                    <a:pt x="1634" y="448"/>
                  </a:cubicBezTo>
                  <a:cubicBezTo>
                    <a:pt x="1618" y="444"/>
                    <a:pt x="1608" y="454"/>
                    <a:pt x="1597" y="459"/>
                  </a:cubicBezTo>
                  <a:cubicBezTo>
                    <a:pt x="1591" y="461"/>
                    <a:pt x="1583" y="457"/>
                    <a:pt x="1579" y="460"/>
                  </a:cubicBezTo>
                  <a:cubicBezTo>
                    <a:pt x="1566" y="468"/>
                    <a:pt x="1562" y="484"/>
                    <a:pt x="1566" y="487"/>
                  </a:cubicBezTo>
                  <a:cubicBezTo>
                    <a:pt x="1573" y="493"/>
                    <a:pt x="1580" y="479"/>
                    <a:pt x="1580" y="479"/>
                  </a:cubicBezTo>
                  <a:cubicBezTo>
                    <a:pt x="1580" y="479"/>
                    <a:pt x="1580" y="495"/>
                    <a:pt x="1591" y="497"/>
                  </a:cubicBezTo>
                  <a:cubicBezTo>
                    <a:pt x="1602" y="498"/>
                    <a:pt x="1604" y="478"/>
                    <a:pt x="1604" y="478"/>
                  </a:cubicBezTo>
                  <a:cubicBezTo>
                    <a:pt x="1604" y="478"/>
                    <a:pt x="1612" y="489"/>
                    <a:pt x="1619" y="489"/>
                  </a:cubicBezTo>
                  <a:cubicBezTo>
                    <a:pt x="1626" y="489"/>
                    <a:pt x="1644" y="474"/>
                    <a:pt x="1644" y="474"/>
                  </a:cubicBezTo>
                  <a:cubicBezTo>
                    <a:pt x="1654" y="509"/>
                    <a:pt x="1654" y="509"/>
                    <a:pt x="1654" y="509"/>
                  </a:cubicBezTo>
                  <a:cubicBezTo>
                    <a:pt x="1673" y="495"/>
                    <a:pt x="1673" y="495"/>
                    <a:pt x="1673" y="495"/>
                  </a:cubicBezTo>
                  <a:cubicBezTo>
                    <a:pt x="1695" y="519"/>
                    <a:pt x="1695" y="519"/>
                    <a:pt x="1695" y="519"/>
                  </a:cubicBezTo>
                  <a:lnTo>
                    <a:pt x="1700" y="502"/>
                  </a:lnTo>
                  <a:close/>
                  <a:moveTo>
                    <a:pt x="2179" y="454"/>
                  </a:moveTo>
                  <a:cubicBezTo>
                    <a:pt x="2153" y="435"/>
                    <a:pt x="2153" y="435"/>
                    <a:pt x="2153" y="435"/>
                  </a:cubicBezTo>
                  <a:cubicBezTo>
                    <a:pt x="2153" y="435"/>
                    <a:pt x="2134" y="437"/>
                    <a:pt x="2124" y="437"/>
                  </a:cubicBezTo>
                  <a:cubicBezTo>
                    <a:pt x="2113" y="437"/>
                    <a:pt x="2045" y="394"/>
                    <a:pt x="2032" y="390"/>
                  </a:cubicBezTo>
                  <a:cubicBezTo>
                    <a:pt x="2019" y="386"/>
                    <a:pt x="1998" y="405"/>
                    <a:pt x="1998" y="405"/>
                  </a:cubicBezTo>
                  <a:cubicBezTo>
                    <a:pt x="2007" y="423"/>
                    <a:pt x="2007" y="423"/>
                    <a:pt x="2007" y="423"/>
                  </a:cubicBezTo>
                  <a:cubicBezTo>
                    <a:pt x="1956" y="428"/>
                    <a:pt x="1956" y="428"/>
                    <a:pt x="1956" y="428"/>
                  </a:cubicBezTo>
                  <a:cubicBezTo>
                    <a:pt x="1960" y="446"/>
                    <a:pt x="1960" y="446"/>
                    <a:pt x="1960" y="446"/>
                  </a:cubicBezTo>
                  <a:cubicBezTo>
                    <a:pt x="1960" y="446"/>
                    <a:pt x="1950" y="477"/>
                    <a:pt x="1913" y="484"/>
                  </a:cubicBezTo>
                  <a:cubicBezTo>
                    <a:pt x="1876" y="492"/>
                    <a:pt x="1886" y="443"/>
                    <a:pt x="1880" y="443"/>
                  </a:cubicBezTo>
                  <a:cubicBezTo>
                    <a:pt x="1875" y="443"/>
                    <a:pt x="1869" y="465"/>
                    <a:pt x="1869" y="465"/>
                  </a:cubicBezTo>
                  <a:cubicBezTo>
                    <a:pt x="1869" y="465"/>
                    <a:pt x="1861" y="448"/>
                    <a:pt x="1861" y="439"/>
                  </a:cubicBezTo>
                  <a:cubicBezTo>
                    <a:pt x="1861" y="429"/>
                    <a:pt x="1862" y="402"/>
                    <a:pt x="1859" y="385"/>
                  </a:cubicBezTo>
                  <a:cubicBezTo>
                    <a:pt x="1857" y="368"/>
                    <a:pt x="1846" y="350"/>
                    <a:pt x="1846" y="350"/>
                  </a:cubicBezTo>
                  <a:cubicBezTo>
                    <a:pt x="1820" y="350"/>
                    <a:pt x="1820" y="350"/>
                    <a:pt x="1820" y="350"/>
                  </a:cubicBezTo>
                  <a:cubicBezTo>
                    <a:pt x="1820" y="350"/>
                    <a:pt x="1799" y="326"/>
                    <a:pt x="1781" y="326"/>
                  </a:cubicBezTo>
                  <a:cubicBezTo>
                    <a:pt x="1763" y="326"/>
                    <a:pt x="1744" y="351"/>
                    <a:pt x="1744" y="351"/>
                  </a:cubicBezTo>
                  <a:cubicBezTo>
                    <a:pt x="1728" y="355"/>
                    <a:pt x="1728" y="355"/>
                    <a:pt x="1728" y="355"/>
                  </a:cubicBezTo>
                  <a:cubicBezTo>
                    <a:pt x="1723" y="367"/>
                    <a:pt x="1723" y="367"/>
                    <a:pt x="1723" y="367"/>
                  </a:cubicBezTo>
                  <a:cubicBezTo>
                    <a:pt x="1711" y="373"/>
                    <a:pt x="1711" y="373"/>
                    <a:pt x="1711" y="373"/>
                  </a:cubicBezTo>
                  <a:cubicBezTo>
                    <a:pt x="1711" y="364"/>
                    <a:pt x="1711" y="364"/>
                    <a:pt x="1711" y="364"/>
                  </a:cubicBezTo>
                  <a:cubicBezTo>
                    <a:pt x="1711" y="364"/>
                    <a:pt x="1704" y="352"/>
                    <a:pt x="1693" y="356"/>
                  </a:cubicBezTo>
                  <a:cubicBezTo>
                    <a:pt x="1693" y="356"/>
                    <a:pt x="1693" y="369"/>
                    <a:pt x="1702" y="382"/>
                  </a:cubicBezTo>
                  <a:cubicBezTo>
                    <a:pt x="1711" y="395"/>
                    <a:pt x="1732" y="388"/>
                    <a:pt x="1749" y="393"/>
                  </a:cubicBezTo>
                  <a:cubicBezTo>
                    <a:pt x="1766" y="398"/>
                    <a:pt x="1751" y="406"/>
                    <a:pt x="1760" y="422"/>
                  </a:cubicBezTo>
                  <a:cubicBezTo>
                    <a:pt x="1769" y="437"/>
                    <a:pt x="1799" y="424"/>
                    <a:pt x="1821" y="424"/>
                  </a:cubicBezTo>
                  <a:cubicBezTo>
                    <a:pt x="1844" y="424"/>
                    <a:pt x="1845" y="429"/>
                    <a:pt x="1845" y="440"/>
                  </a:cubicBezTo>
                  <a:cubicBezTo>
                    <a:pt x="1845" y="450"/>
                    <a:pt x="1819" y="440"/>
                    <a:pt x="1811" y="441"/>
                  </a:cubicBezTo>
                  <a:cubicBezTo>
                    <a:pt x="1803" y="443"/>
                    <a:pt x="1785" y="454"/>
                    <a:pt x="1785" y="454"/>
                  </a:cubicBezTo>
                  <a:cubicBezTo>
                    <a:pt x="1785" y="454"/>
                    <a:pt x="1757" y="454"/>
                    <a:pt x="1751" y="461"/>
                  </a:cubicBezTo>
                  <a:cubicBezTo>
                    <a:pt x="1744" y="467"/>
                    <a:pt x="1774" y="474"/>
                    <a:pt x="1781" y="478"/>
                  </a:cubicBezTo>
                  <a:cubicBezTo>
                    <a:pt x="1787" y="482"/>
                    <a:pt x="1797" y="498"/>
                    <a:pt x="1797" y="498"/>
                  </a:cubicBezTo>
                  <a:cubicBezTo>
                    <a:pt x="1797" y="498"/>
                    <a:pt x="1781" y="517"/>
                    <a:pt x="1790" y="530"/>
                  </a:cubicBezTo>
                  <a:cubicBezTo>
                    <a:pt x="1799" y="543"/>
                    <a:pt x="1819" y="508"/>
                    <a:pt x="1819" y="504"/>
                  </a:cubicBezTo>
                  <a:cubicBezTo>
                    <a:pt x="1819" y="500"/>
                    <a:pt x="1838" y="471"/>
                    <a:pt x="1838" y="471"/>
                  </a:cubicBezTo>
                  <a:cubicBezTo>
                    <a:pt x="1836" y="496"/>
                    <a:pt x="1836" y="496"/>
                    <a:pt x="1836" y="496"/>
                  </a:cubicBezTo>
                  <a:cubicBezTo>
                    <a:pt x="1836" y="496"/>
                    <a:pt x="1849" y="509"/>
                    <a:pt x="1859" y="518"/>
                  </a:cubicBezTo>
                  <a:cubicBezTo>
                    <a:pt x="1870" y="528"/>
                    <a:pt x="1891" y="520"/>
                    <a:pt x="1891" y="520"/>
                  </a:cubicBezTo>
                  <a:cubicBezTo>
                    <a:pt x="1882" y="529"/>
                    <a:pt x="1882" y="529"/>
                    <a:pt x="1882" y="529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941" y="550"/>
                    <a:pt x="1941" y="550"/>
                    <a:pt x="1941" y="550"/>
                  </a:cubicBezTo>
                  <a:cubicBezTo>
                    <a:pt x="1964" y="567"/>
                    <a:pt x="1964" y="567"/>
                    <a:pt x="1964" y="567"/>
                  </a:cubicBezTo>
                  <a:cubicBezTo>
                    <a:pt x="1964" y="567"/>
                    <a:pt x="2006" y="581"/>
                    <a:pt x="2030" y="598"/>
                  </a:cubicBezTo>
                  <a:cubicBezTo>
                    <a:pt x="2053" y="615"/>
                    <a:pt x="2048" y="621"/>
                    <a:pt x="2049" y="640"/>
                  </a:cubicBezTo>
                  <a:cubicBezTo>
                    <a:pt x="2051" y="660"/>
                    <a:pt x="2073" y="669"/>
                    <a:pt x="2073" y="669"/>
                  </a:cubicBezTo>
                  <a:cubicBezTo>
                    <a:pt x="2073" y="669"/>
                    <a:pt x="2056" y="672"/>
                    <a:pt x="2056" y="681"/>
                  </a:cubicBezTo>
                  <a:cubicBezTo>
                    <a:pt x="2056" y="690"/>
                    <a:pt x="2082" y="691"/>
                    <a:pt x="2082" y="691"/>
                  </a:cubicBezTo>
                  <a:cubicBezTo>
                    <a:pt x="2066" y="697"/>
                    <a:pt x="2066" y="697"/>
                    <a:pt x="2066" y="697"/>
                  </a:cubicBezTo>
                  <a:cubicBezTo>
                    <a:pt x="2067" y="705"/>
                    <a:pt x="2067" y="705"/>
                    <a:pt x="2067" y="705"/>
                  </a:cubicBezTo>
                  <a:cubicBezTo>
                    <a:pt x="2072" y="708"/>
                    <a:pt x="2072" y="708"/>
                    <a:pt x="2072" y="708"/>
                  </a:cubicBezTo>
                  <a:cubicBezTo>
                    <a:pt x="2077" y="729"/>
                    <a:pt x="2077" y="729"/>
                    <a:pt x="2077" y="729"/>
                  </a:cubicBezTo>
                  <a:cubicBezTo>
                    <a:pt x="2067" y="750"/>
                    <a:pt x="2067" y="750"/>
                    <a:pt x="2067" y="750"/>
                  </a:cubicBezTo>
                  <a:cubicBezTo>
                    <a:pt x="2073" y="749"/>
                    <a:pt x="2078" y="748"/>
                    <a:pt x="2081" y="749"/>
                  </a:cubicBezTo>
                  <a:cubicBezTo>
                    <a:pt x="2086" y="752"/>
                    <a:pt x="2120" y="737"/>
                    <a:pt x="2120" y="737"/>
                  </a:cubicBezTo>
                  <a:cubicBezTo>
                    <a:pt x="2120" y="755"/>
                    <a:pt x="2120" y="755"/>
                    <a:pt x="2120" y="755"/>
                  </a:cubicBezTo>
                  <a:cubicBezTo>
                    <a:pt x="2120" y="755"/>
                    <a:pt x="2147" y="788"/>
                    <a:pt x="2159" y="797"/>
                  </a:cubicBezTo>
                  <a:cubicBezTo>
                    <a:pt x="2161" y="798"/>
                    <a:pt x="2162" y="799"/>
                    <a:pt x="2164" y="800"/>
                  </a:cubicBezTo>
                  <a:cubicBezTo>
                    <a:pt x="2166" y="768"/>
                    <a:pt x="2166" y="768"/>
                    <a:pt x="2166" y="768"/>
                  </a:cubicBezTo>
                  <a:cubicBezTo>
                    <a:pt x="2162" y="752"/>
                    <a:pt x="2162" y="752"/>
                    <a:pt x="2162" y="752"/>
                  </a:cubicBezTo>
                  <a:cubicBezTo>
                    <a:pt x="2162" y="752"/>
                    <a:pt x="2166" y="733"/>
                    <a:pt x="2168" y="726"/>
                  </a:cubicBezTo>
                  <a:cubicBezTo>
                    <a:pt x="2170" y="718"/>
                    <a:pt x="2173" y="681"/>
                    <a:pt x="2173" y="681"/>
                  </a:cubicBezTo>
                  <a:cubicBezTo>
                    <a:pt x="2173" y="681"/>
                    <a:pt x="2169" y="683"/>
                    <a:pt x="2158" y="676"/>
                  </a:cubicBezTo>
                  <a:cubicBezTo>
                    <a:pt x="2147" y="670"/>
                    <a:pt x="2174" y="652"/>
                    <a:pt x="2174" y="652"/>
                  </a:cubicBezTo>
                  <a:cubicBezTo>
                    <a:pt x="2174" y="652"/>
                    <a:pt x="2173" y="626"/>
                    <a:pt x="2171" y="611"/>
                  </a:cubicBezTo>
                  <a:cubicBezTo>
                    <a:pt x="2169" y="596"/>
                    <a:pt x="2177" y="574"/>
                    <a:pt x="2177" y="554"/>
                  </a:cubicBezTo>
                  <a:cubicBezTo>
                    <a:pt x="2177" y="538"/>
                    <a:pt x="2179" y="474"/>
                    <a:pt x="2179" y="454"/>
                  </a:cubicBezTo>
                  <a:close/>
                  <a:moveTo>
                    <a:pt x="228" y="446"/>
                  </a:moveTo>
                  <a:cubicBezTo>
                    <a:pt x="220" y="453"/>
                    <a:pt x="238" y="462"/>
                    <a:pt x="238" y="462"/>
                  </a:cubicBezTo>
                  <a:cubicBezTo>
                    <a:pt x="238" y="462"/>
                    <a:pt x="250" y="486"/>
                    <a:pt x="258" y="478"/>
                  </a:cubicBezTo>
                  <a:cubicBezTo>
                    <a:pt x="266" y="470"/>
                    <a:pt x="234" y="442"/>
                    <a:pt x="228" y="446"/>
                  </a:cubicBezTo>
                  <a:close/>
                  <a:moveTo>
                    <a:pt x="1691" y="739"/>
                  </a:moveTo>
                  <a:cubicBezTo>
                    <a:pt x="1701" y="745"/>
                    <a:pt x="1701" y="745"/>
                    <a:pt x="1701" y="745"/>
                  </a:cubicBezTo>
                  <a:cubicBezTo>
                    <a:pt x="1720" y="730"/>
                    <a:pt x="1720" y="730"/>
                    <a:pt x="1720" y="730"/>
                  </a:cubicBezTo>
                  <a:cubicBezTo>
                    <a:pt x="1720" y="730"/>
                    <a:pt x="1742" y="738"/>
                    <a:pt x="1742" y="716"/>
                  </a:cubicBezTo>
                  <a:cubicBezTo>
                    <a:pt x="1742" y="694"/>
                    <a:pt x="1691" y="720"/>
                    <a:pt x="1691" y="739"/>
                  </a:cubicBezTo>
                  <a:close/>
                  <a:moveTo>
                    <a:pt x="2068" y="714"/>
                  </a:moveTo>
                  <a:cubicBezTo>
                    <a:pt x="2067" y="713"/>
                    <a:pt x="2067" y="713"/>
                    <a:pt x="2067" y="713"/>
                  </a:cubicBezTo>
                  <a:cubicBezTo>
                    <a:pt x="2065" y="710"/>
                    <a:pt x="2056" y="702"/>
                    <a:pt x="2037" y="711"/>
                  </a:cubicBezTo>
                  <a:cubicBezTo>
                    <a:pt x="2015" y="721"/>
                    <a:pt x="2011" y="759"/>
                    <a:pt x="2011" y="759"/>
                  </a:cubicBezTo>
                  <a:cubicBezTo>
                    <a:pt x="2053" y="754"/>
                    <a:pt x="2053" y="754"/>
                    <a:pt x="2053" y="754"/>
                  </a:cubicBezTo>
                  <a:cubicBezTo>
                    <a:pt x="2053" y="754"/>
                    <a:pt x="2059" y="752"/>
                    <a:pt x="2066" y="750"/>
                  </a:cubicBezTo>
                  <a:cubicBezTo>
                    <a:pt x="2072" y="728"/>
                    <a:pt x="2072" y="728"/>
                    <a:pt x="2072" y="728"/>
                  </a:cubicBezTo>
                  <a:lnTo>
                    <a:pt x="2068" y="714"/>
                  </a:lnTo>
                  <a:close/>
                  <a:moveTo>
                    <a:pt x="1857" y="631"/>
                  </a:moveTo>
                  <a:cubicBezTo>
                    <a:pt x="1847" y="641"/>
                    <a:pt x="1847" y="641"/>
                    <a:pt x="1847" y="641"/>
                  </a:cubicBezTo>
                  <a:cubicBezTo>
                    <a:pt x="1849" y="676"/>
                    <a:pt x="1849" y="676"/>
                    <a:pt x="1849" y="676"/>
                  </a:cubicBezTo>
                  <a:cubicBezTo>
                    <a:pt x="1860" y="679"/>
                    <a:pt x="1860" y="679"/>
                    <a:pt x="1860" y="679"/>
                  </a:cubicBezTo>
                  <a:cubicBezTo>
                    <a:pt x="1859" y="666"/>
                    <a:pt x="1859" y="666"/>
                    <a:pt x="1859" y="666"/>
                  </a:cubicBezTo>
                  <a:cubicBezTo>
                    <a:pt x="1866" y="663"/>
                    <a:pt x="1866" y="663"/>
                    <a:pt x="1866" y="663"/>
                  </a:cubicBezTo>
                  <a:cubicBezTo>
                    <a:pt x="1865" y="648"/>
                    <a:pt x="1865" y="648"/>
                    <a:pt x="1865" y="648"/>
                  </a:cubicBezTo>
                  <a:cubicBezTo>
                    <a:pt x="1856" y="648"/>
                    <a:pt x="1856" y="648"/>
                    <a:pt x="1856" y="648"/>
                  </a:cubicBezTo>
                  <a:cubicBezTo>
                    <a:pt x="1868" y="628"/>
                    <a:pt x="1868" y="628"/>
                    <a:pt x="1868" y="628"/>
                  </a:cubicBezTo>
                  <a:cubicBezTo>
                    <a:pt x="1881" y="606"/>
                    <a:pt x="1881" y="606"/>
                    <a:pt x="1881" y="606"/>
                  </a:cubicBezTo>
                  <a:cubicBezTo>
                    <a:pt x="1862" y="610"/>
                    <a:pt x="1862" y="610"/>
                    <a:pt x="1862" y="610"/>
                  </a:cubicBezTo>
                  <a:lnTo>
                    <a:pt x="1857" y="631"/>
                  </a:lnTo>
                  <a:close/>
                  <a:moveTo>
                    <a:pt x="1427" y="403"/>
                  </a:moveTo>
                  <a:cubicBezTo>
                    <a:pt x="1427" y="403"/>
                    <a:pt x="1405" y="391"/>
                    <a:pt x="1398" y="394"/>
                  </a:cubicBezTo>
                  <a:cubicBezTo>
                    <a:pt x="1392" y="397"/>
                    <a:pt x="1389" y="406"/>
                    <a:pt x="1389" y="406"/>
                  </a:cubicBezTo>
                  <a:cubicBezTo>
                    <a:pt x="1396" y="420"/>
                    <a:pt x="1427" y="415"/>
                    <a:pt x="1427" y="415"/>
                  </a:cubicBezTo>
                  <a:cubicBezTo>
                    <a:pt x="1480" y="405"/>
                    <a:pt x="1480" y="405"/>
                    <a:pt x="1480" y="405"/>
                  </a:cubicBezTo>
                  <a:lnTo>
                    <a:pt x="1427" y="403"/>
                  </a:lnTo>
                  <a:close/>
                  <a:moveTo>
                    <a:pt x="879" y="696"/>
                  </a:moveTo>
                  <a:cubicBezTo>
                    <a:pt x="917" y="669"/>
                    <a:pt x="917" y="669"/>
                    <a:pt x="917" y="669"/>
                  </a:cubicBezTo>
                  <a:cubicBezTo>
                    <a:pt x="914" y="663"/>
                    <a:pt x="914" y="663"/>
                    <a:pt x="914" y="663"/>
                  </a:cubicBezTo>
                  <a:cubicBezTo>
                    <a:pt x="914" y="663"/>
                    <a:pt x="864" y="667"/>
                    <a:pt x="863" y="677"/>
                  </a:cubicBezTo>
                  <a:cubicBezTo>
                    <a:pt x="858" y="702"/>
                    <a:pt x="879" y="696"/>
                    <a:pt x="879" y="696"/>
                  </a:cubicBezTo>
                  <a:close/>
                  <a:moveTo>
                    <a:pt x="959" y="747"/>
                  </a:moveTo>
                  <a:cubicBezTo>
                    <a:pt x="949" y="747"/>
                    <a:pt x="933" y="747"/>
                    <a:pt x="933" y="747"/>
                  </a:cubicBezTo>
                  <a:cubicBezTo>
                    <a:pt x="930" y="766"/>
                    <a:pt x="930" y="766"/>
                    <a:pt x="930" y="766"/>
                  </a:cubicBezTo>
                  <a:cubicBezTo>
                    <a:pt x="930" y="766"/>
                    <a:pt x="940" y="794"/>
                    <a:pt x="953" y="783"/>
                  </a:cubicBezTo>
                  <a:cubicBezTo>
                    <a:pt x="966" y="773"/>
                    <a:pt x="969" y="747"/>
                    <a:pt x="959" y="747"/>
                  </a:cubicBezTo>
                  <a:close/>
                  <a:moveTo>
                    <a:pt x="475" y="622"/>
                  </a:moveTo>
                  <a:cubicBezTo>
                    <a:pt x="480" y="617"/>
                    <a:pt x="480" y="602"/>
                    <a:pt x="480" y="602"/>
                  </a:cubicBezTo>
                  <a:cubicBezTo>
                    <a:pt x="499" y="620"/>
                    <a:pt x="499" y="620"/>
                    <a:pt x="499" y="620"/>
                  </a:cubicBezTo>
                  <a:cubicBezTo>
                    <a:pt x="499" y="620"/>
                    <a:pt x="507" y="597"/>
                    <a:pt x="507" y="581"/>
                  </a:cubicBezTo>
                  <a:cubicBezTo>
                    <a:pt x="507" y="565"/>
                    <a:pt x="516" y="521"/>
                    <a:pt x="516" y="521"/>
                  </a:cubicBezTo>
                  <a:cubicBezTo>
                    <a:pt x="516" y="521"/>
                    <a:pt x="507" y="516"/>
                    <a:pt x="507" y="506"/>
                  </a:cubicBezTo>
                  <a:cubicBezTo>
                    <a:pt x="507" y="497"/>
                    <a:pt x="526" y="482"/>
                    <a:pt x="520" y="477"/>
                  </a:cubicBezTo>
                  <a:cubicBezTo>
                    <a:pt x="515" y="472"/>
                    <a:pt x="510" y="468"/>
                    <a:pt x="510" y="468"/>
                  </a:cubicBezTo>
                  <a:cubicBezTo>
                    <a:pt x="502" y="437"/>
                    <a:pt x="502" y="437"/>
                    <a:pt x="502" y="437"/>
                  </a:cubicBezTo>
                  <a:cubicBezTo>
                    <a:pt x="474" y="438"/>
                    <a:pt x="474" y="438"/>
                    <a:pt x="474" y="438"/>
                  </a:cubicBezTo>
                  <a:cubicBezTo>
                    <a:pt x="474" y="438"/>
                    <a:pt x="478" y="420"/>
                    <a:pt x="471" y="416"/>
                  </a:cubicBezTo>
                  <a:cubicBezTo>
                    <a:pt x="464" y="412"/>
                    <a:pt x="450" y="413"/>
                    <a:pt x="450" y="413"/>
                  </a:cubicBezTo>
                  <a:cubicBezTo>
                    <a:pt x="444" y="366"/>
                    <a:pt x="444" y="366"/>
                    <a:pt x="444" y="366"/>
                  </a:cubicBezTo>
                  <a:cubicBezTo>
                    <a:pt x="444" y="366"/>
                    <a:pt x="402" y="370"/>
                    <a:pt x="399" y="357"/>
                  </a:cubicBezTo>
                  <a:cubicBezTo>
                    <a:pt x="396" y="344"/>
                    <a:pt x="410" y="328"/>
                    <a:pt x="410" y="328"/>
                  </a:cubicBezTo>
                  <a:cubicBezTo>
                    <a:pt x="394" y="326"/>
                    <a:pt x="394" y="326"/>
                    <a:pt x="394" y="326"/>
                  </a:cubicBezTo>
                  <a:cubicBezTo>
                    <a:pt x="394" y="326"/>
                    <a:pt x="419" y="297"/>
                    <a:pt x="410" y="289"/>
                  </a:cubicBezTo>
                  <a:cubicBezTo>
                    <a:pt x="400" y="281"/>
                    <a:pt x="358" y="300"/>
                    <a:pt x="358" y="300"/>
                  </a:cubicBezTo>
                  <a:cubicBezTo>
                    <a:pt x="358" y="300"/>
                    <a:pt x="383" y="276"/>
                    <a:pt x="375" y="272"/>
                  </a:cubicBezTo>
                  <a:cubicBezTo>
                    <a:pt x="367" y="268"/>
                    <a:pt x="343" y="264"/>
                    <a:pt x="343" y="264"/>
                  </a:cubicBezTo>
                  <a:cubicBezTo>
                    <a:pt x="343" y="264"/>
                    <a:pt x="354" y="256"/>
                    <a:pt x="340" y="238"/>
                  </a:cubicBezTo>
                  <a:cubicBezTo>
                    <a:pt x="327" y="221"/>
                    <a:pt x="304" y="220"/>
                    <a:pt x="304" y="220"/>
                  </a:cubicBezTo>
                  <a:cubicBezTo>
                    <a:pt x="304" y="220"/>
                    <a:pt x="298" y="200"/>
                    <a:pt x="291" y="192"/>
                  </a:cubicBezTo>
                  <a:cubicBezTo>
                    <a:pt x="284" y="184"/>
                    <a:pt x="275" y="190"/>
                    <a:pt x="275" y="190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279" y="205"/>
                    <a:pt x="254" y="186"/>
                    <a:pt x="248" y="180"/>
                  </a:cubicBezTo>
                  <a:cubicBezTo>
                    <a:pt x="243" y="173"/>
                    <a:pt x="232" y="146"/>
                    <a:pt x="232" y="146"/>
                  </a:cubicBezTo>
                  <a:cubicBezTo>
                    <a:pt x="232" y="146"/>
                    <a:pt x="202" y="125"/>
                    <a:pt x="188" y="113"/>
                  </a:cubicBezTo>
                  <a:cubicBezTo>
                    <a:pt x="175" y="101"/>
                    <a:pt x="152" y="82"/>
                    <a:pt x="152" y="82"/>
                  </a:cubicBezTo>
                  <a:cubicBezTo>
                    <a:pt x="152" y="82"/>
                    <a:pt x="156" y="77"/>
                    <a:pt x="151" y="72"/>
                  </a:cubicBezTo>
                  <a:cubicBezTo>
                    <a:pt x="146" y="66"/>
                    <a:pt x="139" y="60"/>
                    <a:pt x="139" y="60"/>
                  </a:cubicBezTo>
                  <a:cubicBezTo>
                    <a:pt x="139" y="60"/>
                    <a:pt x="128" y="41"/>
                    <a:pt x="120" y="34"/>
                  </a:cubicBezTo>
                  <a:cubicBezTo>
                    <a:pt x="112" y="28"/>
                    <a:pt x="104" y="29"/>
                    <a:pt x="104" y="29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27" y="0"/>
                    <a:pt x="16" y="2"/>
                  </a:cubicBezTo>
                  <a:cubicBezTo>
                    <a:pt x="6" y="5"/>
                    <a:pt x="0" y="29"/>
                    <a:pt x="7" y="41"/>
                  </a:cubicBezTo>
                  <a:cubicBezTo>
                    <a:pt x="14" y="53"/>
                    <a:pt x="88" y="121"/>
                    <a:pt x="88" y="121"/>
                  </a:cubicBezTo>
                  <a:cubicBezTo>
                    <a:pt x="111" y="157"/>
                    <a:pt x="111" y="157"/>
                    <a:pt x="111" y="157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22" y="178"/>
                    <a:pt x="128" y="184"/>
                  </a:cubicBezTo>
                  <a:cubicBezTo>
                    <a:pt x="135" y="189"/>
                    <a:pt x="170" y="202"/>
                    <a:pt x="178" y="218"/>
                  </a:cubicBezTo>
                  <a:cubicBezTo>
                    <a:pt x="186" y="234"/>
                    <a:pt x="194" y="266"/>
                    <a:pt x="194" y="266"/>
                  </a:cubicBezTo>
                  <a:cubicBezTo>
                    <a:pt x="194" y="266"/>
                    <a:pt x="191" y="301"/>
                    <a:pt x="199" y="301"/>
                  </a:cubicBezTo>
                  <a:cubicBezTo>
                    <a:pt x="207" y="301"/>
                    <a:pt x="219" y="293"/>
                    <a:pt x="222" y="302"/>
                  </a:cubicBezTo>
                  <a:cubicBezTo>
                    <a:pt x="224" y="312"/>
                    <a:pt x="230" y="328"/>
                    <a:pt x="230" y="328"/>
                  </a:cubicBezTo>
                  <a:cubicBezTo>
                    <a:pt x="255" y="349"/>
                    <a:pt x="255" y="349"/>
                    <a:pt x="255" y="349"/>
                  </a:cubicBezTo>
                  <a:cubicBezTo>
                    <a:pt x="254" y="365"/>
                    <a:pt x="254" y="365"/>
                    <a:pt x="254" y="365"/>
                  </a:cubicBezTo>
                  <a:cubicBezTo>
                    <a:pt x="275" y="408"/>
                    <a:pt x="275" y="408"/>
                    <a:pt x="275" y="408"/>
                  </a:cubicBezTo>
                  <a:cubicBezTo>
                    <a:pt x="275" y="408"/>
                    <a:pt x="268" y="421"/>
                    <a:pt x="278" y="436"/>
                  </a:cubicBezTo>
                  <a:cubicBezTo>
                    <a:pt x="287" y="450"/>
                    <a:pt x="296" y="453"/>
                    <a:pt x="296" y="453"/>
                  </a:cubicBezTo>
                  <a:cubicBezTo>
                    <a:pt x="296" y="453"/>
                    <a:pt x="306" y="477"/>
                    <a:pt x="314" y="485"/>
                  </a:cubicBezTo>
                  <a:cubicBezTo>
                    <a:pt x="322" y="493"/>
                    <a:pt x="343" y="501"/>
                    <a:pt x="343" y="501"/>
                  </a:cubicBezTo>
                  <a:cubicBezTo>
                    <a:pt x="343" y="526"/>
                    <a:pt x="343" y="526"/>
                    <a:pt x="343" y="526"/>
                  </a:cubicBezTo>
                  <a:cubicBezTo>
                    <a:pt x="343" y="526"/>
                    <a:pt x="392" y="568"/>
                    <a:pt x="395" y="572"/>
                  </a:cubicBezTo>
                  <a:cubicBezTo>
                    <a:pt x="398" y="576"/>
                    <a:pt x="411" y="577"/>
                    <a:pt x="411" y="577"/>
                  </a:cubicBezTo>
                  <a:cubicBezTo>
                    <a:pt x="411" y="577"/>
                    <a:pt x="422" y="602"/>
                    <a:pt x="430" y="606"/>
                  </a:cubicBezTo>
                  <a:cubicBezTo>
                    <a:pt x="438" y="610"/>
                    <a:pt x="440" y="632"/>
                    <a:pt x="444" y="630"/>
                  </a:cubicBezTo>
                  <a:cubicBezTo>
                    <a:pt x="448" y="629"/>
                    <a:pt x="442" y="608"/>
                    <a:pt x="447" y="605"/>
                  </a:cubicBezTo>
                  <a:cubicBezTo>
                    <a:pt x="452" y="602"/>
                    <a:pt x="470" y="628"/>
                    <a:pt x="475" y="622"/>
                  </a:cubicBezTo>
                  <a:close/>
                  <a:moveTo>
                    <a:pt x="1416" y="798"/>
                  </a:moveTo>
                  <a:cubicBezTo>
                    <a:pt x="1409" y="784"/>
                    <a:pt x="1409" y="784"/>
                    <a:pt x="1409" y="784"/>
                  </a:cubicBezTo>
                  <a:cubicBezTo>
                    <a:pt x="1404" y="785"/>
                    <a:pt x="1397" y="786"/>
                    <a:pt x="1392" y="790"/>
                  </a:cubicBezTo>
                  <a:cubicBezTo>
                    <a:pt x="1380" y="797"/>
                    <a:pt x="1380" y="812"/>
                    <a:pt x="1380" y="812"/>
                  </a:cubicBezTo>
                  <a:cubicBezTo>
                    <a:pt x="1380" y="812"/>
                    <a:pt x="1369" y="809"/>
                    <a:pt x="1357" y="820"/>
                  </a:cubicBezTo>
                  <a:cubicBezTo>
                    <a:pt x="1345" y="832"/>
                    <a:pt x="1322" y="855"/>
                    <a:pt x="1342" y="870"/>
                  </a:cubicBezTo>
                  <a:cubicBezTo>
                    <a:pt x="1353" y="879"/>
                    <a:pt x="1393" y="842"/>
                    <a:pt x="1408" y="828"/>
                  </a:cubicBezTo>
                  <a:cubicBezTo>
                    <a:pt x="1405" y="827"/>
                    <a:pt x="1402" y="823"/>
                    <a:pt x="1406" y="817"/>
                  </a:cubicBezTo>
                  <a:cubicBezTo>
                    <a:pt x="1412" y="805"/>
                    <a:pt x="1416" y="798"/>
                    <a:pt x="1416" y="798"/>
                  </a:cubicBezTo>
                  <a:close/>
                  <a:moveTo>
                    <a:pt x="921" y="753"/>
                  </a:moveTo>
                  <a:cubicBezTo>
                    <a:pt x="921" y="734"/>
                    <a:pt x="894" y="734"/>
                    <a:pt x="879" y="731"/>
                  </a:cubicBezTo>
                  <a:cubicBezTo>
                    <a:pt x="865" y="728"/>
                    <a:pt x="866" y="759"/>
                    <a:pt x="866" y="759"/>
                  </a:cubicBezTo>
                  <a:cubicBezTo>
                    <a:pt x="841" y="740"/>
                    <a:pt x="841" y="740"/>
                    <a:pt x="841" y="740"/>
                  </a:cubicBezTo>
                  <a:cubicBezTo>
                    <a:pt x="841" y="740"/>
                    <a:pt x="847" y="724"/>
                    <a:pt x="847" y="700"/>
                  </a:cubicBezTo>
                  <a:cubicBezTo>
                    <a:pt x="847" y="677"/>
                    <a:pt x="799" y="686"/>
                    <a:pt x="799" y="686"/>
                  </a:cubicBezTo>
                  <a:cubicBezTo>
                    <a:pt x="778" y="674"/>
                    <a:pt x="778" y="674"/>
                    <a:pt x="778" y="674"/>
                  </a:cubicBezTo>
                  <a:cubicBezTo>
                    <a:pt x="775" y="659"/>
                    <a:pt x="775" y="659"/>
                    <a:pt x="775" y="659"/>
                  </a:cubicBezTo>
                  <a:cubicBezTo>
                    <a:pt x="749" y="659"/>
                    <a:pt x="749" y="659"/>
                    <a:pt x="749" y="659"/>
                  </a:cubicBezTo>
                  <a:cubicBezTo>
                    <a:pt x="749" y="659"/>
                    <a:pt x="744" y="680"/>
                    <a:pt x="744" y="684"/>
                  </a:cubicBezTo>
                  <a:cubicBezTo>
                    <a:pt x="744" y="688"/>
                    <a:pt x="709" y="677"/>
                    <a:pt x="693" y="674"/>
                  </a:cubicBezTo>
                  <a:cubicBezTo>
                    <a:pt x="677" y="671"/>
                    <a:pt x="648" y="672"/>
                    <a:pt x="648" y="672"/>
                  </a:cubicBezTo>
                  <a:cubicBezTo>
                    <a:pt x="648" y="672"/>
                    <a:pt x="630" y="650"/>
                    <a:pt x="621" y="640"/>
                  </a:cubicBezTo>
                  <a:cubicBezTo>
                    <a:pt x="612" y="630"/>
                    <a:pt x="598" y="641"/>
                    <a:pt x="598" y="641"/>
                  </a:cubicBezTo>
                  <a:cubicBezTo>
                    <a:pt x="598" y="641"/>
                    <a:pt x="573" y="628"/>
                    <a:pt x="567" y="627"/>
                  </a:cubicBezTo>
                  <a:cubicBezTo>
                    <a:pt x="561" y="625"/>
                    <a:pt x="535" y="624"/>
                    <a:pt x="535" y="624"/>
                  </a:cubicBezTo>
                  <a:cubicBezTo>
                    <a:pt x="535" y="624"/>
                    <a:pt x="524" y="615"/>
                    <a:pt x="511" y="619"/>
                  </a:cubicBezTo>
                  <a:cubicBezTo>
                    <a:pt x="498" y="624"/>
                    <a:pt x="498" y="652"/>
                    <a:pt x="491" y="656"/>
                  </a:cubicBezTo>
                  <a:cubicBezTo>
                    <a:pt x="483" y="661"/>
                    <a:pt x="469" y="666"/>
                    <a:pt x="472" y="677"/>
                  </a:cubicBezTo>
                  <a:cubicBezTo>
                    <a:pt x="496" y="672"/>
                    <a:pt x="496" y="672"/>
                    <a:pt x="496" y="672"/>
                  </a:cubicBezTo>
                  <a:cubicBezTo>
                    <a:pt x="527" y="675"/>
                    <a:pt x="527" y="675"/>
                    <a:pt x="527" y="675"/>
                  </a:cubicBezTo>
                  <a:cubicBezTo>
                    <a:pt x="527" y="675"/>
                    <a:pt x="504" y="688"/>
                    <a:pt x="514" y="699"/>
                  </a:cubicBezTo>
                  <a:cubicBezTo>
                    <a:pt x="524" y="709"/>
                    <a:pt x="558" y="691"/>
                    <a:pt x="558" y="691"/>
                  </a:cubicBezTo>
                  <a:cubicBezTo>
                    <a:pt x="558" y="691"/>
                    <a:pt x="608" y="718"/>
                    <a:pt x="623" y="722"/>
                  </a:cubicBezTo>
                  <a:cubicBezTo>
                    <a:pt x="637" y="727"/>
                    <a:pt x="687" y="728"/>
                    <a:pt x="705" y="728"/>
                  </a:cubicBezTo>
                  <a:cubicBezTo>
                    <a:pt x="722" y="728"/>
                    <a:pt x="727" y="747"/>
                    <a:pt x="737" y="756"/>
                  </a:cubicBezTo>
                  <a:cubicBezTo>
                    <a:pt x="747" y="765"/>
                    <a:pt x="780" y="771"/>
                    <a:pt x="794" y="772"/>
                  </a:cubicBezTo>
                  <a:cubicBezTo>
                    <a:pt x="809" y="774"/>
                    <a:pt x="815" y="771"/>
                    <a:pt x="837" y="772"/>
                  </a:cubicBezTo>
                  <a:cubicBezTo>
                    <a:pt x="859" y="774"/>
                    <a:pt x="877" y="801"/>
                    <a:pt x="885" y="806"/>
                  </a:cubicBezTo>
                  <a:cubicBezTo>
                    <a:pt x="894" y="810"/>
                    <a:pt x="904" y="801"/>
                    <a:pt x="904" y="801"/>
                  </a:cubicBezTo>
                  <a:cubicBezTo>
                    <a:pt x="904" y="801"/>
                    <a:pt x="921" y="810"/>
                    <a:pt x="921" y="804"/>
                  </a:cubicBezTo>
                  <a:cubicBezTo>
                    <a:pt x="921" y="793"/>
                    <a:pt x="910" y="778"/>
                    <a:pt x="910" y="778"/>
                  </a:cubicBezTo>
                  <a:cubicBezTo>
                    <a:pt x="910" y="778"/>
                    <a:pt x="921" y="772"/>
                    <a:pt x="921" y="753"/>
                  </a:cubicBezTo>
                  <a:close/>
                  <a:moveTo>
                    <a:pt x="1004" y="484"/>
                  </a:moveTo>
                  <a:cubicBezTo>
                    <a:pt x="1004" y="484"/>
                    <a:pt x="1025" y="467"/>
                    <a:pt x="1031" y="460"/>
                  </a:cubicBezTo>
                  <a:cubicBezTo>
                    <a:pt x="1036" y="453"/>
                    <a:pt x="1055" y="403"/>
                    <a:pt x="1055" y="403"/>
                  </a:cubicBezTo>
                  <a:cubicBezTo>
                    <a:pt x="1055" y="403"/>
                    <a:pt x="1037" y="401"/>
                    <a:pt x="1034" y="388"/>
                  </a:cubicBezTo>
                  <a:cubicBezTo>
                    <a:pt x="1031" y="376"/>
                    <a:pt x="1037" y="361"/>
                    <a:pt x="1042" y="348"/>
                  </a:cubicBezTo>
                  <a:cubicBezTo>
                    <a:pt x="1048" y="334"/>
                    <a:pt x="1070" y="336"/>
                    <a:pt x="1083" y="334"/>
                  </a:cubicBezTo>
                  <a:cubicBezTo>
                    <a:pt x="1095" y="333"/>
                    <a:pt x="1102" y="309"/>
                    <a:pt x="1101" y="301"/>
                  </a:cubicBezTo>
                  <a:cubicBezTo>
                    <a:pt x="1099" y="293"/>
                    <a:pt x="1079" y="301"/>
                    <a:pt x="1079" y="301"/>
                  </a:cubicBezTo>
                  <a:cubicBezTo>
                    <a:pt x="1079" y="301"/>
                    <a:pt x="1076" y="288"/>
                    <a:pt x="1088" y="275"/>
                  </a:cubicBezTo>
                  <a:cubicBezTo>
                    <a:pt x="1101" y="264"/>
                    <a:pt x="1128" y="269"/>
                    <a:pt x="1139" y="271"/>
                  </a:cubicBezTo>
                  <a:cubicBezTo>
                    <a:pt x="1150" y="274"/>
                    <a:pt x="1150" y="257"/>
                    <a:pt x="1150" y="257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24" y="208"/>
                    <a:pt x="1124" y="208"/>
                    <a:pt x="1124" y="208"/>
                  </a:cubicBezTo>
                  <a:cubicBezTo>
                    <a:pt x="1124" y="208"/>
                    <a:pt x="1105" y="207"/>
                    <a:pt x="1105" y="199"/>
                  </a:cubicBezTo>
                  <a:cubicBezTo>
                    <a:pt x="1105" y="191"/>
                    <a:pt x="1117" y="179"/>
                    <a:pt x="1116" y="168"/>
                  </a:cubicBezTo>
                  <a:cubicBezTo>
                    <a:pt x="1115" y="156"/>
                    <a:pt x="1082" y="153"/>
                    <a:pt x="1082" y="153"/>
                  </a:cubicBezTo>
                  <a:cubicBezTo>
                    <a:pt x="1093" y="135"/>
                    <a:pt x="1093" y="135"/>
                    <a:pt x="1093" y="135"/>
                  </a:cubicBezTo>
                  <a:cubicBezTo>
                    <a:pt x="1082" y="130"/>
                    <a:pt x="1082" y="130"/>
                    <a:pt x="1082" y="130"/>
                  </a:cubicBezTo>
                  <a:cubicBezTo>
                    <a:pt x="1086" y="110"/>
                    <a:pt x="1086" y="110"/>
                    <a:pt x="1086" y="110"/>
                  </a:cubicBezTo>
                  <a:cubicBezTo>
                    <a:pt x="1078" y="99"/>
                    <a:pt x="1078" y="99"/>
                    <a:pt x="1078" y="99"/>
                  </a:cubicBezTo>
                  <a:cubicBezTo>
                    <a:pt x="1070" y="92"/>
                    <a:pt x="1051" y="75"/>
                    <a:pt x="1047" y="75"/>
                  </a:cubicBezTo>
                  <a:cubicBezTo>
                    <a:pt x="1043" y="74"/>
                    <a:pt x="1002" y="73"/>
                    <a:pt x="987" y="74"/>
                  </a:cubicBezTo>
                  <a:cubicBezTo>
                    <a:pt x="973" y="75"/>
                    <a:pt x="980" y="97"/>
                    <a:pt x="978" y="113"/>
                  </a:cubicBezTo>
                  <a:cubicBezTo>
                    <a:pt x="977" y="129"/>
                    <a:pt x="968" y="144"/>
                    <a:pt x="968" y="144"/>
                  </a:cubicBezTo>
                  <a:cubicBezTo>
                    <a:pt x="968" y="144"/>
                    <a:pt x="961" y="143"/>
                    <a:pt x="955" y="152"/>
                  </a:cubicBezTo>
                  <a:cubicBezTo>
                    <a:pt x="948" y="161"/>
                    <a:pt x="960" y="177"/>
                    <a:pt x="960" y="177"/>
                  </a:cubicBezTo>
                  <a:cubicBezTo>
                    <a:pt x="938" y="196"/>
                    <a:pt x="938" y="196"/>
                    <a:pt x="938" y="196"/>
                  </a:cubicBezTo>
                  <a:cubicBezTo>
                    <a:pt x="939" y="208"/>
                    <a:pt x="939" y="208"/>
                    <a:pt x="939" y="208"/>
                  </a:cubicBezTo>
                  <a:cubicBezTo>
                    <a:pt x="922" y="231"/>
                    <a:pt x="922" y="231"/>
                    <a:pt x="922" y="231"/>
                  </a:cubicBezTo>
                  <a:cubicBezTo>
                    <a:pt x="906" y="231"/>
                    <a:pt x="906" y="231"/>
                    <a:pt x="906" y="231"/>
                  </a:cubicBezTo>
                  <a:cubicBezTo>
                    <a:pt x="906" y="231"/>
                    <a:pt x="888" y="244"/>
                    <a:pt x="885" y="244"/>
                  </a:cubicBezTo>
                  <a:cubicBezTo>
                    <a:pt x="882" y="245"/>
                    <a:pt x="857" y="229"/>
                    <a:pt x="853" y="227"/>
                  </a:cubicBezTo>
                  <a:cubicBezTo>
                    <a:pt x="849" y="224"/>
                    <a:pt x="824" y="227"/>
                    <a:pt x="824" y="227"/>
                  </a:cubicBezTo>
                  <a:cubicBezTo>
                    <a:pt x="824" y="227"/>
                    <a:pt x="811" y="248"/>
                    <a:pt x="801" y="254"/>
                  </a:cubicBezTo>
                  <a:cubicBezTo>
                    <a:pt x="791" y="260"/>
                    <a:pt x="778" y="251"/>
                    <a:pt x="764" y="251"/>
                  </a:cubicBezTo>
                  <a:cubicBezTo>
                    <a:pt x="749" y="251"/>
                    <a:pt x="750" y="259"/>
                    <a:pt x="746" y="261"/>
                  </a:cubicBezTo>
                  <a:cubicBezTo>
                    <a:pt x="742" y="264"/>
                    <a:pt x="720" y="256"/>
                    <a:pt x="712" y="247"/>
                  </a:cubicBezTo>
                  <a:cubicBezTo>
                    <a:pt x="708" y="243"/>
                    <a:pt x="706" y="237"/>
                    <a:pt x="703" y="231"/>
                  </a:cubicBezTo>
                  <a:cubicBezTo>
                    <a:pt x="703" y="231"/>
                    <a:pt x="703" y="231"/>
                    <a:pt x="703" y="231"/>
                  </a:cubicBezTo>
                  <a:cubicBezTo>
                    <a:pt x="703" y="231"/>
                    <a:pt x="684" y="213"/>
                    <a:pt x="671" y="227"/>
                  </a:cubicBezTo>
                  <a:cubicBezTo>
                    <a:pt x="657" y="242"/>
                    <a:pt x="650" y="278"/>
                    <a:pt x="650" y="278"/>
                  </a:cubicBezTo>
                  <a:cubicBezTo>
                    <a:pt x="666" y="300"/>
                    <a:pt x="666" y="300"/>
                    <a:pt x="666" y="300"/>
                  </a:cubicBezTo>
                  <a:cubicBezTo>
                    <a:pt x="673" y="335"/>
                    <a:pt x="673" y="335"/>
                    <a:pt x="673" y="335"/>
                  </a:cubicBezTo>
                  <a:cubicBezTo>
                    <a:pt x="704" y="353"/>
                    <a:pt x="704" y="353"/>
                    <a:pt x="704" y="353"/>
                  </a:cubicBezTo>
                  <a:cubicBezTo>
                    <a:pt x="699" y="377"/>
                    <a:pt x="699" y="377"/>
                    <a:pt x="699" y="377"/>
                  </a:cubicBezTo>
                  <a:cubicBezTo>
                    <a:pt x="716" y="388"/>
                    <a:pt x="716" y="388"/>
                    <a:pt x="716" y="388"/>
                  </a:cubicBezTo>
                  <a:cubicBezTo>
                    <a:pt x="705" y="407"/>
                    <a:pt x="705" y="407"/>
                    <a:pt x="705" y="407"/>
                  </a:cubicBezTo>
                  <a:cubicBezTo>
                    <a:pt x="718" y="425"/>
                    <a:pt x="718" y="425"/>
                    <a:pt x="718" y="425"/>
                  </a:cubicBezTo>
                  <a:cubicBezTo>
                    <a:pt x="707" y="432"/>
                    <a:pt x="707" y="432"/>
                    <a:pt x="707" y="432"/>
                  </a:cubicBezTo>
                  <a:cubicBezTo>
                    <a:pt x="717" y="470"/>
                    <a:pt x="717" y="470"/>
                    <a:pt x="717" y="470"/>
                  </a:cubicBezTo>
                  <a:cubicBezTo>
                    <a:pt x="745" y="466"/>
                    <a:pt x="745" y="466"/>
                    <a:pt x="745" y="466"/>
                  </a:cubicBezTo>
                  <a:cubicBezTo>
                    <a:pt x="765" y="473"/>
                    <a:pt x="765" y="473"/>
                    <a:pt x="765" y="473"/>
                  </a:cubicBezTo>
                  <a:cubicBezTo>
                    <a:pt x="765" y="473"/>
                    <a:pt x="777" y="451"/>
                    <a:pt x="789" y="451"/>
                  </a:cubicBezTo>
                  <a:cubicBezTo>
                    <a:pt x="801" y="451"/>
                    <a:pt x="789" y="483"/>
                    <a:pt x="801" y="493"/>
                  </a:cubicBezTo>
                  <a:cubicBezTo>
                    <a:pt x="812" y="502"/>
                    <a:pt x="822" y="472"/>
                    <a:pt x="822" y="472"/>
                  </a:cubicBezTo>
                  <a:cubicBezTo>
                    <a:pt x="840" y="484"/>
                    <a:pt x="840" y="484"/>
                    <a:pt x="840" y="484"/>
                  </a:cubicBezTo>
                  <a:cubicBezTo>
                    <a:pt x="840" y="484"/>
                    <a:pt x="856" y="470"/>
                    <a:pt x="865" y="470"/>
                  </a:cubicBezTo>
                  <a:cubicBezTo>
                    <a:pt x="874" y="469"/>
                    <a:pt x="868" y="495"/>
                    <a:pt x="878" y="498"/>
                  </a:cubicBezTo>
                  <a:cubicBezTo>
                    <a:pt x="888" y="502"/>
                    <a:pt x="919" y="486"/>
                    <a:pt x="935" y="489"/>
                  </a:cubicBezTo>
                  <a:cubicBezTo>
                    <a:pt x="951" y="493"/>
                    <a:pt x="936" y="542"/>
                    <a:pt x="936" y="542"/>
                  </a:cubicBezTo>
                  <a:cubicBezTo>
                    <a:pt x="936" y="542"/>
                    <a:pt x="950" y="538"/>
                    <a:pt x="966" y="531"/>
                  </a:cubicBezTo>
                  <a:cubicBezTo>
                    <a:pt x="982" y="523"/>
                    <a:pt x="1004" y="484"/>
                    <a:pt x="1004" y="484"/>
                  </a:cubicBezTo>
                  <a:close/>
                  <a:moveTo>
                    <a:pt x="990" y="745"/>
                  </a:moveTo>
                  <a:cubicBezTo>
                    <a:pt x="980" y="744"/>
                    <a:pt x="974" y="755"/>
                    <a:pt x="974" y="755"/>
                  </a:cubicBezTo>
                  <a:cubicBezTo>
                    <a:pt x="974" y="755"/>
                    <a:pt x="991" y="770"/>
                    <a:pt x="1002" y="763"/>
                  </a:cubicBezTo>
                  <a:cubicBezTo>
                    <a:pt x="1012" y="755"/>
                    <a:pt x="1000" y="747"/>
                    <a:pt x="990" y="745"/>
                  </a:cubicBezTo>
                  <a:close/>
                  <a:moveTo>
                    <a:pt x="1148" y="822"/>
                  </a:moveTo>
                  <a:cubicBezTo>
                    <a:pt x="1125" y="815"/>
                    <a:pt x="1125" y="815"/>
                    <a:pt x="1125" y="815"/>
                  </a:cubicBezTo>
                  <a:cubicBezTo>
                    <a:pt x="1118" y="821"/>
                    <a:pt x="1119" y="822"/>
                    <a:pt x="1129" y="838"/>
                  </a:cubicBezTo>
                  <a:cubicBezTo>
                    <a:pt x="1140" y="854"/>
                    <a:pt x="1147" y="843"/>
                    <a:pt x="1160" y="843"/>
                  </a:cubicBezTo>
                  <a:cubicBezTo>
                    <a:pt x="1173" y="843"/>
                    <a:pt x="1163" y="852"/>
                    <a:pt x="1173" y="862"/>
                  </a:cubicBezTo>
                  <a:cubicBezTo>
                    <a:pt x="1184" y="872"/>
                    <a:pt x="1204" y="863"/>
                    <a:pt x="1204" y="863"/>
                  </a:cubicBezTo>
                  <a:cubicBezTo>
                    <a:pt x="1204" y="863"/>
                    <a:pt x="1200" y="844"/>
                    <a:pt x="1187" y="827"/>
                  </a:cubicBezTo>
                  <a:cubicBezTo>
                    <a:pt x="1173" y="809"/>
                    <a:pt x="1148" y="822"/>
                    <a:pt x="1148" y="822"/>
                  </a:cubicBezTo>
                  <a:close/>
                  <a:moveTo>
                    <a:pt x="1312" y="751"/>
                  </a:moveTo>
                  <a:cubicBezTo>
                    <a:pt x="1293" y="767"/>
                    <a:pt x="1293" y="767"/>
                    <a:pt x="1293" y="767"/>
                  </a:cubicBezTo>
                  <a:cubicBezTo>
                    <a:pt x="1293" y="767"/>
                    <a:pt x="1282" y="755"/>
                    <a:pt x="1271" y="756"/>
                  </a:cubicBezTo>
                  <a:cubicBezTo>
                    <a:pt x="1261" y="758"/>
                    <a:pt x="1249" y="771"/>
                    <a:pt x="1249" y="771"/>
                  </a:cubicBezTo>
                  <a:cubicBezTo>
                    <a:pt x="1249" y="771"/>
                    <a:pt x="1239" y="745"/>
                    <a:pt x="1221" y="748"/>
                  </a:cubicBezTo>
                  <a:cubicBezTo>
                    <a:pt x="1204" y="751"/>
                    <a:pt x="1182" y="777"/>
                    <a:pt x="1182" y="777"/>
                  </a:cubicBezTo>
                  <a:cubicBezTo>
                    <a:pt x="1158" y="775"/>
                    <a:pt x="1158" y="775"/>
                    <a:pt x="1158" y="775"/>
                  </a:cubicBezTo>
                  <a:cubicBezTo>
                    <a:pt x="1151" y="787"/>
                    <a:pt x="1151" y="787"/>
                    <a:pt x="1151" y="787"/>
                  </a:cubicBezTo>
                  <a:cubicBezTo>
                    <a:pt x="1167" y="784"/>
                    <a:pt x="1167" y="784"/>
                    <a:pt x="1167" y="784"/>
                  </a:cubicBezTo>
                  <a:cubicBezTo>
                    <a:pt x="1167" y="784"/>
                    <a:pt x="1179" y="790"/>
                    <a:pt x="1191" y="795"/>
                  </a:cubicBezTo>
                  <a:cubicBezTo>
                    <a:pt x="1202" y="799"/>
                    <a:pt x="1214" y="781"/>
                    <a:pt x="1214" y="781"/>
                  </a:cubicBezTo>
                  <a:cubicBezTo>
                    <a:pt x="1276" y="780"/>
                    <a:pt x="1276" y="780"/>
                    <a:pt x="1276" y="780"/>
                  </a:cubicBezTo>
                  <a:cubicBezTo>
                    <a:pt x="1308" y="775"/>
                    <a:pt x="1308" y="775"/>
                    <a:pt x="1308" y="775"/>
                  </a:cubicBezTo>
                  <a:cubicBezTo>
                    <a:pt x="1334" y="752"/>
                    <a:pt x="1334" y="752"/>
                    <a:pt x="1334" y="752"/>
                  </a:cubicBezTo>
                  <a:cubicBezTo>
                    <a:pt x="1333" y="742"/>
                    <a:pt x="1333" y="742"/>
                    <a:pt x="1333" y="742"/>
                  </a:cubicBezTo>
                  <a:lnTo>
                    <a:pt x="1312" y="751"/>
                  </a:lnTo>
                  <a:close/>
                  <a:moveTo>
                    <a:pt x="1056" y="774"/>
                  </a:moveTo>
                  <a:cubicBezTo>
                    <a:pt x="1056" y="774"/>
                    <a:pt x="1042" y="759"/>
                    <a:pt x="1034" y="761"/>
                  </a:cubicBezTo>
                  <a:cubicBezTo>
                    <a:pt x="1025" y="762"/>
                    <a:pt x="1006" y="791"/>
                    <a:pt x="1006" y="791"/>
                  </a:cubicBezTo>
                  <a:cubicBezTo>
                    <a:pt x="1041" y="796"/>
                    <a:pt x="1041" y="796"/>
                    <a:pt x="1041" y="796"/>
                  </a:cubicBezTo>
                  <a:cubicBezTo>
                    <a:pt x="1042" y="810"/>
                    <a:pt x="1042" y="810"/>
                    <a:pt x="1042" y="810"/>
                  </a:cubicBezTo>
                  <a:cubicBezTo>
                    <a:pt x="1057" y="808"/>
                    <a:pt x="1057" y="808"/>
                    <a:pt x="1057" y="808"/>
                  </a:cubicBezTo>
                  <a:cubicBezTo>
                    <a:pt x="1063" y="794"/>
                    <a:pt x="1063" y="794"/>
                    <a:pt x="1063" y="794"/>
                  </a:cubicBezTo>
                  <a:cubicBezTo>
                    <a:pt x="1082" y="805"/>
                    <a:pt x="1082" y="805"/>
                    <a:pt x="1082" y="805"/>
                  </a:cubicBezTo>
                  <a:cubicBezTo>
                    <a:pt x="1101" y="783"/>
                    <a:pt x="1101" y="783"/>
                    <a:pt x="1101" y="783"/>
                  </a:cubicBezTo>
                  <a:cubicBezTo>
                    <a:pt x="1067" y="771"/>
                    <a:pt x="1067" y="771"/>
                    <a:pt x="1067" y="771"/>
                  </a:cubicBezTo>
                  <a:lnTo>
                    <a:pt x="1056" y="77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7" name="Freeform 101">
              <a:extLst>
                <a:ext uri="{FF2B5EF4-FFF2-40B4-BE49-F238E27FC236}">
                  <a16:creationId xmlns:a16="http://schemas.microsoft.com/office/drawing/2014/main" id="{A6F997B5-B0CF-6131-17C0-6A58354FF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7930" y="5153545"/>
              <a:ext cx="484736" cy="371936"/>
            </a:xfrm>
            <a:custGeom>
              <a:avLst/>
              <a:gdLst>
                <a:gd name="T0" fmla="*/ 25 w 851"/>
                <a:gd name="T1" fmla="*/ 19 h 656"/>
                <a:gd name="T2" fmla="*/ 25 w 851"/>
                <a:gd name="T3" fmla="*/ 19 h 656"/>
                <a:gd name="T4" fmla="*/ 24 w 851"/>
                <a:gd name="T5" fmla="*/ 18 h 656"/>
                <a:gd name="T6" fmla="*/ 22 w 851"/>
                <a:gd name="T7" fmla="*/ 19 h 656"/>
                <a:gd name="T8" fmla="*/ 19 w 851"/>
                <a:gd name="T9" fmla="*/ 22 h 656"/>
                <a:gd name="T10" fmla="*/ 14 w 851"/>
                <a:gd name="T11" fmla="*/ 25 h 656"/>
                <a:gd name="T12" fmla="*/ 9 w 851"/>
                <a:gd name="T13" fmla="*/ 26 h 656"/>
                <a:gd name="T14" fmla="*/ 6 w 851"/>
                <a:gd name="T15" fmla="*/ 29 h 656"/>
                <a:gd name="T16" fmla="*/ 3 w 851"/>
                <a:gd name="T17" fmla="*/ 30 h 656"/>
                <a:gd name="T18" fmla="*/ 0 w 851"/>
                <a:gd name="T19" fmla="*/ 31 h 656"/>
                <a:gd name="T20" fmla="*/ 0 w 851"/>
                <a:gd name="T21" fmla="*/ 32 h 656"/>
                <a:gd name="T22" fmla="*/ 3 w 851"/>
                <a:gd name="T23" fmla="*/ 32 h 656"/>
                <a:gd name="T24" fmla="*/ 3 w 851"/>
                <a:gd name="T25" fmla="*/ 33 h 656"/>
                <a:gd name="T26" fmla="*/ 5 w 851"/>
                <a:gd name="T27" fmla="*/ 33 h 656"/>
                <a:gd name="T28" fmla="*/ 8 w 851"/>
                <a:gd name="T29" fmla="*/ 33 h 656"/>
                <a:gd name="T30" fmla="*/ 11 w 851"/>
                <a:gd name="T31" fmla="*/ 32 h 656"/>
                <a:gd name="T32" fmla="*/ 14 w 851"/>
                <a:gd name="T33" fmla="*/ 30 h 656"/>
                <a:gd name="T34" fmla="*/ 15 w 851"/>
                <a:gd name="T35" fmla="*/ 29 h 656"/>
                <a:gd name="T36" fmla="*/ 16 w 851"/>
                <a:gd name="T37" fmla="*/ 26 h 656"/>
                <a:gd name="T38" fmla="*/ 18 w 851"/>
                <a:gd name="T39" fmla="*/ 26 h 656"/>
                <a:gd name="T40" fmla="*/ 20 w 851"/>
                <a:gd name="T41" fmla="*/ 26 h 656"/>
                <a:gd name="T42" fmla="*/ 21 w 851"/>
                <a:gd name="T43" fmla="*/ 25 h 656"/>
                <a:gd name="T44" fmla="*/ 22 w 851"/>
                <a:gd name="T45" fmla="*/ 23 h 656"/>
                <a:gd name="T46" fmla="*/ 24 w 851"/>
                <a:gd name="T47" fmla="*/ 22 h 656"/>
                <a:gd name="T48" fmla="*/ 27 w 851"/>
                <a:gd name="T49" fmla="*/ 20 h 656"/>
                <a:gd name="T50" fmla="*/ 26 w 851"/>
                <a:gd name="T51" fmla="*/ 19 h 656"/>
                <a:gd name="T52" fmla="*/ 44 w 851"/>
                <a:gd name="T53" fmla="*/ 10 h 656"/>
                <a:gd name="T54" fmla="*/ 43 w 851"/>
                <a:gd name="T55" fmla="*/ 10 h 656"/>
                <a:gd name="T56" fmla="*/ 40 w 851"/>
                <a:gd name="T57" fmla="*/ 10 h 656"/>
                <a:gd name="T58" fmla="*/ 40 w 851"/>
                <a:gd name="T59" fmla="*/ 6 h 656"/>
                <a:gd name="T60" fmla="*/ 40 w 851"/>
                <a:gd name="T61" fmla="*/ 7 h 656"/>
                <a:gd name="T62" fmla="*/ 39 w 851"/>
                <a:gd name="T63" fmla="*/ 6 h 656"/>
                <a:gd name="T64" fmla="*/ 39 w 851"/>
                <a:gd name="T65" fmla="*/ 3 h 656"/>
                <a:gd name="T66" fmla="*/ 38 w 851"/>
                <a:gd name="T67" fmla="*/ 1 h 656"/>
                <a:gd name="T68" fmla="*/ 36 w 851"/>
                <a:gd name="T69" fmla="*/ 0 h 656"/>
                <a:gd name="T70" fmla="*/ 35 w 851"/>
                <a:gd name="T71" fmla="*/ 0 h 656"/>
                <a:gd name="T72" fmla="*/ 36 w 851"/>
                <a:gd name="T73" fmla="*/ 3 h 656"/>
                <a:gd name="T74" fmla="*/ 36 w 851"/>
                <a:gd name="T75" fmla="*/ 4 h 656"/>
                <a:gd name="T76" fmla="*/ 37 w 851"/>
                <a:gd name="T77" fmla="*/ 4 h 656"/>
                <a:gd name="T78" fmla="*/ 37 w 851"/>
                <a:gd name="T79" fmla="*/ 5 h 656"/>
                <a:gd name="T80" fmla="*/ 37 w 851"/>
                <a:gd name="T81" fmla="*/ 7 h 656"/>
                <a:gd name="T82" fmla="*/ 36 w 851"/>
                <a:gd name="T83" fmla="*/ 7 h 656"/>
                <a:gd name="T84" fmla="*/ 35 w 851"/>
                <a:gd name="T85" fmla="*/ 10 h 656"/>
                <a:gd name="T86" fmla="*/ 34 w 851"/>
                <a:gd name="T87" fmla="*/ 11 h 656"/>
                <a:gd name="T88" fmla="*/ 30 w 851"/>
                <a:gd name="T89" fmla="*/ 13 h 656"/>
                <a:gd name="T90" fmla="*/ 32 w 851"/>
                <a:gd name="T91" fmla="*/ 16 h 656"/>
                <a:gd name="T92" fmla="*/ 30 w 851"/>
                <a:gd name="T93" fmla="*/ 19 h 656"/>
                <a:gd name="T94" fmla="*/ 29 w 851"/>
                <a:gd name="T95" fmla="*/ 20 h 656"/>
                <a:gd name="T96" fmla="*/ 34 w 851"/>
                <a:gd name="T97" fmla="*/ 17 h 656"/>
                <a:gd name="T98" fmla="*/ 36 w 851"/>
                <a:gd name="T99" fmla="*/ 16 h 656"/>
                <a:gd name="T100" fmla="*/ 37 w 851"/>
                <a:gd name="T101" fmla="*/ 14 h 656"/>
                <a:gd name="T102" fmla="*/ 40 w 851"/>
                <a:gd name="T103" fmla="*/ 14 h 656"/>
                <a:gd name="T104" fmla="*/ 42 w 851"/>
                <a:gd name="T105" fmla="*/ 12 h 65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51"/>
                <a:gd name="T160" fmla="*/ 0 h 656"/>
                <a:gd name="T161" fmla="*/ 851 w 851"/>
                <a:gd name="T162" fmla="*/ 656 h 65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51" h="656">
                  <a:moveTo>
                    <a:pt x="498" y="375"/>
                  </a:moveTo>
                  <a:cubicBezTo>
                    <a:pt x="489" y="375"/>
                    <a:pt x="489" y="375"/>
                    <a:pt x="489" y="375"/>
                  </a:cubicBezTo>
                  <a:cubicBezTo>
                    <a:pt x="495" y="350"/>
                    <a:pt x="495" y="350"/>
                    <a:pt x="495" y="350"/>
                  </a:cubicBezTo>
                  <a:cubicBezTo>
                    <a:pt x="477" y="361"/>
                    <a:pt x="477" y="361"/>
                    <a:pt x="477" y="361"/>
                  </a:cubicBezTo>
                  <a:cubicBezTo>
                    <a:pt x="477" y="361"/>
                    <a:pt x="490" y="335"/>
                    <a:pt x="478" y="335"/>
                  </a:cubicBezTo>
                  <a:cubicBezTo>
                    <a:pt x="466" y="334"/>
                    <a:pt x="456" y="351"/>
                    <a:pt x="456" y="351"/>
                  </a:cubicBezTo>
                  <a:cubicBezTo>
                    <a:pt x="445" y="358"/>
                    <a:pt x="445" y="358"/>
                    <a:pt x="445" y="358"/>
                  </a:cubicBezTo>
                  <a:cubicBezTo>
                    <a:pt x="445" y="358"/>
                    <a:pt x="434" y="369"/>
                    <a:pt x="425" y="380"/>
                  </a:cubicBezTo>
                  <a:cubicBezTo>
                    <a:pt x="417" y="391"/>
                    <a:pt x="396" y="393"/>
                    <a:pt x="381" y="403"/>
                  </a:cubicBezTo>
                  <a:cubicBezTo>
                    <a:pt x="366" y="414"/>
                    <a:pt x="360" y="432"/>
                    <a:pt x="360" y="432"/>
                  </a:cubicBezTo>
                  <a:cubicBezTo>
                    <a:pt x="360" y="432"/>
                    <a:pt x="313" y="446"/>
                    <a:pt x="300" y="455"/>
                  </a:cubicBezTo>
                  <a:cubicBezTo>
                    <a:pt x="285" y="464"/>
                    <a:pt x="261" y="484"/>
                    <a:pt x="261" y="484"/>
                  </a:cubicBezTo>
                  <a:cubicBezTo>
                    <a:pt x="261" y="484"/>
                    <a:pt x="234" y="488"/>
                    <a:pt x="217" y="495"/>
                  </a:cubicBezTo>
                  <a:cubicBezTo>
                    <a:pt x="201" y="503"/>
                    <a:pt x="192" y="505"/>
                    <a:pt x="177" y="513"/>
                  </a:cubicBezTo>
                  <a:cubicBezTo>
                    <a:pt x="161" y="522"/>
                    <a:pt x="131" y="533"/>
                    <a:pt x="119" y="539"/>
                  </a:cubicBezTo>
                  <a:cubicBezTo>
                    <a:pt x="106" y="545"/>
                    <a:pt x="112" y="564"/>
                    <a:pt x="112" y="564"/>
                  </a:cubicBezTo>
                  <a:cubicBezTo>
                    <a:pt x="102" y="555"/>
                    <a:pt x="102" y="555"/>
                    <a:pt x="102" y="555"/>
                  </a:cubicBezTo>
                  <a:cubicBezTo>
                    <a:pt x="102" y="555"/>
                    <a:pt x="67" y="577"/>
                    <a:pt x="56" y="583"/>
                  </a:cubicBezTo>
                  <a:cubicBezTo>
                    <a:pt x="44" y="590"/>
                    <a:pt x="39" y="587"/>
                    <a:pt x="23" y="593"/>
                  </a:cubicBezTo>
                  <a:cubicBezTo>
                    <a:pt x="7" y="599"/>
                    <a:pt x="0" y="608"/>
                    <a:pt x="0" y="608"/>
                  </a:cubicBezTo>
                  <a:cubicBezTo>
                    <a:pt x="0" y="608"/>
                    <a:pt x="20" y="607"/>
                    <a:pt x="18" y="611"/>
                  </a:cubicBezTo>
                  <a:cubicBezTo>
                    <a:pt x="16" y="615"/>
                    <a:pt x="8" y="620"/>
                    <a:pt x="12" y="629"/>
                  </a:cubicBezTo>
                  <a:cubicBezTo>
                    <a:pt x="17" y="638"/>
                    <a:pt x="40" y="624"/>
                    <a:pt x="40" y="624"/>
                  </a:cubicBezTo>
                  <a:cubicBezTo>
                    <a:pt x="47" y="631"/>
                    <a:pt x="47" y="631"/>
                    <a:pt x="47" y="631"/>
                  </a:cubicBezTo>
                  <a:cubicBezTo>
                    <a:pt x="63" y="631"/>
                    <a:pt x="63" y="631"/>
                    <a:pt x="63" y="631"/>
                  </a:cubicBezTo>
                  <a:cubicBezTo>
                    <a:pt x="65" y="637"/>
                    <a:pt x="65" y="637"/>
                    <a:pt x="65" y="637"/>
                  </a:cubicBezTo>
                  <a:cubicBezTo>
                    <a:pt x="87" y="634"/>
                    <a:pt x="87" y="634"/>
                    <a:pt x="87" y="634"/>
                  </a:cubicBezTo>
                  <a:cubicBezTo>
                    <a:pt x="96" y="648"/>
                    <a:pt x="96" y="648"/>
                    <a:pt x="96" y="648"/>
                  </a:cubicBezTo>
                  <a:cubicBezTo>
                    <a:pt x="118" y="645"/>
                    <a:pt x="118" y="645"/>
                    <a:pt x="118" y="645"/>
                  </a:cubicBezTo>
                  <a:cubicBezTo>
                    <a:pt x="118" y="645"/>
                    <a:pt x="136" y="656"/>
                    <a:pt x="152" y="653"/>
                  </a:cubicBezTo>
                  <a:cubicBezTo>
                    <a:pt x="167" y="650"/>
                    <a:pt x="172" y="634"/>
                    <a:pt x="182" y="627"/>
                  </a:cubicBezTo>
                  <a:cubicBezTo>
                    <a:pt x="192" y="620"/>
                    <a:pt x="200" y="630"/>
                    <a:pt x="215" y="620"/>
                  </a:cubicBezTo>
                  <a:cubicBezTo>
                    <a:pt x="230" y="610"/>
                    <a:pt x="220" y="597"/>
                    <a:pt x="232" y="586"/>
                  </a:cubicBezTo>
                  <a:cubicBezTo>
                    <a:pt x="243" y="574"/>
                    <a:pt x="257" y="582"/>
                    <a:pt x="265" y="574"/>
                  </a:cubicBezTo>
                  <a:cubicBezTo>
                    <a:pt x="273" y="567"/>
                    <a:pt x="265" y="558"/>
                    <a:pt x="265" y="558"/>
                  </a:cubicBezTo>
                  <a:cubicBezTo>
                    <a:pt x="279" y="557"/>
                    <a:pt x="279" y="557"/>
                    <a:pt x="279" y="557"/>
                  </a:cubicBezTo>
                  <a:cubicBezTo>
                    <a:pt x="318" y="527"/>
                    <a:pt x="318" y="527"/>
                    <a:pt x="318" y="527"/>
                  </a:cubicBezTo>
                  <a:cubicBezTo>
                    <a:pt x="306" y="517"/>
                    <a:pt x="306" y="517"/>
                    <a:pt x="306" y="517"/>
                  </a:cubicBezTo>
                  <a:cubicBezTo>
                    <a:pt x="333" y="527"/>
                    <a:pt x="333" y="527"/>
                    <a:pt x="333" y="527"/>
                  </a:cubicBezTo>
                  <a:cubicBezTo>
                    <a:pt x="333" y="527"/>
                    <a:pt x="334" y="511"/>
                    <a:pt x="343" y="510"/>
                  </a:cubicBezTo>
                  <a:cubicBezTo>
                    <a:pt x="352" y="509"/>
                    <a:pt x="360" y="517"/>
                    <a:pt x="372" y="520"/>
                  </a:cubicBezTo>
                  <a:cubicBezTo>
                    <a:pt x="383" y="522"/>
                    <a:pt x="388" y="503"/>
                    <a:pt x="388" y="503"/>
                  </a:cubicBezTo>
                  <a:cubicBezTo>
                    <a:pt x="378" y="495"/>
                    <a:pt x="378" y="495"/>
                    <a:pt x="378" y="495"/>
                  </a:cubicBezTo>
                  <a:cubicBezTo>
                    <a:pt x="395" y="480"/>
                    <a:pt x="395" y="480"/>
                    <a:pt x="395" y="480"/>
                  </a:cubicBezTo>
                  <a:cubicBezTo>
                    <a:pt x="407" y="466"/>
                    <a:pt x="407" y="466"/>
                    <a:pt x="407" y="466"/>
                  </a:cubicBezTo>
                  <a:cubicBezTo>
                    <a:pt x="407" y="466"/>
                    <a:pt x="418" y="459"/>
                    <a:pt x="430" y="456"/>
                  </a:cubicBezTo>
                  <a:cubicBezTo>
                    <a:pt x="442" y="453"/>
                    <a:pt x="447" y="436"/>
                    <a:pt x="447" y="436"/>
                  </a:cubicBezTo>
                  <a:cubicBezTo>
                    <a:pt x="447" y="436"/>
                    <a:pt x="458" y="434"/>
                    <a:pt x="468" y="430"/>
                  </a:cubicBezTo>
                  <a:cubicBezTo>
                    <a:pt x="479" y="426"/>
                    <a:pt x="488" y="408"/>
                    <a:pt x="488" y="408"/>
                  </a:cubicBezTo>
                  <a:cubicBezTo>
                    <a:pt x="488" y="408"/>
                    <a:pt x="508" y="401"/>
                    <a:pt x="518" y="389"/>
                  </a:cubicBezTo>
                  <a:cubicBezTo>
                    <a:pt x="529" y="376"/>
                    <a:pt x="516" y="353"/>
                    <a:pt x="516" y="353"/>
                  </a:cubicBezTo>
                  <a:lnTo>
                    <a:pt x="498" y="375"/>
                  </a:lnTo>
                  <a:close/>
                  <a:moveTo>
                    <a:pt x="815" y="215"/>
                  </a:moveTo>
                  <a:cubicBezTo>
                    <a:pt x="823" y="210"/>
                    <a:pt x="831" y="213"/>
                    <a:pt x="841" y="205"/>
                  </a:cubicBezTo>
                  <a:cubicBezTo>
                    <a:pt x="851" y="197"/>
                    <a:pt x="847" y="183"/>
                    <a:pt x="839" y="176"/>
                  </a:cubicBezTo>
                  <a:cubicBezTo>
                    <a:pt x="831" y="168"/>
                    <a:pt x="821" y="186"/>
                    <a:pt x="821" y="186"/>
                  </a:cubicBezTo>
                  <a:cubicBezTo>
                    <a:pt x="821" y="186"/>
                    <a:pt x="815" y="186"/>
                    <a:pt x="806" y="184"/>
                  </a:cubicBezTo>
                  <a:cubicBezTo>
                    <a:pt x="798" y="181"/>
                    <a:pt x="780" y="195"/>
                    <a:pt x="768" y="192"/>
                  </a:cubicBezTo>
                  <a:cubicBezTo>
                    <a:pt x="756" y="189"/>
                    <a:pt x="761" y="145"/>
                    <a:pt x="761" y="145"/>
                  </a:cubicBezTo>
                  <a:cubicBezTo>
                    <a:pt x="777" y="120"/>
                    <a:pt x="777" y="120"/>
                    <a:pt x="777" y="120"/>
                  </a:cubicBezTo>
                  <a:cubicBezTo>
                    <a:pt x="777" y="120"/>
                    <a:pt x="777" y="102"/>
                    <a:pt x="767" y="103"/>
                  </a:cubicBezTo>
                  <a:cubicBezTo>
                    <a:pt x="756" y="103"/>
                    <a:pt x="756" y="119"/>
                    <a:pt x="756" y="129"/>
                  </a:cubicBezTo>
                  <a:cubicBezTo>
                    <a:pt x="755" y="138"/>
                    <a:pt x="743" y="146"/>
                    <a:pt x="743" y="146"/>
                  </a:cubicBezTo>
                  <a:cubicBezTo>
                    <a:pt x="740" y="126"/>
                    <a:pt x="740" y="126"/>
                    <a:pt x="740" y="126"/>
                  </a:cubicBezTo>
                  <a:cubicBezTo>
                    <a:pt x="726" y="113"/>
                    <a:pt x="726" y="113"/>
                    <a:pt x="726" y="113"/>
                  </a:cubicBezTo>
                  <a:cubicBezTo>
                    <a:pt x="726" y="113"/>
                    <a:pt x="750" y="82"/>
                    <a:pt x="750" y="62"/>
                  </a:cubicBezTo>
                  <a:cubicBezTo>
                    <a:pt x="751" y="42"/>
                    <a:pt x="717" y="41"/>
                    <a:pt x="717" y="41"/>
                  </a:cubicBezTo>
                  <a:cubicBezTo>
                    <a:pt x="720" y="27"/>
                    <a:pt x="720" y="27"/>
                    <a:pt x="720" y="27"/>
                  </a:cubicBezTo>
                  <a:cubicBezTo>
                    <a:pt x="707" y="25"/>
                    <a:pt x="707" y="25"/>
                    <a:pt x="707" y="25"/>
                  </a:cubicBezTo>
                  <a:cubicBezTo>
                    <a:pt x="692" y="11"/>
                    <a:pt x="692" y="11"/>
                    <a:pt x="692" y="11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79" y="12"/>
                    <a:pt x="679" y="12"/>
                    <a:pt x="679" y="12"/>
                  </a:cubicBezTo>
                  <a:cubicBezTo>
                    <a:pt x="692" y="35"/>
                    <a:pt x="692" y="35"/>
                    <a:pt x="692" y="35"/>
                  </a:cubicBezTo>
                  <a:cubicBezTo>
                    <a:pt x="686" y="60"/>
                    <a:pt x="686" y="60"/>
                    <a:pt x="686" y="60"/>
                  </a:cubicBezTo>
                  <a:cubicBezTo>
                    <a:pt x="701" y="66"/>
                    <a:pt x="701" y="66"/>
                    <a:pt x="701" y="66"/>
                  </a:cubicBezTo>
                  <a:cubicBezTo>
                    <a:pt x="692" y="70"/>
                    <a:pt x="692" y="70"/>
                    <a:pt x="692" y="70"/>
                  </a:cubicBezTo>
                  <a:cubicBezTo>
                    <a:pt x="696" y="84"/>
                    <a:pt x="696" y="84"/>
                    <a:pt x="696" y="84"/>
                  </a:cubicBezTo>
                  <a:cubicBezTo>
                    <a:pt x="712" y="89"/>
                    <a:pt x="712" y="89"/>
                    <a:pt x="712" y="89"/>
                  </a:cubicBezTo>
                  <a:cubicBezTo>
                    <a:pt x="696" y="97"/>
                    <a:pt x="696" y="97"/>
                    <a:pt x="696" y="97"/>
                  </a:cubicBezTo>
                  <a:cubicBezTo>
                    <a:pt x="705" y="102"/>
                    <a:pt x="705" y="102"/>
                    <a:pt x="705" y="102"/>
                  </a:cubicBezTo>
                  <a:cubicBezTo>
                    <a:pt x="705" y="102"/>
                    <a:pt x="702" y="116"/>
                    <a:pt x="702" y="122"/>
                  </a:cubicBezTo>
                  <a:cubicBezTo>
                    <a:pt x="702" y="129"/>
                    <a:pt x="715" y="136"/>
                    <a:pt x="715" y="136"/>
                  </a:cubicBezTo>
                  <a:cubicBezTo>
                    <a:pt x="702" y="138"/>
                    <a:pt x="702" y="138"/>
                    <a:pt x="702" y="138"/>
                  </a:cubicBezTo>
                  <a:cubicBezTo>
                    <a:pt x="694" y="148"/>
                    <a:pt x="694" y="148"/>
                    <a:pt x="694" y="148"/>
                  </a:cubicBezTo>
                  <a:cubicBezTo>
                    <a:pt x="705" y="154"/>
                    <a:pt x="705" y="154"/>
                    <a:pt x="705" y="154"/>
                  </a:cubicBezTo>
                  <a:cubicBezTo>
                    <a:pt x="705" y="154"/>
                    <a:pt x="684" y="174"/>
                    <a:pt x="682" y="185"/>
                  </a:cubicBezTo>
                  <a:cubicBezTo>
                    <a:pt x="681" y="196"/>
                    <a:pt x="691" y="199"/>
                    <a:pt x="691" y="199"/>
                  </a:cubicBezTo>
                  <a:cubicBezTo>
                    <a:pt x="691" y="199"/>
                    <a:pt x="669" y="203"/>
                    <a:pt x="656" y="209"/>
                  </a:cubicBezTo>
                  <a:cubicBezTo>
                    <a:pt x="643" y="214"/>
                    <a:pt x="646" y="217"/>
                    <a:pt x="630" y="229"/>
                  </a:cubicBezTo>
                  <a:cubicBezTo>
                    <a:pt x="613" y="242"/>
                    <a:pt x="599" y="243"/>
                    <a:pt x="578" y="255"/>
                  </a:cubicBezTo>
                  <a:cubicBezTo>
                    <a:pt x="557" y="268"/>
                    <a:pt x="576" y="302"/>
                    <a:pt x="576" y="302"/>
                  </a:cubicBezTo>
                  <a:cubicBezTo>
                    <a:pt x="576" y="302"/>
                    <a:pt x="599" y="300"/>
                    <a:pt x="609" y="302"/>
                  </a:cubicBezTo>
                  <a:cubicBezTo>
                    <a:pt x="619" y="304"/>
                    <a:pt x="609" y="323"/>
                    <a:pt x="609" y="338"/>
                  </a:cubicBezTo>
                  <a:cubicBezTo>
                    <a:pt x="610" y="354"/>
                    <a:pt x="593" y="353"/>
                    <a:pt x="576" y="359"/>
                  </a:cubicBezTo>
                  <a:cubicBezTo>
                    <a:pt x="559" y="365"/>
                    <a:pt x="567" y="370"/>
                    <a:pt x="567" y="370"/>
                  </a:cubicBezTo>
                  <a:cubicBezTo>
                    <a:pt x="557" y="381"/>
                    <a:pt x="557" y="381"/>
                    <a:pt x="557" y="381"/>
                  </a:cubicBezTo>
                  <a:cubicBezTo>
                    <a:pt x="557" y="381"/>
                    <a:pt x="575" y="394"/>
                    <a:pt x="589" y="390"/>
                  </a:cubicBezTo>
                  <a:cubicBezTo>
                    <a:pt x="602" y="385"/>
                    <a:pt x="633" y="351"/>
                    <a:pt x="644" y="340"/>
                  </a:cubicBezTo>
                  <a:cubicBezTo>
                    <a:pt x="655" y="329"/>
                    <a:pt x="682" y="321"/>
                    <a:pt x="687" y="321"/>
                  </a:cubicBezTo>
                  <a:cubicBezTo>
                    <a:pt x="692" y="320"/>
                    <a:pt x="697" y="308"/>
                    <a:pt x="697" y="308"/>
                  </a:cubicBezTo>
                  <a:cubicBezTo>
                    <a:pt x="697" y="308"/>
                    <a:pt x="704" y="305"/>
                    <a:pt x="715" y="301"/>
                  </a:cubicBezTo>
                  <a:cubicBezTo>
                    <a:pt x="726" y="296"/>
                    <a:pt x="715" y="277"/>
                    <a:pt x="715" y="277"/>
                  </a:cubicBezTo>
                  <a:cubicBezTo>
                    <a:pt x="715" y="277"/>
                    <a:pt x="725" y="269"/>
                    <a:pt x="738" y="263"/>
                  </a:cubicBezTo>
                  <a:cubicBezTo>
                    <a:pt x="752" y="257"/>
                    <a:pt x="762" y="269"/>
                    <a:pt x="774" y="266"/>
                  </a:cubicBezTo>
                  <a:cubicBezTo>
                    <a:pt x="786" y="264"/>
                    <a:pt x="782" y="240"/>
                    <a:pt x="782" y="240"/>
                  </a:cubicBezTo>
                  <a:cubicBezTo>
                    <a:pt x="782" y="240"/>
                    <a:pt x="793" y="237"/>
                    <a:pt x="805" y="236"/>
                  </a:cubicBezTo>
                  <a:cubicBezTo>
                    <a:pt x="816" y="235"/>
                    <a:pt x="808" y="221"/>
                    <a:pt x="815" y="21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8" name="Freeform 102">
              <a:extLst>
                <a:ext uri="{FF2B5EF4-FFF2-40B4-BE49-F238E27FC236}">
                  <a16:creationId xmlns:a16="http://schemas.microsoft.com/office/drawing/2014/main" id="{A0AC9DF2-8F56-9E17-4F1C-35C3665186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986" y="4427965"/>
              <a:ext cx="1079224" cy="1010629"/>
            </a:xfrm>
            <a:custGeom>
              <a:avLst/>
              <a:gdLst>
                <a:gd name="T0" fmla="*/ 50 w 1898"/>
                <a:gd name="T1" fmla="*/ 71 h 1774"/>
                <a:gd name="T2" fmla="*/ 52 w 1898"/>
                <a:gd name="T3" fmla="*/ 70 h 1774"/>
                <a:gd name="T4" fmla="*/ 95 w 1898"/>
                <a:gd name="T5" fmla="*/ 37 h 1774"/>
                <a:gd name="T6" fmla="*/ 93 w 1898"/>
                <a:gd name="T7" fmla="*/ 33 h 1774"/>
                <a:gd name="T8" fmla="*/ 89 w 1898"/>
                <a:gd name="T9" fmla="*/ 25 h 1774"/>
                <a:gd name="T10" fmla="*/ 85 w 1898"/>
                <a:gd name="T11" fmla="*/ 10 h 1774"/>
                <a:gd name="T12" fmla="*/ 83 w 1898"/>
                <a:gd name="T13" fmla="*/ 3 h 1774"/>
                <a:gd name="T14" fmla="*/ 80 w 1898"/>
                <a:gd name="T15" fmla="*/ 1 h 1774"/>
                <a:gd name="T16" fmla="*/ 78 w 1898"/>
                <a:gd name="T17" fmla="*/ 10 h 1774"/>
                <a:gd name="T18" fmla="*/ 67 w 1898"/>
                <a:gd name="T19" fmla="*/ 16 h 1774"/>
                <a:gd name="T20" fmla="*/ 64 w 1898"/>
                <a:gd name="T21" fmla="*/ 9 h 1774"/>
                <a:gd name="T22" fmla="*/ 66 w 1898"/>
                <a:gd name="T23" fmla="*/ 4 h 1774"/>
                <a:gd name="T24" fmla="*/ 61 w 1898"/>
                <a:gd name="T25" fmla="*/ 4 h 1774"/>
                <a:gd name="T26" fmla="*/ 54 w 1898"/>
                <a:gd name="T27" fmla="*/ 2 h 1774"/>
                <a:gd name="T28" fmla="*/ 53 w 1898"/>
                <a:gd name="T29" fmla="*/ 4 h 1774"/>
                <a:gd name="T30" fmla="*/ 47 w 1898"/>
                <a:gd name="T31" fmla="*/ 11 h 1774"/>
                <a:gd name="T32" fmla="*/ 45 w 1898"/>
                <a:gd name="T33" fmla="*/ 12 h 1774"/>
                <a:gd name="T34" fmla="*/ 44 w 1898"/>
                <a:gd name="T35" fmla="*/ 11 h 1774"/>
                <a:gd name="T36" fmla="*/ 41 w 1898"/>
                <a:gd name="T37" fmla="*/ 10 h 1774"/>
                <a:gd name="T38" fmla="*/ 38 w 1898"/>
                <a:gd name="T39" fmla="*/ 12 h 1774"/>
                <a:gd name="T40" fmla="*/ 35 w 1898"/>
                <a:gd name="T41" fmla="*/ 15 h 1774"/>
                <a:gd name="T42" fmla="*/ 32 w 1898"/>
                <a:gd name="T43" fmla="*/ 16 h 1774"/>
                <a:gd name="T44" fmla="*/ 31 w 1898"/>
                <a:gd name="T45" fmla="*/ 18 h 1774"/>
                <a:gd name="T46" fmla="*/ 28 w 1898"/>
                <a:gd name="T47" fmla="*/ 21 h 1774"/>
                <a:gd name="T48" fmla="*/ 19 w 1898"/>
                <a:gd name="T49" fmla="*/ 27 h 1774"/>
                <a:gd name="T50" fmla="*/ 11 w 1898"/>
                <a:gd name="T51" fmla="*/ 29 h 1774"/>
                <a:gd name="T52" fmla="*/ 4 w 1898"/>
                <a:gd name="T53" fmla="*/ 34 h 1774"/>
                <a:gd name="T54" fmla="*/ 3 w 1898"/>
                <a:gd name="T55" fmla="*/ 43 h 1774"/>
                <a:gd name="T56" fmla="*/ 2 w 1898"/>
                <a:gd name="T57" fmla="*/ 49 h 1774"/>
                <a:gd name="T58" fmla="*/ 4 w 1898"/>
                <a:gd name="T59" fmla="*/ 59 h 1774"/>
                <a:gd name="T60" fmla="*/ 3 w 1898"/>
                <a:gd name="T61" fmla="*/ 68 h 1774"/>
                <a:gd name="T62" fmla="*/ 10 w 1898"/>
                <a:gd name="T63" fmla="*/ 67 h 1774"/>
                <a:gd name="T64" fmla="*/ 20 w 1898"/>
                <a:gd name="T65" fmla="*/ 65 h 1774"/>
                <a:gd name="T66" fmla="*/ 31 w 1898"/>
                <a:gd name="T67" fmla="*/ 60 h 1774"/>
                <a:gd name="T68" fmla="*/ 47 w 1898"/>
                <a:gd name="T69" fmla="*/ 59 h 1774"/>
                <a:gd name="T70" fmla="*/ 48 w 1898"/>
                <a:gd name="T71" fmla="*/ 64 h 1774"/>
                <a:gd name="T72" fmla="*/ 50 w 1898"/>
                <a:gd name="T73" fmla="*/ 68 h 1774"/>
                <a:gd name="T74" fmla="*/ 55 w 1898"/>
                <a:gd name="T75" fmla="*/ 64 h 1774"/>
                <a:gd name="T76" fmla="*/ 56 w 1898"/>
                <a:gd name="T77" fmla="*/ 63 h 1774"/>
                <a:gd name="T78" fmla="*/ 53 w 1898"/>
                <a:gd name="T79" fmla="*/ 69 h 1774"/>
                <a:gd name="T80" fmla="*/ 56 w 1898"/>
                <a:gd name="T81" fmla="*/ 70 h 1774"/>
                <a:gd name="T82" fmla="*/ 58 w 1898"/>
                <a:gd name="T83" fmla="*/ 77 h 1774"/>
                <a:gd name="T84" fmla="*/ 69 w 1898"/>
                <a:gd name="T85" fmla="*/ 78 h 1774"/>
                <a:gd name="T86" fmla="*/ 71 w 1898"/>
                <a:gd name="T87" fmla="*/ 80 h 1774"/>
                <a:gd name="T88" fmla="*/ 79 w 1898"/>
                <a:gd name="T89" fmla="*/ 76 h 1774"/>
                <a:gd name="T90" fmla="*/ 85 w 1898"/>
                <a:gd name="T91" fmla="*/ 67 h 1774"/>
                <a:gd name="T92" fmla="*/ 97 w 1898"/>
                <a:gd name="T93" fmla="*/ 50 h 1774"/>
                <a:gd name="T94" fmla="*/ 71 w 1898"/>
                <a:gd name="T95" fmla="*/ 84 h 1774"/>
                <a:gd name="T96" fmla="*/ 66 w 1898"/>
                <a:gd name="T97" fmla="*/ 86 h 1774"/>
                <a:gd name="T98" fmla="*/ 62 w 1898"/>
                <a:gd name="T99" fmla="*/ 84 h 1774"/>
                <a:gd name="T100" fmla="*/ 60 w 1898"/>
                <a:gd name="T101" fmla="*/ 89 h 1774"/>
                <a:gd name="T102" fmla="*/ 63 w 1898"/>
                <a:gd name="T103" fmla="*/ 92 h 1774"/>
                <a:gd name="T104" fmla="*/ 66 w 1898"/>
                <a:gd name="T105" fmla="*/ 89 h 1774"/>
                <a:gd name="T106" fmla="*/ 67 w 1898"/>
                <a:gd name="T107" fmla="*/ 10 h 1774"/>
                <a:gd name="T108" fmla="*/ 63 w 1898"/>
                <a:gd name="T109" fmla="*/ 81 h 1774"/>
                <a:gd name="T110" fmla="*/ 71 w 1898"/>
                <a:gd name="T111" fmla="*/ 83 h 17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98"/>
                <a:gd name="T169" fmla="*/ 0 h 1774"/>
                <a:gd name="T170" fmla="*/ 1898 w 1898"/>
                <a:gd name="T171" fmla="*/ 1774 h 17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98" h="1774">
                  <a:moveTo>
                    <a:pt x="1024" y="43"/>
                  </a:moveTo>
                  <a:cubicBezTo>
                    <a:pt x="1014" y="29"/>
                    <a:pt x="990" y="54"/>
                    <a:pt x="999" y="65"/>
                  </a:cubicBezTo>
                  <a:cubicBezTo>
                    <a:pt x="1008" y="75"/>
                    <a:pt x="1024" y="43"/>
                    <a:pt x="1024" y="43"/>
                  </a:cubicBezTo>
                  <a:close/>
                  <a:moveTo>
                    <a:pt x="986" y="1341"/>
                  </a:moveTo>
                  <a:cubicBezTo>
                    <a:pt x="972" y="1343"/>
                    <a:pt x="954" y="1348"/>
                    <a:pt x="961" y="1354"/>
                  </a:cubicBezTo>
                  <a:cubicBezTo>
                    <a:pt x="968" y="1360"/>
                    <a:pt x="971" y="1367"/>
                    <a:pt x="971" y="1367"/>
                  </a:cubicBezTo>
                  <a:cubicBezTo>
                    <a:pt x="985" y="1367"/>
                    <a:pt x="999" y="1359"/>
                    <a:pt x="999" y="1359"/>
                  </a:cubicBezTo>
                  <a:cubicBezTo>
                    <a:pt x="1007" y="1359"/>
                    <a:pt x="1007" y="1359"/>
                    <a:pt x="1007" y="1359"/>
                  </a:cubicBezTo>
                  <a:cubicBezTo>
                    <a:pt x="1011" y="1356"/>
                    <a:pt x="1011" y="1356"/>
                    <a:pt x="1011" y="1356"/>
                  </a:cubicBezTo>
                  <a:cubicBezTo>
                    <a:pt x="1022" y="1356"/>
                    <a:pt x="1022" y="1356"/>
                    <a:pt x="1022" y="1356"/>
                  </a:cubicBezTo>
                  <a:cubicBezTo>
                    <a:pt x="1026" y="1351"/>
                    <a:pt x="1026" y="1351"/>
                    <a:pt x="1026" y="1351"/>
                  </a:cubicBezTo>
                  <a:cubicBezTo>
                    <a:pt x="1008" y="1349"/>
                    <a:pt x="1008" y="1349"/>
                    <a:pt x="1008" y="1349"/>
                  </a:cubicBezTo>
                  <a:cubicBezTo>
                    <a:pt x="1008" y="1349"/>
                    <a:pt x="1000" y="1340"/>
                    <a:pt x="986" y="1341"/>
                  </a:cubicBezTo>
                  <a:close/>
                  <a:moveTo>
                    <a:pt x="1869" y="774"/>
                  </a:moveTo>
                  <a:cubicBezTo>
                    <a:pt x="1869" y="774"/>
                    <a:pt x="1866" y="733"/>
                    <a:pt x="1865" y="727"/>
                  </a:cubicBezTo>
                  <a:cubicBezTo>
                    <a:pt x="1863" y="721"/>
                    <a:pt x="1843" y="720"/>
                    <a:pt x="1843" y="720"/>
                  </a:cubicBezTo>
                  <a:cubicBezTo>
                    <a:pt x="1843" y="706"/>
                    <a:pt x="1843" y="706"/>
                    <a:pt x="1843" y="706"/>
                  </a:cubicBezTo>
                  <a:cubicBezTo>
                    <a:pt x="1830" y="698"/>
                    <a:pt x="1830" y="698"/>
                    <a:pt x="1830" y="698"/>
                  </a:cubicBezTo>
                  <a:cubicBezTo>
                    <a:pt x="1830" y="698"/>
                    <a:pt x="1835" y="681"/>
                    <a:pt x="1830" y="674"/>
                  </a:cubicBezTo>
                  <a:cubicBezTo>
                    <a:pt x="1825" y="667"/>
                    <a:pt x="1805" y="660"/>
                    <a:pt x="1805" y="660"/>
                  </a:cubicBezTo>
                  <a:cubicBezTo>
                    <a:pt x="1805" y="660"/>
                    <a:pt x="1840" y="654"/>
                    <a:pt x="1842" y="641"/>
                  </a:cubicBezTo>
                  <a:cubicBezTo>
                    <a:pt x="1844" y="627"/>
                    <a:pt x="1822" y="623"/>
                    <a:pt x="1822" y="623"/>
                  </a:cubicBezTo>
                  <a:cubicBezTo>
                    <a:pt x="1822" y="623"/>
                    <a:pt x="1815" y="602"/>
                    <a:pt x="1804" y="603"/>
                  </a:cubicBezTo>
                  <a:cubicBezTo>
                    <a:pt x="1792" y="604"/>
                    <a:pt x="1797" y="622"/>
                    <a:pt x="1797" y="622"/>
                  </a:cubicBezTo>
                  <a:cubicBezTo>
                    <a:pt x="1783" y="619"/>
                    <a:pt x="1783" y="619"/>
                    <a:pt x="1783" y="619"/>
                  </a:cubicBezTo>
                  <a:cubicBezTo>
                    <a:pt x="1783" y="619"/>
                    <a:pt x="1796" y="578"/>
                    <a:pt x="1796" y="568"/>
                  </a:cubicBezTo>
                  <a:cubicBezTo>
                    <a:pt x="1795" y="559"/>
                    <a:pt x="1775" y="557"/>
                    <a:pt x="1771" y="547"/>
                  </a:cubicBezTo>
                  <a:cubicBezTo>
                    <a:pt x="1768" y="538"/>
                    <a:pt x="1781" y="521"/>
                    <a:pt x="1777" y="507"/>
                  </a:cubicBezTo>
                  <a:cubicBezTo>
                    <a:pt x="1773" y="494"/>
                    <a:pt x="1713" y="465"/>
                    <a:pt x="1713" y="465"/>
                  </a:cubicBezTo>
                  <a:cubicBezTo>
                    <a:pt x="1707" y="471"/>
                    <a:pt x="1707" y="471"/>
                    <a:pt x="1707" y="471"/>
                  </a:cubicBezTo>
                  <a:cubicBezTo>
                    <a:pt x="1707" y="471"/>
                    <a:pt x="1679" y="439"/>
                    <a:pt x="1677" y="417"/>
                  </a:cubicBezTo>
                  <a:cubicBezTo>
                    <a:pt x="1676" y="394"/>
                    <a:pt x="1685" y="381"/>
                    <a:pt x="1685" y="361"/>
                  </a:cubicBezTo>
                  <a:cubicBezTo>
                    <a:pt x="1685" y="341"/>
                    <a:pt x="1666" y="298"/>
                    <a:pt x="1662" y="282"/>
                  </a:cubicBezTo>
                  <a:cubicBezTo>
                    <a:pt x="1658" y="266"/>
                    <a:pt x="1669" y="256"/>
                    <a:pt x="1671" y="247"/>
                  </a:cubicBezTo>
                  <a:cubicBezTo>
                    <a:pt x="1673" y="238"/>
                    <a:pt x="1666" y="200"/>
                    <a:pt x="1666" y="200"/>
                  </a:cubicBezTo>
                  <a:cubicBezTo>
                    <a:pt x="1649" y="192"/>
                    <a:pt x="1649" y="192"/>
                    <a:pt x="1649" y="192"/>
                  </a:cubicBezTo>
                  <a:cubicBezTo>
                    <a:pt x="1649" y="192"/>
                    <a:pt x="1635" y="177"/>
                    <a:pt x="1625" y="177"/>
                  </a:cubicBezTo>
                  <a:cubicBezTo>
                    <a:pt x="1615" y="176"/>
                    <a:pt x="1609" y="191"/>
                    <a:pt x="1609" y="191"/>
                  </a:cubicBezTo>
                  <a:cubicBezTo>
                    <a:pt x="1609" y="191"/>
                    <a:pt x="1602" y="176"/>
                    <a:pt x="1601" y="167"/>
                  </a:cubicBezTo>
                  <a:cubicBezTo>
                    <a:pt x="1600" y="159"/>
                    <a:pt x="1607" y="135"/>
                    <a:pt x="1607" y="135"/>
                  </a:cubicBezTo>
                  <a:cubicBezTo>
                    <a:pt x="1596" y="120"/>
                    <a:pt x="1596" y="120"/>
                    <a:pt x="1596" y="120"/>
                  </a:cubicBezTo>
                  <a:cubicBezTo>
                    <a:pt x="1596" y="64"/>
                    <a:pt x="1596" y="64"/>
                    <a:pt x="1596" y="64"/>
                  </a:cubicBezTo>
                  <a:cubicBezTo>
                    <a:pt x="1596" y="64"/>
                    <a:pt x="1575" y="50"/>
                    <a:pt x="1578" y="41"/>
                  </a:cubicBezTo>
                  <a:cubicBezTo>
                    <a:pt x="1582" y="32"/>
                    <a:pt x="1586" y="20"/>
                    <a:pt x="1581" y="15"/>
                  </a:cubicBezTo>
                  <a:cubicBezTo>
                    <a:pt x="1576" y="11"/>
                    <a:pt x="1564" y="9"/>
                    <a:pt x="1564" y="9"/>
                  </a:cubicBezTo>
                  <a:cubicBezTo>
                    <a:pt x="1565" y="0"/>
                    <a:pt x="1565" y="0"/>
                    <a:pt x="1565" y="0"/>
                  </a:cubicBezTo>
                  <a:cubicBezTo>
                    <a:pt x="1545" y="5"/>
                    <a:pt x="1545" y="5"/>
                    <a:pt x="1545" y="5"/>
                  </a:cubicBezTo>
                  <a:cubicBezTo>
                    <a:pt x="1541" y="18"/>
                    <a:pt x="1541" y="18"/>
                    <a:pt x="1541" y="18"/>
                  </a:cubicBezTo>
                  <a:cubicBezTo>
                    <a:pt x="1541" y="18"/>
                    <a:pt x="1529" y="26"/>
                    <a:pt x="1523" y="30"/>
                  </a:cubicBezTo>
                  <a:cubicBezTo>
                    <a:pt x="1518" y="34"/>
                    <a:pt x="1531" y="60"/>
                    <a:pt x="1531" y="70"/>
                  </a:cubicBezTo>
                  <a:cubicBezTo>
                    <a:pt x="1530" y="81"/>
                    <a:pt x="1496" y="118"/>
                    <a:pt x="1496" y="118"/>
                  </a:cubicBezTo>
                  <a:cubicBezTo>
                    <a:pt x="1507" y="127"/>
                    <a:pt x="1507" y="127"/>
                    <a:pt x="1507" y="127"/>
                  </a:cubicBezTo>
                  <a:cubicBezTo>
                    <a:pt x="1507" y="127"/>
                    <a:pt x="1492" y="147"/>
                    <a:pt x="1490" y="155"/>
                  </a:cubicBezTo>
                  <a:cubicBezTo>
                    <a:pt x="1488" y="163"/>
                    <a:pt x="1494" y="189"/>
                    <a:pt x="1494" y="189"/>
                  </a:cubicBezTo>
                  <a:cubicBezTo>
                    <a:pt x="1494" y="189"/>
                    <a:pt x="1473" y="273"/>
                    <a:pt x="1472" y="285"/>
                  </a:cubicBezTo>
                  <a:cubicBezTo>
                    <a:pt x="1471" y="296"/>
                    <a:pt x="1444" y="325"/>
                    <a:pt x="1444" y="325"/>
                  </a:cubicBezTo>
                  <a:cubicBezTo>
                    <a:pt x="1444" y="325"/>
                    <a:pt x="1445" y="358"/>
                    <a:pt x="1428" y="366"/>
                  </a:cubicBezTo>
                  <a:cubicBezTo>
                    <a:pt x="1411" y="373"/>
                    <a:pt x="1375" y="381"/>
                    <a:pt x="1375" y="381"/>
                  </a:cubicBezTo>
                  <a:cubicBezTo>
                    <a:pt x="1375" y="381"/>
                    <a:pt x="1354" y="347"/>
                    <a:pt x="1349" y="337"/>
                  </a:cubicBezTo>
                  <a:cubicBezTo>
                    <a:pt x="1344" y="328"/>
                    <a:pt x="1303" y="314"/>
                    <a:pt x="1283" y="306"/>
                  </a:cubicBezTo>
                  <a:cubicBezTo>
                    <a:pt x="1262" y="299"/>
                    <a:pt x="1249" y="266"/>
                    <a:pt x="1246" y="262"/>
                  </a:cubicBezTo>
                  <a:cubicBezTo>
                    <a:pt x="1243" y="259"/>
                    <a:pt x="1223" y="260"/>
                    <a:pt x="1223" y="260"/>
                  </a:cubicBezTo>
                  <a:cubicBezTo>
                    <a:pt x="1207" y="231"/>
                    <a:pt x="1207" y="231"/>
                    <a:pt x="1207" y="231"/>
                  </a:cubicBezTo>
                  <a:cubicBezTo>
                    <a:pt x="1220" y="217"/>
                    <a:pt x="1220" y="217"/>
                    <a:pt x="1220" y="217"/>
                  </a:cubicBezTo>
                  <a:cubicBezTo>
                    <a:pt x="1220" y="217"/>
                    <a:pt x="1213" y="206"/>
                    <a:pt x="1221" y="195"/>
                  </a:cubicBezTo>
                  <a:cubicBezTo>
                    <a:pt x="1229" y="184"/>
                    <a:pt x="1239" y="181"/>
                    <a:pt x="1239" y="181"/>
                  </a:cubicBezTo>
                  <a:cubicBezTo>
                    <a:pt x="1235" y="151"/>
                    <a:pt x="1235" y="151"/>
                    <a:pt x="1235" y="151"/>
                  </a:cubicBezTo>
                  <a:cubicBezTo>
                    <a:pt x="1248" y="139"/>
                    <a:pt x="1248" y="139"/>
                    <a:pt x="1248" y="139"/>
                  </a:cubicBezTo>
                  <a:cubicBezTo>
                    <a:pt x="1248" y="139"/>
                    <a:pt x="1262" y="146"/>
                    <a:pt x="1267" y="144"/>
                  </a:cubicBezTo>
                  <a:cubicBezTo>
                    <a:pt x="1273" y="142"/>
                    <a:pt x="1274" y="119"/>
                    <a:pt x="1274" y="119"/>
                  </a:cubicBezTo>
                  <a:cubicBezTo>
                    <a:pt x="1299" y="95"/>
                    <a:pt x="1299" y="95"/>
                    <a:pt x="1299" y="95"/>
                  </a:cubicBezTo>
                  <a:cubicBezTo>
                    <a:pt x="1299" y="95"/>
                    <a:pt x="1285" y="72"/>
                    <a:pt x="1269" y="69"/>
                  </a:cubicBezTo>
                  <a:cubicBezTo>
                    <a:pt x="1252" y="67"/>
                    <a:pt x="1231" y="92"/>
                    <a:pt x="1231" y="92"/>
                  </a:cubicBezTo>
                  <a:cubicBezTo>
                    <a:pt x="1229" y="78"/>
                    <a:pt x="1229" y="78"/>
                    <a:pt x="1229" y="78"/>
                  </a:cubicBezTo>
                  <a:cubicBezTo>
                    <a:pt x="1209" y="80"/>
                    <a:pt x="1209" y="80"/>
                    <a:pt x="1209" y="80"/>
                  </a:cubicBezTo>
                  <a:cubicBezTo>
                    <a:pt x="1200" y="89"/>
                    <a:pt x="1200" y="89"/>
                    <a:pt x="1200" y="89"/>
                  </a:cubicBezTo>
                  <a:cubicBezTo>
                    <a:pt x="1194" y="78"/>
                    <a:pt x="1194" y="78"/>
                    <a:pt x="1194" y="78"/>
                  </a:cubicBezTo>
                  <a:cubicBezTo>
                    <a:pt x="1170" y="75"/>
                    <a:pt x="1170" y="75"/>
                    <a:pt x="1170" y="75"/>
                  </a:cubicBezTo>
                  <a:cubicBezTo>
                    <a:pt x="1170" y="75"/>
                    <a:pt x="1144" y="56"/>
                    <a:pt x="1139" y="56"/>
                  </a:cubicBezTo>
                  <a:cubicBezTo>
                    <a:pt x="1135" y="57"/>
                    <a:pt x="1101" y="53"/>
                    <a:pt x="1101" y="53"/>
                  </a:cubicBezTo>
                  <a:cubicBezTo>
                    <a:pt x="1101" y="53"/>
                    <a:pt x="1093" y="31"/>
                    <a:pt x="1086" y="28"/>
                  </a:cubicBezTo>
                  <a:cubicBezTo>
                    <a:pt x="1080" y="24"/>
                    <a:pt x="1078" y="38"/>
                    <a:pt x="1078" y="38"/>
                  </a:cubicBezTo>
                  <a:cubicBezTo>
                    <a:pt x="1078" y="38"/>
                    <a:pt x="1053" y="25"/>
                    <a:pt x="1047" y="30"/>
                  </a:cubicBezTo>
                  <a:cubicBezTo>
                    <a:pt x="1041" y="34"/>
                    <a:pt x="1050" y="42"/>
                    <a:pt x="1050" y="42"/>
                  </a:cubicBezTo>
                  <a:cubicBezTo>
                    <a:pt x="1050" y="42"/>
                    <a:pt x="1037" y="41"/>
                    <a:pt x="1035" y="46"/>
                  </a:cubicBezTo>
                  <a:cubicBezTo>
                    <a:pt x="1032" y="52"/>
                    <a:pt x="1049" y="58"/>
                    <a:pt x="1060" y="61"/>
                  </a:cubicBezTo>
                  <a:cubicBezTo>
                    <a:pt x="1071" y="64"/>
                    <a:pt x="1077" y="56"/>
                    <a:pt x="1077" y="56"/>
                  </a:cubicBezTo>
                  <a:cubicBezTo>
                    <a:pt x="1099" y="65"/>
                    <a:pt x="1099" y="65"/>
                    <a:pt x="1099" y="65"/>
                  </a:cubicBezTo>
                  <a:cubicBezTo>
                    <a:pt x="1099" y="65"/>
                    <a:pt x="1077" y="78"/>
                    <a:pt x="1065" y="83"/>
                  </a:cubicBezTo>
                  <a:cubicBezTo>
                    <a:pt x="1054" y="88"/>
                    <a:pt x="1020" y="84"/>
                    <a:pt x="1012" y="86"/>
                  </a:cubicBezTo>
                  <a:cubicBezTo>
                    <a:pt x="1005" y="88"/>
                    <a:pt x="955" y="114"/>
                    <a:pt x="955" y="114"/>
                  </a:cubicBezTo>
                  <a:cubicBezTo>
                    <a:pt x="955" y="114"/>
                    <a:pt x="949" y="131"/>
                    <a:pt x="948" y="142"/>
                  </a:cubicBezTo>
                  <a:cubicBezTo>
                    <a:pt x="947" y="152"/>
                    <a:pt x="968" y="161"/>
                    <a:pt x="968" y="161"/>
                  </a:cubicBezTo>
                  <a:cubicBezTo>
                    <a:pt x="935" y="163"/>
                    <a:pt x="935" y="163"/>
                    <a:pt x="935" y="163"/>
                  </a:cubicBezTo>
                  <a:cubicBezTo>
                    <a:pt x="912" y="185"/>
                    <a:pt x="912" y="185"/>
                    <a:pt x="912" y="185"/>
                  </a:cubicBezTo>
                  <a:cubicBezTo>
                    <a:pt x="912" y="185"/>
                    <a:pt x="916" y="205"/>
                    <a:pt x="910" y="212"/>
                  </a:cubicBezTo>
                  <a:cubicBezTo>
                    <a:pt x="904" y="219"/>
                    <a:pt x="927" y="226"/>
                    <a:pt x="936" y="231"/>
                  </a:cubicBezTo>
                  <a:cubicBezTo>
                    <a:pt x="946" y="235"/>
                    <a:pt x="942" y="256"/>
                    <a:pt x="942" y="256"/>
                  </a:cubicBezTo>
                  <a:cubicBezTo>
                    <a:pt x="927" y="242"/>
                    <a:pt x="927" y="242"/>
                    <a:pt x="927" y="242"/>
                  </a:cubicBezTo>
                  <a:cubicBezTo>
                    <a:pt x="907" y="244"/>
                    <a:pt x="907" y="244"/>
                    <a:pt x="907" y="244"/>
                  </a:cubicBezTo>
                  <a:cubicBezTo>
                    <a:pt x="899" y="256"/>
                    <a:pt x="899" y="256"/>
                    <a:pt x="899" y="256"/>
                  </a:cubicBezTo>
                  <a:cubicBezTo>
                    <a:pt x="872" y="235"/>
                    <a:pt x="872" y="235"/>
                    <a:pt x="872" y="235"/>
                  </a:cubicBezTo>
                  <a:cubicBezTo>
                    <a:pt x="869" y="256"/>
                    <a:pt x="869" y="256"/>
                    <a:pt x="869" y="256"/>
                  </a:cubicBezTo>
                  <a:cubicBezTo>
                    <a:pt x="853" y="261"/>
                    <a:pt x="853" y="261"/>
                    <a:pt x="853" y="261"/>
                  </a:cubicBezTo>
                  <a:cubicBezTo>
                    <a:pt x="856" y="279"/>
                    <a:pt x="856" y="279"/>
                    <a:pt x="856" y="279"/>
                  </a:cubicBezTo>
                  <a:cubicBezTo>
                    <a:pt x="837" y="276"/>
                    <a:pt x="837" y="276"/>
                    <a:pt x="837" y="276"/>
                  </a:cubicBezTo>
                  <a:cubicBezTo>
                    <a:pt x="856" y="232"/>
                    <a:pt x="856" y="232"/>
                    <a:pt x="856" y="232"/>
                  </a:cubicBezTo>
                  <a:cubicBezTo>
                    <a:pt x="856" y="232"/>
                    <a:pt x="851" y="226"/>
                    <a:pt x="848" y="215"/>
                  </a:cubicBezTo>
                  <a:cubicBezTo>
                    <a:pt x="846" y="203"/>
                    <a:pt x="827" y="205"/>
                    <a:pt x="827" y="205"/>
                  </a:cubicBezTo>
                  <a:cubicBezTo>
                    <a:pt x="816" y="187"/>
                    <a:pt x="816" y="187"/>
                    <a:pt x="816" y="187"/>
                  </a:cubicBezTo>
                  <a:cubicBezTo>
                    <a:pt x="816" y="187"/>
                    <a:pt x="825" y="167"/>
                    <a:pt x="814" y="159"/>
                  </a:cubicBezTo>
                  <a:cubicBezTo>
                    <a:pt x="802" y="151"/>
                    <a:pt x="787" y="162"/>
                    <a:pt x="787" y="169"/>
                  </a:cubicBezTo>
                  <a:cubicBezTo>
                    <a:pt x="786" y="176"/>
                    <a:pt x="792" y="176"/>
                    <a:pt x="792" y="176"/>
                  </a:cubicBezTo>
                  <a:cubicBezTo>
                    <a:pt x="788" y="185"/>
                    <a:pt x="788" y="185"/>
                    <a:pt x="788" y="185"/>
                  </a:cubicBezTo>
                  <a:cubicBezTo>
                    <a:pt x="768" y="184"/>
                    <a:pt x="768" y="184"/>
                    <a:pt x="768" y="184"/>
                  </a:cubicBezTo>
                  <a:cubicBezTo>
                    <a:pt x="771" y="202"/>
                    <a:pt x="771" y="202"/>
                    <a:pt x="771" y="202"/>
                  </a:cubicBezTo>
                  <a:cubicBezTo>
                    <a:pt x="758" y="196"/>
                    <a:pt x="758" y="196"/>
                    <a:pt x="758" y="196"/>
                  </a:cubicBezTo>
                  <a:cubicBezTo>
                    <a:pt x="746" y="201"/>
                    <a:pt x="746" y="201"/>
                    <a:pt x="746" y="201"/>
                  </a:cubicBezTo>
                  <a:cubicBezTo>
                    <a:pt x="746" y="201"/>
                    <a:pt x="751" y="209"/>
                    <a:pt x="749" y="219"/>
                  </a:cubicBezTo>
                  <a:cubicBezTo>
                    <a:pt x="747" y="230"/>
                    <a:pt x="731" y="238"/>
                    <a:pt x="731" y="238"/>
                  </a:cubicBezTo>
                  <a:cubicBezTo>
                    <a:pt x="736" y="214"/>
                    <a:pt x="736" y="214"/>
                    <a:pt x="736" y="214"/>
                  </a:cubicBezTo>
                  <a:cubicBezTo>
                    <a:pt x="724" y="229"/>
                    <a:pt x="724" y="229"/>
                    <a:pt x="724" y="229"/>
                  </a:cubicBezTo>
                  <a:cubicBezTo>
                    <a:pt x="724" y="229"/>
                    <a:pt x="713" y="227"/>
                    <a:pt x="706" y="237"/>
                  </a:cubicBezTo>
                  <a:cubicBezTo>
                    <a:pt x="699" y="247"/>
                    <a:pt x="710" y="268"/>
                    <a:pt x="710" y="268"/>
                  </a:cubicBezTo>
                  <a:cubicBezTo>
                    <a:pt x="679" y="255"/>
                    <a:pt x="679" y="255"/>
                    <a:pt x="679" y="255"/>
                  </a:cubicBezTo>
                  <a:cubicBezTo>
                    <a:pt x="676" y="279"/>
                    <a:pt x="676" y="279"/>
                    <a:pt x="676" y="279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76" y="298"/>
                    <a:pt x="676" y="298"/>
                    <a:pt x="676" y="298"/>
                  </a:cubicBezTo>
                  <a:cubicBezTo>
                    <a:pt x="688" y="297"/>
                    <a:pt x="688" y="297"/>
                    <a:pt x="688" y="297"/>
                  </a:cubicBezTo>
                  <a:cubicBezTo>
                    <a:pt x="685" y="308"/>
                    <a:pt x="685" y="308"/>
                    <a:pt x="685" y="308"/>
                  </a:cubicBezTo>
                  <a:cubicBezTo>
                    <a:pt x="638" y="312"/>
                    <a:pt x="638" y="312"/>
                    <a:pt x="638" y="312"/>
                  </a:cubicBezTo>
                  <a:cubicBezTo>
                    <a:pt x="638" y="312"/>
                    <a:pt x="624" y="302"/>
                    <a:pt x="614" y="310"/>
                  </a:cubicBezTo>
                  <a:cubicBezTo>
                    <a:pt x="604" y="319"/>
                    <a:pt x="620" y="337"/>
                    <a:pt x="620" y="337"/>
                  </a:cubicBezTo>
                  <a:cubicBezTo>
                    <a:pt x="622" y="359"/>
                    <a:pt x="622" y="359"/>
                    <a:pt x="622" y="359"/>
                  </a:cubicBezTo>
                  <a:cubicBezTo>
                    <a:pt x="616" y="373"/>
                    <a:pt x="616" y="373"/>
                    <a:pt x="616" y="373"/>
                  </a:cubicBezTo>
                  <a:cubicBezTo>
                    <a:pt x="620" y="399"/>
                    <a:pt x="620" y="399"/>
                    <a:pt x="620" y="399"/>
                  </a:cubicBezTo>
                  <a:cubicBezTo>
                    <a:pt x="609" y="400"/>
                    <a:pt x="609" y="400"/>
                    <a:pt x="609" y="400"/>
                  </a:cubicBezTo>
                  <a:cubicBezTo>
                    <a:pt x="606" y="348"/>
                    <a:pt x="606" y="348"/>
                    <a:pt x="606" y="348"/>
                  </a:cubicBezTo>
                  <a:cubicBezTo>
                    <a:pt x="595" y="337"/>
                    <a:pt x="595" y="337"/>
                    <a:pt x="595" y="337"/>
                  </a:cubicBezTo>
                  <a:cubicBezTo>
                    <a:pt x="593" y="316"/>
                    <a:pt x="593" y="316"/>
                    <a:pt x="593" y="316"/>
                  </a:cubicBezTo>
                  <a:cubicBezTo>
                    <a:pt x="580" y="317"/>
                    <a:pt x="580" y="317"/>
                    <a:pt x="580" y="317"/>
                  </a:cubicBezTo>
                  <a:cubicBezTo>
                    <a:pt x="569" y="332"/>
                    <a:pt x="569" y="332"/>
                    <a:pt x="569" y="332"/>
                  </a:cubicBezTo>
                  <a:cubicBezTo>
                    <a:pt x="569" y="332"/>
                    <a:pt x="556" y="344"/>
                    <a:pt x="537" y="360"/>
                  </a:cubicBezTo>
                  <a:cubicBezTo>
                    <a:pt x="519" y="376"/>
                    <a:pt x="531" y="409"/>
                    <a:pt x="531" y="409"/>
                  </a:cubicBezTo>
                  <a:cubicBezTo>
                    <a:pt x="531" y="409"/>
                    <a:pt x="548" y="414"/>
                    <a:pt x="546" y="423"/>
                  </a:cubicBezTo>
                  <a:cubicBezTo>
                    <a:pt x="543" y="433"/>
                    <a:pt x="510" y="445"/>
                    <a:pt x="504" y="448"/>
                  </a:cubicBezTo>
                  <a:cubicBezTo>
                    <a:pt x="498" y="451"/>
                    <a:pt x="501" y="461"/>
                    <a:pt x="501" y="461"/>
                  </a:cubicBezTo>
                  <a:cubicBezTo>
                    <a:pt x="501" y="461"/>
                    <a:pt x="480" y="480"/>
                    <a:pt x="463" y="494"/>
                  </a:cubicBezTo>
                  <a:cubicBezTo>
                    <a:pt x="445" y="507"/>
                    <a:pt x="393" y="512"/>
                    <a:pt x="393" y="512"/>
                  </a:cubicBezTo>
                  <a:cubicBezTo>
                    <a:pt x="359" y="505"/>
                    <a:pt x="359" y="505"/>
                    <a:pt x="359" y="505"/>
                  </a:cubicBezTo>
                  <a:cubicBezTo>
                    <a:pt x="332" y="519"/>
                    <a:pt x="332" y="519"/>
                    <a:pt x="332" y="519"/>
                  </a:cubicBezTo>
                  <a:cubicBezTo>
                    <a:pt x="295" y="524"/>
                    <a:pt x="295" y="524"/>
                    <a:pt x="295" y="524"/>
                  </a:cubicBezTo>
                  <a:cubicBezTo>
                    <a:pt x="290" y="529"/>
                    <a:pt x="290" y="529"/>
                    <a:pt x="290" y="529"/>
                  </a:cubicBezTo>
                  <a:cubicBezTo>
                    <a:pt x="290" y="529"/>
                    <a:pt x="280" y="529"/>
                    <a:pt x="271" y="534"/>
                  </a:cubicBezTo>
                  <a:cubicBezTo>
                    <a:pt x="262" y="538"/>
                    <a:pt x="251" y="549"/>
                    <a:pt x="251" y="549"/>
                  </a:cubicBezTo>
                  <a:cubicBezTo>
                    <a:pt x="251" y="549"/>
                    <a:pt x="232" y="550"/>
                    <a:pt x="218" y="554"/>
                  </a:cubicBezTo>
                  <a:cubicBezTo>
                    <a:pt x="204" y="558"/>
                    <a:pt x="188" y="587"/>
                    <a:pt x="188" y="587"/>
                  </a:cubicBezTo>
                  <a:cubicBezTo>
                    <a:pt x="188" y="587"/>
                    <a:pt x="153" y="595"/>
                    <a:pt x="146" y="599"/>
                  </a:cubicBezTo>
                  <a:cubicBezTo>
                    <a:pt x="138" y="604"/>
                    <a:pt x="103" y="649"/>
                    <a:pt x="103" y="649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97" y="612"/>
                    <a:pt x="97" y="612"/>
                    <a:pt x="97" y="612"/>
                  </a:cubicBezTo>
                  <a:cubicBezTo>
                    <a:pt x="83" y="649"/>
                    <a:pt x="83" y="649"/>
                    <a:pt x="83" y="649"/>
                  </a:cubicBezTo>
                  <a:cubicBezTo>
                    <a:pt x="83" y="649"/>
                    <a:pt x="69" y="675"/>
                    <a:pt x="62" y="690"/>
                  </a:cubicBezTo>
                  <a:cubicBezTo>
                    <a:pt x="56" y="705"/>
                    <a:pt x="79" y="711"/>
                    <a:pt x="79" y="711"/>
                  </a:cubicBezTo>
                  <a:cubicBezTo>
                    <a:pt x="79" y="711"/>
                    <a:pt x="59" y="732"/>
                    <a:pt x="49" y="741"/>
                  </a:cubicBezTo>
                  <a:cubicBezTo>
                    <a:pt x="38" y="750"/>
                    <a:pt x="58" y="789"/>
                    <a:pt x="59" y="795"/>
                  </a:cubicBezTo>
                  <a:cubicBezTo>
                    <a:pt x="59" y="802"/>
                    <a:pt x="84" y="845"/>
                    <a:pt x="78" y="849"/>
                  </a:cubicBezTo>
                  <a:cubicBezTo>
                    <a:pt x="72" y="854"/>
                    <a:pt x="48" y="813"/>
                    <a:pt x="48" y="813"/>
                  </a:cubicBezTo>
                  <a:cubicBezTo>
                    <a:pt x="36" y="811"/>
                    <a:pt x="36" y="811"/>
                    <a:pt x="36" y="811"/>
                  </a:cubicBezTo>
                  <a:cubicBezTo>
                    <a:pt x="46" y="841"/>
                    <a:pt x="46" y="841"/>
                    <a:pt x="46" y="841"/>
                  </a:cubicBezTo>
                  <a:cubicBezTo>
                    <a:pt x="23" y="821"/>
                    <a:pt x="23" y="821"/>
                    <a:pt x="23" y="821"/>
                  </a:cubicBezTo>
                  <a:cubicBezTo>
                    <a:pt x="23" y="821"/>
                    <a:pt x="19" y="844"/>
                    <a:pt x="22" y="858"/>
                  </a:cubicBezTo>
                  <a:cubicBezTo>
                    <a:pt x="25" y="872"/>
                    <a:pt x="48" y="907"/>
                    <a:pt x="48" y="907"/>
                  </a:cubicBezTo>
                  <a:cubicBezTo>
                    <a:pt x="48" y="907"/>
                    <a:pt x="37" y="929"/>
                    <a:pt x="35" y="937"/>
                  </a:cubicBezTo>
                  <a:cubicBezTo>
                    <a:pt x="33" y="945"/>
                    <a:pt x="63" y="968"/>
                    <a:pt x="64" y="974"/>
                  </a:cubicBezTo>
                  <a:cubicBezTo>
                    <a:pt x="65" y="981"/>
                    <a:pt x="66" y="1003"/>
                    <a:pt x="60" y="1011"/>
                  </a:cubicBezTo>
                  <a:cubicBezTo>
                    <a:pt x="55" y="1019"/>
                    <a:pt x="68" y="1065"/>
                    <a:pt x="68" y="1065"/>
                  </a:cubicBezTo>
                  <a:cubicBezTo>
                    <a:pt x="68" y="1065"/>
                    <a:pt x="64" y="1067"/>
                    <a:pt x="56" y="1073"/>
                  </a:cubicBezTo>
                  <a:cubicBezTo>
                    <a:pt x="49" y="1079"/>
                    <a:pt x="65" y="1115"/>
                    <a:pt x="65" y="1115"/>
                  </a:cubicBezTo>
                  <a:cubicBezTo>
                    <a:pt x="65" y="1115"/>
                    <a:pt x="85" y="1124"/>
                    <a:pt x="87" y="1141"/>
                  </a:cubicBezTo>
                  <a:cubicBezTo>
                    <a:pt x="89" y="1157"/>
                    <a:pt x="60" y="1186"/>
                    <a:pt x="60" y="1186"/>
                  </a:cubicBezTo>
                  <a:cubicBezTo>
                    <a:pt x="60" y="1186"/>
                    <a:pt x="69" y="1219"/>
                    <a:pt x="52" y="1236"/>
                  </a:cubicBezTo>
                  <a:cubicBezTo>
                    <a:pt x="35" y="1252"/>
                    <a:pt x="4" y="1244"/>
                    <a:pt x="4" y="1244"/>
                  </a:cubicBezTo>
                  <a:cubicBezTo>
                    <a:pt x="0" y="1276"/>
                    <a:pt x="0" y="1276"/>
                    <a:pt x="0" y="1276"/>
                  </a:cubicBezTo>
                  <a:cubicBezTo>
                    <a:pt x="0" y="1276"/>
                    <a:pt x="32" y="1284"/>
                    <a:pt x="41" y="1289"/>
                  </a:cubicBezTo>
                  <a:cubicBezTo>
                    <a:pt x="50" y="1295"/>
                    <a:pt x="56" y="1305"/>
                    <a:pt x="56" y="1305"/>
                  </a:cubicBezTo>
                  <a:cubicBezTo>
                    <a:pt x="73" y="1303"/>
                    <a:pt x="73" y="1303"/>
                    <a:pt x="73" y="1303"/>
                  </a:cubicBezTo>
                  <a:cubicBezTo>
                    <a:pt x="73" y="1303"/>
                    <a:pt x="82" y="1312"/>
                    <a:pt x="96" y="1317"/>
                  </a:cubicBezTo>
                  <a:cubicBezTo>
                    <a:pt x="109" y="1322"/>
                    <a:pt x="140" y="1312"/>
                    <a:pt x="153" y="1311"/>
                  </a:cubicBezTo>
                  <a:cubicBezTo>
                    <a:pt x="165" y="1311"/>
                    <a:pt x="155" y="1295"/>
                    <a:pt x="155" y="1295"/>
                  </a:cubicBezTo>
                  <a:cubicBezTo>
                    <a:pt x="180" y="1297"/>
                    <a:pt x="180" y="1297"/>
                    <a:pt x="180" y="1297"/>
                  </a:cubicBezTo>
                  <a:cubicBezTo>
                    <a:pt x="186" y="1285"/>
                    <a:pt x="186" y="1285"/>
                    <a:pt x="186" y="1285"/>
                  </a:cubicBezTo>
                  <a:cubicBezTo>
                    <a:pt x="213" y="1281"/>
                    <a:pt x="213" y="1281"/>
                    <a:pt x="213" y="1281"/>
                  </a:cubicBezTo>
                  <a:cubicBezTo>
                    <a:pt x="213" y="1281"/>
                    <a:pt x="237" y="1256"/>
                    <a:pt x="250" y="1255"/>
                  </a:cubicBezTo>
                  <a:cubicBezTo>
                    <a:pt x="262" y="1255"/>
                    <a:pt x="274" y="1270"/>
                    <a:pt x="281" y="1268"/>
                  </a:cubicBezTo>
                  <a:cubicBezTo>
                    <a:pt x="289" y="1266"/>
                    <a:pt x="326" y="1248"/>
                    <a:pt x="326" y="1248"/>
                  </a:cubicBezTo>
                  <a:cubicBezTo>
                    <a:pt x="326" y="1248"/>
                    <a:pt x="348" y="1258"/>
                    <a:pt x="359" y="1256"/>
                  </a:cubicBezTo>
                  <a:cubicBezTo>
                    <a:pt x="370" y="1255"/>
                    <a:pt x="377" y="1245"/>
                    <a:pt x="384" y="1244"/>
                  </a:cubicBezTo>
                  <a:cubicBezTo>
                    <a:pt x="392" y="1244"/>
                    <a:pt x="411" y="1256"/>
                    <a:pt x="426" y="1253"/>
                  </a:cubicBezTo>
                  <a:cubicBezTo>
                    <a:pt x="441" y="1250"/>
                    <a:pt x="438" y="1231"/>
                    <a:pt x="438" y="1231"/>
                  </a:cubicBezTo>
                  <a:cubicBezTo>
                    <a:pt x="438" y="1231"/>
                    <a:pt x="450" y="1228"/>
                    <a:pt x="454" y="1225"/>
                  </a:cubicBezTo>
                  <a:cubicBezTo>
                    <a:pt x="459" y="1222"/>
                    <a:pt x="465" y="1195"/>
                    <a:pt x="478" y="1183"/>
                  </a:cubicBezTo>
                  <a:cubicBezTo>
                    <a:pt x="491" y="1171"/>
                    <a:pt x="524" y="1179"/>
                    <a:pt x="535" y="1176"/>
                  </a:cubicBezTo>
                  <a:cubicBezTo>
                    <a:pt x="545" y="1174"/>
                    <a:pt x="579" y="1155"/>
                    <a:pt x="594" y="1153"/>
                  </a:cubicBezTo>
                  <a:cubicBezTo>
                    <a:pt x="610" y="1151"/>
                    <a:pt x="612" y="1158"/>
                    <a:pt x="631" y="1161"/>
                  </a:cubicBezTo>
                  <a:cubicBezTo>
                    <a:pt x="650" y="1164"/>
                    <a:pt x="697" y="1131"/>
                    <a:pt x="716" y="1125"/>
                  </a:cubicBezTo>
                  <a:cubicBezTo>
                    <a:pt x="736" y="1119"/>
                    <a:pt x="819" y="1113"/>
                    <a:pt x="819" y="1113"/>
                  </a:cubicBezTo>
                  <a:cubicBezTo>
                    <a:pt x="826" y="1106"/>
                    <a:pt x="826" y="1106"/>
                    <a:pt x="826" y="1106"/>
                  </a:cubicBezTo>
                  <a:cubicBezTo>
                    <a:pt x="826" y="1106"/>
                    <a:pt x="854" y="1131"/>
                    <a:pt x="872" y="1138"/>
                  </a:cubicBezTo>
                  <a:cubicBezTo>
                    <a:pt x="889" y="1145"/>
                    <a:pt x="896" y="1136"/>
                    <a:pt x="896" y="1136"/>
                  </a:cubicBezTo>
                  <a:cubicBezTo>
                    <a:pt x="896" y="1136"/>
                    <a:pt x="899" y="1153"/>
                    <a:pt x="907" y="1156"/>
                  </a:cubicBezTo>
                  <a:cubicBezTo>
                    <a:pt x="915" y="1159"/>
                    <a:pt x="920" y="1152"/>
                    <a:pt x="920" y="1152"/>
                  </a:cubicBezTo>
                  <a:cubicBezTo>
                    <a:pt x="923" y="1167"/>
                    <a:pt x="923" y="1167"/>
                    <a:pt x="923" y="1167"/>
                  </a:cubicBezTo>
                  <a:cubicBezTo>
                    <a:pt x="923" y="1167"/>
                    <a:pt x="935" y="1165"/>
                    <a:pt x="936" y="1174"/>
                  </a:cubicBezTo>
                  <a:cubicBezTo>
                    <a:pt x="937" y="1182"/>
                    <a:pt x="918" y="1206"/>
                    <a:pt x="918" y="1206"/>
                  </a:cubicBezTo>
                  <a:cubicBezTo>
                    <a:pt x="932" y="1225"/>
                    <a:pt x="932" y="1225"/>
                    <a:pt x="932" y="1225"/>
                  </a:cubicBezTo>
                  <a:cubicBezTo>
                    <a:pt x="941" y="1216"/>
                    <a:pt x="941" y="1216"/>
                    <a:pt x="941" y="1216"/>
                  </a:cubicBezTo>
                  <a:cubicBezTo>
                    <a:pt x="954" y="1243"/>
                    <a:pt x="954" y="1243"/>
                    <a:pt x="954" y="1243"/>
                  </a:cubicBezTo>
                  <a:cubicBezTo>
                    <a:pt x="954" y="1243"/>
                    <a:pt x="963" y="1270"/>
                    <a:pt x="964" y="1279"/>
                  </a:cubicBezTo>
                  <a:cubicBezTo>
                    <a:pt x="965" y="1287"/>
                    <a:pt x="937" y="1280"/>
                    <a:pt x="937" y="1280"/>
                  </a:cubicBezTo>
                  <a:cubicBezTo>
                    <a:pt x="944" y="1303"/>
                    <a:pt x="944" y="1303"/>
                    <a:pt x="944" y="1303"/>
                  </a:cubicBezTo>
                  <a:cubicBezTo>
                    <a:pt x="944" y="1303"/>
                    <a:pt x="953" y="1303"/>
                    <a:pt x="962" y="1304"/>
                  </a:cubicBezTo>
                  <a:cubicBezTo>
                    <a:pt x="971" y="1304"/>
                    <a:pt x="970" y="1311"/>
                    <a:pt x="970" y="1311"/>
                  </a:cubicBezTo>
                  <a:cubicBezTo>
                    <a:pt x="983" y="1308"/>
                    <a:pt x="983" y="1308"/>
                    <a:pt x="983" y="1308"/>
                  </a:cubicBezTo>
                  <a:cubicBezTo>
                    <a:pt x="983" y="1308"/>
                    <a:pt x="979" y="1294"/>
                    <a:pt x="979" y="1283"/>
                  </a:cubicBezTo>
                  <a:cubicBezTo>
                    <a:pt x="980" y="1272"/>
                    <a:pt x="998" y="1263"/>
                    <a:pt x="1010" y="1261"/>
                  </a:cubicBezTo>
                  <a:cubicBezTo>
                    <a:pt x="1022" y="1258"/>
                    <a:pt x="1045" y="1222"/>
                    <a:pt x="1045" y="1222"/>
                  </a:cubicBezTo>
                  <a:cubicBezTo>
                    <a:pt x="1060" y="1224"/>
                    <a:pt x="1060" y="1224"/>
                    <a:pt x="1060" y="1224"/>
                  </a:cubicBezTo>
                  <a:cubicBezTo>
                    <a:pt x="1074" y="1191"/>
                    <a:pt x="1074" y="1191"/>
                    <a:pt x="1074" y="1191"/>
                  </a:cubicBezTo>
                  <a:cubicBezTo>
                    <a:pt x="1074" y="1191"/>
                    <a:pt x="1093" y="1188"/>
                    <a:pt x="1102" y="1187"/>
                  </a:cubicBezTo>
                  <a:cubicBezTo>
                    <a:pt x="1110" y="1186"/>
                    <a:pt x="1115" y="1156"/>
                    <a:pt x="1115" y="1156"/>
                  </a:cubicBezTo>
                  <a:cubicBezTo>
                    <a:pt x="1115" y="1156"/>
                    <a:pt x="1120" y="1180"/>
                    <a:pt x="1121" y="1187"/>
                  </a:cubicBezTo>
                  <a:cubicBezTo>
                    <a:pt x="1122" y="1195"/>
                    <a:pt x="1093" y="1209"/>
                    <a:pt x="1093" y="1209"/>
                  </a:cubicBezTo>
                  <a:cubicBezTo>
                    <a:pt x="1083" y="1210"/>
                    <a:pt x="1083" y="1210"/>
                    <a:pt x="1083" y="1210"/>
                  </a:cubicBezTo>
                  <a:cubicBezTo>
                    <a:pt x="1078" y="1217"/>
                    <a:pt x="1078" y="1217"/>
                    <a:pt x="1078" y="1217"/>
                  </a:cubicBezTo>
                  <a:cubicBezTo>
                    <a:pt x="1089" y="1240"/>
                    <a:pt x="1089" y="1240"/>
                    <a:pt x="1089" y="1240"/>
                  </a:cubicBezTo>
                  <a:cubicBezTo>
                    <a:pt x="1089" y="1240"/>
                    <a:pt x="1079" y="1244"/>
                    <a:pt x="1072" y="1248"/>
                  </a:cubicBezTo>
                  <a:cubicBezTo>
                    <a:pt x="1065" y="1253"/>
                    <a:pt x="1047" y="1276"/>
                    <a:pt x="1047" y="1276"/>
                  </a:cubicBezTo>
                  <a:cubicBezTo>
                    <a:pt x="1047" y="1276"/>
                    <a:pt x="1042" y="1295"/>
                    <a:pt x="1035" y="1299"/>
                  </a:cubicBezTo>
                  <a:cubicBezTo>
                    <a:pt x="1028" y="1304"/>
                    <a:pt x="1004" y="1313"/>
                    <a:pt x="1011" y="1319"/>
                  </a:cubicBezTo>
                  <a:cubicBezTo>
                    <a:pt x="1018" y="1326"/>
                    <a:pt x="1045" y="1316"/>
                    <a:pt x="1054" y="1313"/>
                  </a:cubicBezTo>
                  <a:cubicBezTo>
                    <a:pt x="1062" y="1309"/>
                    <a:pt x="1063" y="1296"/>
                    <a:pt x="1069" y="1287"/>
                  </a:cubicBezTo>
                  <a:cubicBezTo>
                    <a:pt x="1076" y="1277"/>
                    <a:pt x="1090" y="1267"/>
                    <a:pt x="1090" y="1267"/>
                  </a:cubicBezTo>
                  <a:cubicBezTo>
                    <a:pt x="1090" y="1267"/>
                    <a:pt x="1093" y="1292"/>
                    <a:pt x="1095" y="1298"/>
                  </a:cubicBezTo>
                  <a:cubicBezTo>
                    <a:pt x="1097" y="1304"/>
                    <a:pt x="1084" y="1315"/>
                    <a:pt x="1075" y="1320"/>
                  </a:cubicBezTo>
                  <a:cubicBezTo>
                    <a:pt x="1067" y="1325"/>
                    <a:pt x="1066" y="1333"/>
                    <a:pt x="1072" y="1339"/>
                  </a:cubicBezTo>
                  <a:cubicBezTo>
                    <a:pt x="1079" y="1344"/>
                    <a:pt x="1110" y="1344"/>
                    <a:pt x="1110" y="1344"/>
                  </a:cubicBezTo>
                  <a:cubicBezTo>
                    <a:pt x="1115" y="1351"/>
                    <a:pt x="1115" y="1351"/>
                    <a:pt x="1115" y="1351"/>
                  </a:cubicBezTo>
                  <a:cubicBezTo>
                    <a:pt x="1100" y="1364"/>
                    <a:pt x="1100" y="1364"/>
                    <a:pt x="1100" y="1364"/>
                  </a:cubicBezTo>
                  <a:cubicBezTo>
                    <a:pt x="1100" y="1364"/>
                    <a:pt x="1116" y="1393"/>
                    <a:pt x="1118" y="1403"/>
                  </a:cubicBezTo>
                  <a:cubicBezTo>
                    <a:pt x="1121" y="1414"/>
                    <a:pt x="1097" y="1430"/>
                    <a:pt x="1088" y="1441"/>
                  </a:cubicBezTo>
                  <a:cubicBezTo>
                    <a:pt x="1078" y="1452"/>
                    <a:pt x="1110" y="1474"/>
                    <a:pt x="1118" y="1477"/>
                  </a:cubicBezTo>
                  <a:cubicBezTo>
                    <a:pt x="1125" y="1480"/>
                    <a:pt x="1139" y="1500"/>
                    <a:pt x="1154" y="1505"/>
                  </a:cubicBezTo>
                  <a:cubicBezTo>
                    <a:pt x="1169" y="1510"/>
                    <a:pt x="1180" y="1501"/>
                    <a:pt x="1194" y="1504"/>
                  </a:cubicBezTo>
                  <a:cubicBezTo>
                    <a:pt x="1207" y="1507"/>
                    <a:pt x="1210" y="1524"/>
                    <a:pt x="1229" y="1527"/>
                  </a:cubicBezTo>
                  <a:cubicBezTo>
                    <a:pt x="1249" y="1531"/>
                    <a:pt x="1297" y="1498"/>
                    <a:pt x="1297" y="1498"/>
                  </a:cubicBezTo>
                  <a:cubicBezTo>
                    <a:pt x="1297" y="1498"/>
                    <a:pt x="1290" y="1484"/>
                    <a:pt x="1305" y="1475"/>
                  </a:cubicBezTo>
                  <a:cubicBezTo>
                    <a:pt x="1320" y="1466"/>
                    <a:pt x="1319" y="1502"/>
                    <a:pt x="1319" y="1502"/>
                  </a:cubicBezTo>
                  <a:cubicBezTo>
                    <a:pt x="1330" y="1501"/>
                    <a:pt x="1330" y="1501"/>
                    <a:pt x="1330" y="1501"/>
                  </a:cubicBezTo>
                  <a:cubicBezTo>
                    <a:pt x="1320" y="1517"/>
                    <a:pt x="1320" y="1517"/>
                    <a:pt x="1320" y="1517"/>
                  </a:cubicBezTo>
                  <a:cubicBezTo>
                    <a:pt x="1333" y="1518"/>
                    <a:pt x="1333" y="1518"/>
                    <a:pt x="1333" y="1518"/>
                  </a:cubicBezTo>
                  <a:cubicBezTo>
                    <a:pt x="1333" y="1518"/>
                    <a:pt x="1334" y="1530"/>
                    <a:pt x="1341" y="1539"/>
                  </a:cubicBezTo>
                  <a:cubicBezTo>
                    <a:pt x="1347" y="1547"/>
                    <a:pt x="1354" y="1543"/>
                    <a:pt x="1354" y="1543"/>
                  </a:cubicBezTo>
                  <a:cubicBezTo>
                    <a:pt x="1360" y="1532"/>
                    <a:pt x="1360" y="1532"/>
                    <a:pt x="1360" y="1532"/>
                  </a:cubicBezTo>
                  <a:cubicBezTo>
                    <a:pt x="1360" y="1532"/>
                    <a:pt x="1378" y="1530"/>
                    <a:pt x="1388" y="1521"/>
                  </a:cubicBezTo>
                  <a:cubicBezTo>
                    <a:pt x="1399" y="1513"/>
                    <a:pt x="1443" y="1482"/>
                    <a:pt x="1443" y="1482"/>
                  </a:cubicBezTo>
                  <a:cubicBezTo>
                    <a:pt x="1438" y="1472"/>
                    <a:pt x="1438" y="1472"/>
                    <a:pt x="1438" y="1472"/>
                  </a:cubicBezTo>
                  <a:cubicBezTo>
                    <a:pt x="1462" y="1468"/>
                    <a:pt x="1462" y="1468"/>
                    <a:pt x="1462" y="1468"/>
                  </a:cubicBezTo>
                  <a:cubicBezTo>
                    <a:pt x="1471" y="1476"/>
                    <a:pt x="1471" y="1476"/>
                    <a:pt x="1471" y="1476"/>
                  </a:cubicBezTo>
                  <a:cubicBezTo>
                    <a:pt x="1471" y="1476"/>
                    <a:pt x="1510" y="1469"/>
                    <a:pt x="1533" y="1461"/>
                  </a:cubicBezTo>
                  <a:cubicBezTo>
                    <a:pt x="1555" y="1452"/>
                    <a:pt x="1557" y="1408"/>
                    <a:pt x="1560" y="1396"/>
                  </a:cubicBezTo>
                  <a:cubicBezTo>
                    <a:pt x="1564" y="1385"/>
                    <a:pt x="1590" y="1370"/>
                    <a:pt x="1590" y="1370"/>
                  </a:cubicBezTo>
                  <a:cubicBezTo>
                    <a:pt x="1590" y="1355"/>
                    <a:pt x="1590" y="1355"/>
                    <a:pt x="1590" y="1355"/>
                  </a:cubicBezTo>
                  <a:cubicBezTo>
                    <a:pt x="1590" y="1355"/>
                    <a:pt x="1605" y="1349"/>
                    <a:pt x="1613" y="1338"/>
                  </a:cubicBezTo>
                  <a:cubicBezTo>
                    <a:pt x="1620" y="1328"/>
                    <a:pt x="1631" y="1314"/>
                    <a:pt x="1631" y="1314"/>
                  </a:cubicBezTo>
                  <a:cubicBezTo>
                    <a:pt x="1631" y="1314"/>
                    <a:pt x="1633" y="1285"/>
                    <a:pt x="1641" y="1275"/>
                  </a:cubicBezTo>
                  <a:cubicBezTo>
                    <a:pt x="1648" y="1266"/>
                    <a:pt x="1682" y="1228"/>
                    <a:pt x="1695" y="1222"/>
                  </a:cubicBezTo>
                  <a:cubicBezTo>
                    <a:pt x="1707" y="1216"/>
                    <a:pt x="1709" y="1185"/>
                    <a:pt x="1709" y="1185"/>
                  </a:cubicBezTo>
                  <a:cubicBezTo>
                    <a:pt x="1709" y="1185"/>
                    <a:pt x="1732" y="1189"/>
                    <a:pt x="1741" y="1179"/>
                  </a:cubicBezTo>
                  <a:cubicBezTo>
                    <a:pt x="1750" y="1170"/>
                    <a:pt x="1797" y="1111"/>
                    <a:pt x="1800" y="1104"/>
                  </a:cubicBezTo>
                  <a:cubicBezTo>
                    <a:pt x="1804" y="1098"/>
                    <a:pt x="1803" y="1067"/>
                    <a:pt x="1813" y="1060"/>
                  </a:cubicBezTo>
                  <a:cubicBezTo>
                    <a:pt x="1822" y="1053"/>
                    <a:pt x="1864" y="971"/>
                    <a:pt x="1874" y="952"/>
                  </a:cubicBezTo>
                  <a:cubicBezTo>
                    <a:pt x="1884" y="933"/>
                    <a:pt x="1872" y="920"/>
                    <a:pt x="1871" y="907"/>
                  </a:cubicBezTo>
                  <a:cubicBezTo>
                    <a:pt x="1870" y="894"/>
                    <a:pt x="1880" y="873"/>
                    <a:pt x="1889" y="859"/>
                  </a:cubicBezTo>
                  <a:cubicBezTo>
                    <a:pt x="1898" y="845"/>
                    <a:pt x="1888" y="783"/>
                    <a:pt x="1888" y="783"/>
                  </a:cubicBezTo>
                  <a:lnTo>
                    <a:pt x="1869" y="774"/>
                  </a:lnTo>
                  <a:close/>
                  <a:moveTo>
                    <a:pt x="1347" y="1624"/>
                  </a:moveTo>
                  <a:cubicBezTo>
                    <a:pt x="1349" y="1631"/>
                    <a:pt x="1373" y="1619"/>
                    <a:pt x="1364" y="1612"/>
                  </a:cubicBezTo>
                  <a:cubicBezTo>
                    <a:pt x="1355" y="1605"/>
                    <a:pt x="1347" y="1624"/>
                    <a:pt x="1347" y="1624"/>
                  </a:cubicBezTo>
                  <a:close/>
                  <a:moveTo>
                    <a:pt x="1332" y="1632"/>
                  </a:moveTo>
                  <a:cubicBezTo>
                    <a:pt x="1323" y="1626"/>
                    <a:pt x="1312" y="1646"/>
                    <a:pt x="1312" y="1646"/>
                  </a:cubicBezTo>
                  <a:cubicBezTo>
                    <a:pt x="1312" y="1646"/>
                    <a:pt x="1308" y="1640"/>
                    <a:pt x="1304" y="1640"/>
                  </a:cubicBezTo>
                  <a:cubicBezTo>
                    <a:pt x="1300" y="1639"/>
                    <a:pt x="1277" y="1643"/>
                    <a:pt x="1277" y="1643"/>
                  </a:cubicBezTo>
                  <a:cubicBezTo>
                    <a:pt x="1274" y="1651"/>
                    <a:pt x="1274" y="1651"/>
                    <a:pt x="1274" y="1651"/>
                  </a:cubicBezTo>
                  <a:cubicBezTo>
                    <a:pt x="1261" y="1640"/>
                    <a:pt x="1261" y="1640"/>
                    <a:pt x="1261" y="1640"/>
                  </a:cubicBezTo>
                  <a:cubicBezTo>
                    <a:pt x="1236" y="1638"/>
                    <a:pt x="1236" y="1638"/>
                    <a:pt x="1236" y="1638"/>
                  </a:cubicBezTo>
                  <a:cubicBezTo>
                    <a:pt x="1221" y="1620"/>
                    <a:pt x="1221" y="1620"/>
                    <a:pt x="1221" y="1620"/>
                  </a:cubicBezTo>
                  <a:cubicBezTo>
                    <a:pt x="1221" y="1620"/>
                    <a:pt x="1216" y="1623"/>
                    <a:pt x="1210" y="1624"/>
                  </a:cubicBezTo>
                  <a:cubicBezTo>
                    <a:pt x="1205" y="1625"/>
                    <a:pt x="1188" y="1605"/>
                    <a:pt x="1188" y="1605"/>
                  </a:cubicBezTo>
                  <a:cubicBezTo>
                    <a:pt x="1184" y="1616"/>
                    <a:pt x="1184" y="1616"/>
                    <a:pt x="1184" y="1616"/>
                  </a:cubicBezTo>
                  <a:cubicBezTo>
                    <a:pt x="1188" y="1629"/>
                    <a:pt x="1188" y="1629"/>
                    <a:pt x="1188" y="1629"/>
                  </a:cubicBezTo>
                  <a:cubicBezTo>
                    <a:pt x="1188" y="1629"/>
                    <a:pt x="1189" y="1645"/>
                    <a:pt x="1187" y="1650"/>
                  </a:cubicBezTo>
                  <a:cubicBezTo>
                    <a:pt x="1185" y="1655"/>
                    <a:pt x="1179" y="1663"/>
                    <a:pt x="1185" y="1674"/>
                  </a:cubicBezTo>
                  <a:cubicBezTo>
                    <a:pt x="1191" y="1685"/>
                    <a:pt x="1184" y="1691"/>
                    <a:pt x="1176" y="1694"/>
                  </a:cubicBezTo>
                  <a:cubicBezTo>
                    <a:pt x="1167" y="1696"/>
                    <a:pt x="1160" y="1686"/>
                    <a:pt x="1160" y="1686"/>
                  </a:cubicBezTo>
                  <a:cubicBezTo>
                    <a:pt x="1160" y="1686"/>
                    <a:pt x="1156" y="1700"/>
                    <a:pt x="1155" y="1713"/>
                  </a:cubicBezTo>
                  <a:cubicBezTo>
                    <a:pt x="1154" y="1727"/>
                    <a:pt x="1166" y="1748"/>
                    <a:pt x="1166" y="1748"/>
                  </a:cubicBezTo>
                  <a:cubicBezTo>
                    <a:pt x="1181" y="1750"/>
                    <a:pt x="1181" y="1750"/>
                    <a:pt x="1181" y="1750"/>
                  </a:cubicBezTo>
                  <a:cubicBezTo>
                    <a:pt x="1168" y="1757"/>
                    <a:pt x="1168" y="1757"/>
                    <a:pt x="1168" y="1757"/>
                  </a:cubicBezTo>
                  <a:cubicBezTo>
                    <a:pt x="1173" y="1774"/>
                    <a:pt x="1173" y="1774"/>
                    <a:pt x="1173" y="1774"/>
                  </a:cubicBezTo>
                  <a:cubicBezTo>
                    <a:pt x="1173" y="1774"/>
                    <a:pt x="1185" y="1769"/>
                    <a:pt x="1191" y="1766"/>
                  </a:cubicBezTo>
                  <a:cubicBezTo>
                    <a:pt x="1198" y="1763"/>
                    <a:pt x="1203" y="1773"/>
                    <a:pt x="1214" y="1769"/>
                  </a:cubicBezTo>
                  <a:cubicBezTo>
                    <a:pt x="1225" y="1764"/>
                    <a:pt x="1232" y="1748"/>
                    <a:pt x="1239" y="1752"/>
                  </a:cubicBezTo>
                  <a:cubicBezTo>
                    <a:pt x="1247" y="1757"/>
                    <a:pt x="1236" y="1768"/>
                    <a:pt x="1236" y="1768"/>
                  </a:cubicBezTo>
                  <a:cubicBezTo>
                    <a:pt x="1247" y="1772"/>
                    <a:pt x="1247" y="1772"/>
                    <a:pt x="1247" y="1772"/>
                  </a:cubicBezTo>
                  <a:cubicBezTo>
                    <a:pt x="1247" y="1772"/>
                    <a:pt x="1268" y="1744"/>
                    <a:pt x="1277" y="1738"/>
                  </a:cubicBezTo>
                  <a:cubicBezTo>
                    <a:pt x="1285" y="1733"/>
                    <a:pt x="1268" y="1726"/>
                    <a:pt x="1268" y="1726"/>
                  </a:cubicBezTo>
                  <a:cubicBezTo>
                    <a:pt x="1282" y="1706"/>
                    <a:pt x="1282" y="1706"/>
                    <a:pt x="1282" y="1706"/>
                  </a:cubicBezTo>
                  <a:cubicBezTo>
                    <a:pt x="1282" y="1706"/>
                    <a:pt x="1292" y="1710"/>
                    <a:pt x="1303" y="1704"/>
                  </a:cubicBezTo>
                  <a:cubicBezTo>
                    <a:pt x="1314" y="1699"/>
                    <a:pt x="1305" y="1678"/>
                    <a:pt x="1315" y="1667"/>
                  </a:cubicBezTo>
                  <a:cubicBezTo>
                    <a:pt x="1326" y="1656"/>
                    <a:pt x="1340" y="1638"/>
                    <a:pt x="1332" y="1632"/>
                  </a:cubicBezTo>
                  <a:close/>
                  <a:moveTo>
                    <a:pt x="1269" y="162"/>
                  </a:moveTo>
                  <a:cubicBezTo>
                    <a:pt x="1263" y="162"/>
                    <a:pt x="1259" y="193"/>
                    <a:pt x="1259" y="193"/>
                  </a:cubicBezTo>
                  <a:cubicBezTo>
                    <a:pt x="1269" y="207"/>
                    <a:pt x="1290" y="195"/>
                    <a:pt x="1290" y="195"/>
                  </a:cubicBezTo>
                  <a:cubicBezTo>
                    <a:pt x="1286" y="186"/>
                    <a:pt x="1286" y="186"/>
                    <a:pt x="1286" y="186"/>
                  </a:cubicBezTo>
                  <a:cubicBezTo>
                    <a:pt x="1290" y="167"/>
                    <a:pt x="1290" y="167"/>
                    <a:pt x="1290" y="167"/>
                  </a:cubicBezTo>
                  <a:cubicBezTo>
                    <a:pt x="1290" y="167"/>
                    <a:pt x="1274" y="162"/>
                    <a:pt x="1269" y="162"/>
                  </a:cubicBezTo>
                  <a:close/>
                  <a:moveTo>
                    <a:pt x="1182" y="1554"/>
                  </a:moveTo>
                  <a:cubicBezTo>
                    <a:pt x="1175" y="1581"/>
                    <a:pt x="1175" y="1581"/>
                    <a:pt x="1175" y="1581"/>
                  </a:cubicBezTo>
                  <a:cubicBezTo>
                    <a:pt x="1209" y="1549"/>
                    <a:pt x="1209" y="1549"/>
                    <a:pt x="1209" y="1549"/>
                  </a:cubicBezTo>
                  <a:lnTo>
                    <a:pt x="1182" y="1554"/>
                  </a:lnTo>
                  <a:close/>
                  <a:moveTo>
                    <a:pt x="1357" y="1597"/>
                  </a:moveTo>
                  <a:cubicBezTo>
                    <a:pt x="1345" y="1572"/>
                    <a:pt x="1345" y="1572"/>
                    <a:pt x="1345" y="1572"/>
                  </a:cubicBezTo>
                  <a:cubicBezTo>
                    <a:pt x="1345" y="1572"/>
                    <a:pt x="1333" y="1579"/>
                    <a:pt x="1332" y="1587"/>
                  </a:cubicBezTo>
                  <a:cubicBezTo>
                    <a:pt x="1332" y="1594"/>
                    <a:pt x="1334" y="1597"/>
                    <a:pt x="1343" y="1600"/>
                  </a:cubicBezTo>
                  <a:cubicBezTo>
                    <a:pt x="1352" y="1603"/>
                    <a:pt x="1357" y="1597"/>
                    <a:pt x="1357" y="159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99" name="Freeform 104">
              <a:extLst>
                <a:ext uri="{FF2B5EF4-FFF2-40B4-BE49-F238E27FC236}">
                  <a16:creationId xmlns:a16="http://schemas.microsoft.com/office/drawing/2014/main" id="{BEB00537-9301-DB21-DA79-531F8C048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5160" y="3328925"/>
              <a:ext cx="48779" cy="103654"/>
            </a:xfrm>
            <a:custGeom>
              <a:avLst/>
              <a:gdLst>
                <a:gd name="T0" fmla="*/ 3 w 85"/>
                <a:gd name="T1" fmla="*/ 10 h 181"/>
                <a:gd name="T2" fmla="*/ 3 w 85"/>
                <a:gd name="T3" fmla="*/ 8 h 181"/>
                <a:gd name="T4" fmla="*/ 4 w 85"/>
                <a:gd name="T5" fmla="*/ 6 h 181"/>
                <a:gd name="T6" fmla="*/ 4 w 85"/>
                <a:gd name="T7" fmla="*/ 4 h 181"/>
                <a:gd name="T8" fmla="*/ 5 w 85"/>
                <a:gd name="T9" fmla="*/ 2 h 181"/>
                <a:gd name="T10" fmla="*/ 5 w 85"/>
                <a:gd name="T11" fmla="*/ 1 h 181"/>
                <a:gd name="T12" fmla="*/ 3 w 85"/>
                <a:gd name="T13" fmla="*/ 0 h 181"/>
                <a:gd name="T14" fmla="*/ 2 w 85"/>
                <a:gd name="T15" fmla="*/ 1 h 181"/>
                <a:gd name="T16" fmla="*/ 0 w 85"/>
                <a:gd name="T17" fmla="*/ 6 h 181"/>
                <a:gd name="T18" fmla="*/ 2 w 85"/>
                <a:gd name="T19" fmla="*/ 8 h 181"/>
                <a:gd name="T20" fmla="*/ 3 w 85"/>
                <a:gd name="T21" fmla="*/ 10 h 1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181"/>
                <a:gd name="T35" fmla="*/ 85 w 85"/>
                <a:gd name="T36" fmla="*/ 181 h 18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181">
                  <a:moveTo>
                    <a:pt x="62" y="181"/>
                  </a:moveTo>
                  <a:cubicBezTo>
                    <a:pt x="62" y="148"/>
                    <a:pt x="62" y="148"/>
                    <a:pt x="62" y="148"/>
                  </a:cubicBezTo>
                  <a:cubicBezTo>
                    <a:pt x="62" y="148"/>
                    <a:pt x="75" y="139"/>
                    <a:pt x="75" y="118"/>
                  </a:cubicBezTo>
                  <a:cubicBezTo>
                    <a:pt x="75" y="97"/>
                    <a:pt x="75" y="68"/>
                    <a:pt x="75" y="68"/>
                  </a:cubicBezTo>
                  <a:cubicBezTo>
                    <a:pt x="75" y="68"/>
                    <a:pt x="85" y="55"/>
                    <a:pt x="84" y="43"/>
                  </a:cubicBezTo>
                  <a:cubicBezTo>
                    <a:pt x="83" y="31"/>
                    <a:pt x="85" y="17"/>
                    <a:pt x="85" y="1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0" y="102"/>
                    <a:pt x="8" y="114"/>
                  </a:cubicBezTo>
                  <a:cubicBezTo>
                    <a:pt x="16" y="126"/>
                    <a:pt x="34" y="147"/>
                    <a:pt x="34" y="147"/>
                  </a:cubicBezTo>
                  <a:cubicBezTo>
                    <a:pt x="34" y="147"/>
                    <a:pt x="47" y="181"/>
                    <a:pt x="62" y="18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0" name="Freeform 105">
              <a:extLst>
                <a:ext uri="{FF2B5EF4-FFF2-40B4-BE49-F238E27FC236}">
                  <a16:creationId xmlns:a16="http://schemas.microsoft.com/office/drawing/2014/main" id="{04F6D943-51D1-D749-1FFE-74DAFC8F82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8810" y="2472253"/>
              <a:ext cx="1388663" cy="1071602"/>
            </a:xfrm>
            <a:custGeom>
              <a:avLst/>
              <a:gdLst>
                <a:gd name="T0" fmla="*/ 99 w 2441"/>
                <a:gd name="T1" fmla="*/ 97 h 1882"/>
                <a:gd name="T2" fmla="*/ 126 w 2441"/>
                <a:gd name="T3" fmla="*/ 18 h 1882"/>
                <a:gd name="T4" fmla="*/ 123 w 2441"/>
                <a:gd name="T5" fmla="*/ 15 h 1882"/>
                <a:gd name="T6" fmla="*/ 117 w 2441"/>
                <a:gd name="T7" fmla="*/ 15 h 1882"/>
                <a:gd name="T8" fmla="*/ 108 w 2441"/>
                <a:gd name="T9" fmla="*/ 11 h 1882"/>
                <a:gd name="T10" fmla="*/ 100 w 2441"/>
                <a:gd name="T11" fmla="*/ 4 h 1882"/>
                <a:gd name="T12" fmla="*/ 92 w 2441"/>
                <a:gd name="T13" fmla="*/ 0 h 1882"/>
                <a:gd name="T14" fmla="*/ 88 w 2441"/>
                <a:gd name="T15" fmla="*/ 4 h 1882"/>
                <a:gd name="T16" fmla="*/ 86 w 2441"/>
                <a:gd name="T17" fmla="*/ 11 h 1882"/>
                <a:gd name="T18" fmla="*/ 85 w 2441"/>
                <a:gd name="T19" fmla="*/ 16 h 1882"/>
                <a:gd name="T20" fmla="*/ 93 w 2441"/>
                <a:gd name="T21" fmla="*/ 17 h 1882"/>
                <a:gd name="T22" fmla="*/ 91 w 2441"/>
                <a:gd name="T23" fmla="*/ 19 h 1882"/>
                <a:gd name="T24" fmla="*/ 85 w 2441"/>
                <a:gd name="T25" fmla="*/ 24 h 1882"/>
                <a:gd name="T26" fmla="*/ 80 w 2441"/>
                <a:gd name="T27" fmla="*/ 30 h 1882"/>
                <a:gd name="T28" fmla="*/ 64 w 2441"/>
                <a:gd name="T29" fmla="*/ 32 h 1882"/>
                <a:gd name="T30" fmla="*/ 50 w 2441"/>
                <a:gd name="T31" fmla="*/ 30 h 1882"/>
                <a:gd name="T32" fmla="*/ 40 w 2441"/>
                <a:gd name="T33" fmla="*/ 24 h 1882"/>
                <a:gd name="T34" fmla="*/ 32 w 2441"/>
                <a:gd name="T35" fmla="*/ 18 h 1882"/>
                <a:gd name="T36" fmla="*/ 24 w 2441"/>
                <a:gd name="T37" fmla="*/ 14 h 1882"/>
                <a:gd name="T38" fmla="*/ 19 w 2441"/>
                <a:gd name="T39" fmla="*/ 16 h 1882"/>
                <a:gd name="T40" fmla="*/ 14 w 2441"/>
                <a:gd name="T41" fmla="*/ 22 h 1882"/>
                <a:gd name="T42" fmla="*/ 11 w 2441"/>
                <a:gd name="T43" fmla="*/ 26 h 1882"/>
                <a:gd name="T44" fmla="*/ 10 w 2441"/>
                <a:gd name="T45" fmla="*/ 32 h 1882"/>
                <a:gd name="T46" fmla="*/ 3 w 2441"/>
                <a:gd name="T47" fmla="*/ 35 h 1882"/>
                <a:gd name="T48" fmla="*/ 1 w 2441"/>
                <a:gd name="T49" fmla="*/ 40 h 1882"/>
                <a:gd name="T50" fmla="*/ 6 w 2441"/>
                <a:gd name="T51" fmla="*/ 46 h 1882"/>
                <a:gd name="T52" fmla="*/ 15 w 2441"/>
                <a:gd name="T53" fmla="*/ 49 h 1882"/>
                <a:gd name="T54" fmla="*/ 16 w 2441"/>
                <a:gd name="T55" fmla="*/ 55 h 1882"/>
                <a:gd name="T56" fmla="*/ 16 w 2441"/>
                <a:gd name="T57" fmla="*/ 58 h 1882"/>
                <a:gd name="T58" fmla="*/ 21 w 2441"/>
                <a:gd name="T59" fmla="*/ 63 h 1882"/>
                <a:gd name="T60" fmla="*/ 29 w 2441"/>
                <a:gd name="T61" fmla="*/ 68 h 1882"/>
                <a:gd name="T62" fmla="*/ 36 w 2441"/>
                <a:gd name="T63" fmla="*/ 70 h 1882"/>
                <a:gd name="T64" fmla="*/ 47 w 2441"/>
                <a:gd name="T65" fmla="*/ 70 h 1882"/>
                <a:gd name="T66" fmla="*/ 54 w 2441"/>
                <a:gd name="T67" fmla="*/ 69 h 1882"/>
                <a:gd name="T68" fmla="*/ 60 w 2441"/>
                <a:gd name="T69" fmla="*/ 70 h 1882"/>
                <a:gd name="T70" fmla="*/ 67 w 2441"/>
                <a:gd name="T71" fmla="*/ 74 h 1882"/>
                <a:gd name="T72" fmla="*/ 66 w 2441"/>
                <a:gd name="T73" fmla="*/ 80 h 1882"/>
                <a:gd name="T74" fmla="*/ 69 w 2441"/>
                <a:gd name="T75" fmla="*/ 83 h 1882"/>
                <a:gd name="T76" fmla="*/ 73 w 2441"/>
                <a:gd name="T77" fmla="*/ 89 h 1882"/>
                <a:gd name="T78" fmla="*/ 76 w 2441"/>
                <a:gd name="T79" fmla="*/ 87 h 1882"/>
                <a:gd name="T80" fmla="*/ 81 w 2441"/>
                <a:gd name="T81" fmla="*/ 86 h 1882"/>
                <a:gd name="T82" fmla="*/ 84 w 2441"/>
                <a:gd name="T83" fmla="*/ 84 h 1882"/>
                <a:gd name="T84" fmla="*/ 88 w 2441"/>
                <a:gd name="T85" fmla="*/ 88 h 1882"/>
                <a:gd name="T86" fmla="*/ 96 w 2441"/>
                <a:gd name="T87" fmla="*/ 91 h 1882"/>
                <a:gd name="T88" fmla="*/ 106 w 2441"/>
                <a:gd name="T89" fmla="*/ 87 h 1882"/>
                <a:gd name="T90" fmla="*/ 115 w 2441"/>
                <a:gd name="T91" fmla="*/ 81 h 1882"/>
                <a:gd name="T92" fmla="*/ 118 w 2441"/>
                <a:gd name="T93" fmla="*/ 73 h 1882"/>
                <a:gd name="T94" fmla="*/ 121 w 2441"/>
                <a:gd name="T95" fmla="*/ 64 h 1882"/>
                <a:gd name="T96" fmla="*/ 116 w 2441"/>
                <a:gd name="T97" fmla="*/ 61 h 1882"/>
                <a:gd name="T98" fmla="*/ 116 w 2441"/>
                <a:gd name="T99" fmla="*/ 60 h 1882"/>
                <a:gd name="T100" fmla="*/ 112 w 2441"/>
                <a:gd name="T101" fmla="*/ 53 h 1882"/>
                <a:gd name="T102" fmla="*/ 111 w 2441"/>
                <a:gd name="T103" fmla="*/ 47 h 1882"/>
                <a:gd name="T104" fmla="*/ 112 w 2441"/>
                <a:gd name="T105" fmla="*/ 44 h 1882"/>
                <a:gd name="T106" fmla="*/ 104 w 2441"/>
                <a:gd name="T107" fmla="*/ 43 h 1882"/>
                <a:gd name="T108" fmla="*/ 104 w 2441"/>
                <a:gd name="T109" fmla="*/ 40 h 1882"/>
                <a:gd name="T110" fmla="*/ 108 w 2441"/>
                <a:gd name="T111" fmla="*/ 35 h 1882"/>
                <a:gd name="T112" fmla="*/ 111 w 2441"/>
                <a:gd name="T113" fmla="*/ 40 h 1882"/>
                <a:gd name="T114" fmla="*/ 119 w 2441"/>
                <a:gd name="T115" fmla="*/ 33 h 1882"/>
                <a:gd name="T116" fmla="*/ 124 w 2441"/>
                <a:gd name="T117" fmla="*/ 29 h 1882"/>
                <a:gd name="T118" fmla="*/ 124 w 2441"/>
                <a:gd name="T119" fmla="*/ 24 h 18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441"/>
                <a:gd name="T181" fmla="*/ 0 h 1882"/>
                <a:gd name="T182" fmla="*/ 2441 w 2441"/>
                <a:gd name="T183" fmla="*/ 1882 h 18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441" h="1882">
                  <a:moveTo>
                    <a:pt x="1912" y="1793"/>
                  </a:moveTo>
                  <a:cubicBezTo>
                    <a:pt x="1898" y="1783"/>
                    <a:pt x="1850" y="1789"/>
                    <a:pt x="1850" y="1789"/>
                  </a:cubicBezTo>
                  <a:cubicBezTo>
                    <a:pt x="1846" y="1801"/>
                    <a:pt x="1846" y="1801"/>
                    <a:pt x="1846" y="1801"/>
                  </a:cubicBezTo>
                  <a:cubicBezTo>
                    <a:pt x="1835" y="1795"/>
                    <a:pt x="1835" y="1795"/>
                    <a:pt x="1835" y="1795"/>
                  </a:cubicBezTo>
                  <a:cubicBezTo>
                    <a:pt x="1829" y="1812"/>
                    <a:pt x="1829" y="1812"/>
                    <a:pt x="1829" y="1812"/>
                  </a:cubicBezTo>
                  <a:cubicBezTo>
                    <a:pt x="1829" y="1812"/>
                    <a:pt x="1799" y="1835"/>
                    <a:pt x="1818" y="1859"/>
                  </a:cubicBezTo>
                  <a:cubicBezTo>
                    <a:pt x="1838" y="1882"/>
                    <a:pt x="1851" y="1882"/>
                    <a:pt x="1851" y="1882"/>
                  </a:cubicBezTo>
                  <a:cubicBezTo>
                    <a:pt x="1907" y="1881"/>
                    <a:pt x="1903" y="1864"/>
                    <a:pt x="1905" y="1857"/>
                  </a:cubicBezTo>
                  <a:cubicBezTo>
                    <a:pt x="1906" y="1851"/>
                    <a:pt x="1902" y="1836"/>
                    <a:pt x="1902" y="1836"/>
                  </a:cubicBezTo>
                  <a:cubicBezTo>
                    <a:pt x="1902" y="1836"/>
                    <a:pt x="1927" y="1804"/>
                    <a:pt x="1912" y="1793"/>
                  </a:cubicBezTo>
                  <a:close/>
                  <a:moveTo>
                    <a:pt x="2441" y="416"/>
                  </a:moveTo>
                  <a:cubicBezTo>
                    <a:pt x="2438" y="399"/>
                    <a:pt x="2438" y="399"/>
                    <a:pt x="2438" y="399"/>
                  </a:cubicBezTo>
                  <a:cubicBezTo>
                    <a:pt x="2441" y="382"/>
                    <a:pt x="2441" y="382"/>
                    <a:pt x="2441" y="382"/>
                  </a:cubicBezTo>
                  <a:cubicBezTo>
                    <a:pt x="2430" y="375"/>
                    <a:pt x="2430" y="375"/>
                    <a:pt x="2430" y="375"/>
                  </a:cubicBezTo>
                  <a:cubicBezTo>
                    <a:pt x="2430" y="362"/>
                    <a:pt x="2430" y="362"/>
                    <a:pt x="2430" y="362"/>
                  </a:cubicBezTo>
                  <a:cubicBezTo>
                    <a:pt x="2423" y="352"/>
                    <a:pt x="2423" y="352"/>
                    <a:pt x="2423" y="352"/>
                  </a:cubicBezTo>
                  <a:cubicBezTo>
                    <a:pt x="2423" y="340"/>
                    <a:pt x="2423" y="340"/>
                    <a:pt x="2423" y="340"/>
                  </a:cubicBezTo>
                  <a:cubicBezTo>
                    <a:pt x="2415" y="330"/>
                    <a:pt x="2415" y="330"/>
                    <a:pt x="2415" y="330"/>
                  </a:cubicBezTo>
                  <a:cubicBezTo>
                    <a:pt x="2427" y="325"/>
                    <a:pt x="2427" y="325"/>
                    <a:pt x="2427" y="325"/>
                  </a:cubicBezTo>
                  <a:cubicBezTo>
                    <a:pt x="2427" y="305"/>
                    <a:pt x="2427" y="305"/>
                    <a:pt x="2427" y="305"/>
                  </a:cubicBezTo>
                  <a:cubicBezTo>
                    <a:pt x="2409" y="297"/>
                    <a:pt x="2409" y="297"/>
                    <a:pt x="2409" y="297"/>
                  </a:cubicBezTo>
                  <a:cubicBezTo>
                    <a:pt x="2409" y="297"/>
                    <a:pt x="2415" y="284"/>
                    <a:pt x="2405" y="276"/>
                  </a:cubicBezTo>
                  <a:cubicBezTo>
                    <a:pt x="2395" y="268"/>
                    <a:pt x="2370" y="274"/>
                    <a:pt x="2370" y="274"/>
                  </a:cubicBezTo>
                  <a:cubicBezTo>
                    <a:pt x="2365" y="288"/>
                    <a:pt x="2365" y="288"/>
                    <a:pt x="2365" y="288"/>
                  </a:cubicBezTo>
                  <a:cubicBezTo>
                    <a:pt x="2365" y="288"/>
                    <a:pt x="2337" y="287"/>
                    <a:pt x="2334" y="292"/>
                  </a:cubicBezTo>
                  <a:cubicBezTo>
                    <a:pt x="2331" y="297"/>
                    <a:pt x="2330" y="308"/>
                    <a:pt x="2330" y="308"/>
                  </a:cubicBezTo>
                  <a:cubicBezTo>
                    <a:pt x="2311" y="306"/>
                    <a:pt x="2311" y="306"/>
                    <a:pt x="2311" y="306"/>
                  </a:cubicBezTo>
                  <a:cubicBezTo>
                    <a:pt x="2311" y="313"/>
                    <a:pt x="2311" y="313"/>
                    <a:pt x="2311" y="313"/>
                  </a:cubicBezTo>
                  <a:cubicBezTo>
                    <a:pt x="2298" y="314"/>
                    <a:pt x="2298" y="314"/>
                    <a:pt x="2298" y="314"/>
                  </a:cubicBezTo>
                  <a:cubicBezTo>
                    <a:pt x="2290" y="304"/>
                    <a:pt x="2290" y="304"/>
                    <a:pt x="2290" y="304"/>
                  </a:cubicBezTo>
                  <a:cubicBezTo>
                    <a:pt x="2273" y="308"/>
                    <a:pt x="2273" y="308"/>
                    <a:pt x="2273" y="308"/>
                  </a:cubicBezTo>
                  <a:cubicBezTo>
                    <a:pt x="2248" y="288"/>
                    <a:pt x="2248" y="288"/>
                    <a:pt x="2248" y="288"/>
                  </a:cubicBezTo>
                  <a:cubicBezTo>
                    <a:pt x="2248" y="288"/>
                    <a:pt x="2247" y="280"/>
                    <a:pt x="2244" y="273"/>
                  </a:cubicBezTo>
                  <a:cubicBezTo>
                    <a:pt x="2241" y="266"/>
                    <a:pt x="2225" y="265"/>
                    <a:pt x="2225" y="265"/>
                  </a:cubicBezTo>
                  <a:cubicBezTo>
                    <a:pt x="2216" y="246"/>
                    <a:pt x="2216" y="246"/>
                    <a:pt x="2216" y="246"/>
                  </a:cubicBezTo>
                  <a:cubicBezTo>
                    <a:pt x="2192" y="246"/>
                    <a:pt x="2192" y="246"/>
                    <a:pt x="2192" y="246"/>
                  </a:cubicBezTo>
                  <a:cubicBezTo>
                    <a:pt x="2192" y="246"/>
                    <a:pt x="2154" y="218"/>
                    <a:pt x="2150" y="218"/>
                  </a:cubicBezTo>
                  <a:cubicBezTo>
                    <a:pt x="2146" y="218"/>
                    <a:pt x="2138" y="225"/>
                    <a:pt x="2138" y="225"/>
                  </a:cubicBezTo>
                  <a:cubicBezTo>
                    <a:pt x="2138" y="225"/>
                    <a:pt x="2122" y="209"/>
                    <a:pt x="2112" y="211"/>
                  </a:cubicBezTo>
                  <a:cubicBezTo>
                    <a:pt x="2102" y="213"/>
                    <a:pt x="2085" y="214"/>
                    <a:pt x="2077" y="209"/>
                  </a:cubicBezTo>
                  <a:cubicBezTo>
                    <a:pt x="2069" y="204"/>
                    <a:pt x="2050" y="194"/>
                    <a:pt x="2050" y="194"/>
                  </a:cubicBezTo>
                  <a:cubicBezTo>
                    <a:pt x="2046" y="178"/>
                    <a:pt x="2046" y="178"/>
                    <a:pt x="2046" y="178"/>
                  </a:cubicBezTo>
                  <a:cubicBezTo>
                    <a:pt x="2039" y="178"/>
                    <a:pt x="2039" y="178"/>
                    <a:pt x="2039" y="178"/>
                  </a:cubicBezTo>
                  <a:cubicBezTo>
                    <a:pt x="2039" y="178"/>
                    <a:pt x="2021" y="154"/>
                    <a:pt x="2011" y="145"/>
                  </a:cubicBezTo>
                  <a:cubicBezTo>
                    <a:pt x="2001" y="136"/>
                    <a:pt x="1980" y="134"/>
                    <a:pt x="1980" y="134"/>
                  </a:cubicBezTo>
                  <a:cubicBezTo>
                    <a:pt x="1969" y="112"/>
                    <a:pt x="1969" y="112"/>
                    <a:pt x="1969" y="112"/>
                  </a:cubicBezTo>
                  <a:cubicBezTo>
                    <a:pt x="1937" y="95"/>
                    <a:pt x="1937" y="95"/>
                    <a:pt x="1937" y="95"/>
                  </a:cubicBezTo>
                  <a:cubicBezTo>
                    <a:pt x="1934" y="76"/>
                    <a:pt x="1934" y="76"/>
                    <a:pt x="1934" y="76"/>
                  </a:cubicBezTo>
                  <a:cubicBezTo>
                    <a:pt x="1934" y="76"/>
                    <a:pt x="1919" y="71"/>
                    <a:pt x="1914" y="67"/>
                  </a:cubicBezTo>
                  <a:cubicBezTo>
                    <a:pt x="1909" y="63"/>
                    <a:pt x="1891" y="53"/>
                    <a:pt x="1891" y="53"/>
                  </a:cubicBezTo>
                  <a:cubicBezTo>
                    <a:pt x="1889" y="44"/>
                    <a:pt x="1889" y="44"/>
                    <a:pt x="1889" y="44"/>
                  </a:cubicBezTo>
                  <a:cubicBezTo>
                    <a:pt x="1889" y="44"/>
                    <a:pt x="1868" y="30"/>
                    <a:pt x="1861" y="29"/>
                  </a:cubicBezTo>
                  <a:cubicBezTo>
                    <a:pt x="1854" y="28"/>
                    <a:pt x="1835" y="27"/>
                    <a:pt x="1835" y="27"/>
                  </a:cubicBezTo>
                  <a:cubicBezTo>
                    <a:pt x="1820" y="30"/>
                    <a:pt x="1820" y="30"/>
                    <a:pt x="1820" y="30"/>
                  </a:cubicBezTo>
                  <a:cubicBezTo>
                    <a:pt x="1794" y="13"/>
                    <a:pt x="1794" y="13"/>
                    <a:pt x="1794" y="13"/>
                  </a:cubicBezTo>
                  <a:cubicBezTo>
                    <a:pt x="1769" y="0"/>
                    <a:pt x="1769" y="0"/>
                    <a:pt x="1769" y="0"/>
                  </a:cubicBezTo>
                  <a:cubicBezTo>
                    <a:pt x="1734" y="7"/>
                    <a:pt x="1734" y="7"/>
                    <a:pt x="1734" y="7"/>
                  </a:cubicBezTo>
                  <a:cubicBezTo>
                    <a:pt x="1706" y="5"/>
                    <a:pt x="1706" y="5"/>
                    <a:pt x="1706" y="5"/>
                  </a:cubicBezTo>
                  <a:cubicBezTo>
                    <a:pt x="1702" y="13"/>
                    <a:pt x="1702" y="13"/>
                    <a:pt x="1702" y="13"/>
                  </a:cubicBezTo>
                  <a:cubicBezTo>
                    <a:pt x="1678" y="16"/>
                    <a:pt x="1678" y="16"/>
                    <a:pt x="1678" y="16"/>
                  </a:cubicBezTo>
                  <a:cubicBezTo>
                    <a:pt x="1658" y="36"/>
                    <a:pt x="1658" y="36"/>
                    <a:pt x="1658" y="36"/>
                  </a:cubicBezTo>
                  <a:cubicBezTo>
                    <a:pt x="1658" y="36"/>
                    <a:pt x="1636" y="51"/>
                    <a:pt x="1651" y="54"/>
                  </a:cubicBezTo>
                  <a:cubicBezTo>
                    <a:pt x="1666" y="57"/>
                    <a:pt x="1678" y="59"/>
                    <a:pt x="1678" y="59"/>
                  </a:cubicBezTo>
                  <a:cubicBezTo>
                    <a:pt x="1678" y="59"/>
                    <a:pt x="1705" y="74"/>
                    <a:pt x="1704" y="80"/>
                  </a:cubicBezTo>
                  <a:cubicBezTo>
                    <a:pt x="1703" y="86"/>
                    <a:pt x="1691" y="91"/>
                    <a:pt x="1689" y="100"/>
                  </a:cubicBezTo>
                  <a:cubicBezTo>
                    <a:pt x="1687" y="109"/>
                    <a:pt x="1692" y="127"/>
                    <a:pt x="1692" y="127"/>
                  </a:cubicBezTo>
                  <a:cubicBezTo>
                    <a:pt x="1692" y="146"/>
                    <a:pt x="1692" y="146"/>
                    <a:pt x="1692" y="146"/>
                  </a:cubicBezTo>
                  <a:cubicBezTo>
                    <a:pt x="1693" y="171"/>
                    <a:pt x="1693" y="171"/>
                    <a:pt x="1693" y="171"/>
                  </a:cubicBezTo>
                  <a:cubicBezTo>
                    <a:pt x="1693" y="171"/>
                    <a:pt x="1717" y="181"/>
                    <a:pt x="1704" y="189"/>
                  </a:cubicBezTo>
                  <a:cubicBezTo>
                    <a:pt x="1691" y="197"/>
                    <a:pt x="1680" y="192"/>
                    <a:pt x="1680" y="192"/>
                  </a:cubicBezTo>
                  <a:cubicBezTo>
                    <a:pt x="1680" y="192"/>
                    <a:pt x="1676" y="214"/>
                    <a:pt x="1666" y="214"/>
                  </a:cubicBezTo>
                  <a:cubicBezTo>
                    <a:pt x="1656" y="214"/>
                    <a:pt x="1653" y="209"/>
                    <a:pt x="1653" y="209"/>
                  </a:cubicBezTo>
                  <a:cubicBezTo>
                    <a:pt x="1629" y="208"/>
                    <a:pt x="1629" y="208"/>
                    <a:pt x="1629" y="208"/>
                  </a:cubicBezTo>
                  <a:cubicBezTo>
                    <a:pt x="1606" y="194"/>
                    <a:pt x="1606" y="194"/>
                    <a:pt x="1606" y="194"/>
                  </a:cubicBezTo>
                  <a:cubicBezTo>
                    <a:pt x="1607" y="249"/>
                    <a:pt x="1607" y="249"/>
                    <a:pt x="1607" y="249"/>
                  </a:cubicBezTo>
                  <a:cubicBezTo>
                    <a:pt x="1612" y="255"/>
                    <a:pt x="1612" y="255"/>
                    <a:pt x="1612" y="255"/>
                  </a:cubicBezTo>
                  <a:cubicBezTo>
                    <a:pt x="1613" y="273"/>
                    <a:pt x="1613" y="273"/>
                    <a:pt x="1613" y="273"/>
                  </a:cubicBezTo>
                  <a:cubicBezTo>
                    <a:pt x="1617" y="279"/>
                    <a:pt x="1617" y="279"/>
                    <a:pt x="1617" y="279"/>
                  </a:cubicBezTo>
                  <a:cubicBezTo>
                    <a:pt x="1617" y="279"/>
                    <a:pt x="1612" y="282"/>
                    <a:pt x="1615" y="292"/>
                  </a:cubicBezTo>
                  <a:cubicBezTo>
                    <a:pt x="1618" y="302"/>
                    <a:pt x="1630" y="313"/>
                    <a:pt x="1639" y="310"/>
                  </a:cubicBezTo>
                  <a:cubicBezTo>
                    <a:pt x="1648" y="307"/>
                    <a:pt x="1632" y="300"/>
                    <a:pt x="1651" y="299"/>
                  </a:cubicBezTo>
                  <a:cubicBezTo>
                    <a:pt x="1670" y="298"/>
                    <a:pt x="1680" y="302"/>
                    <a:pt x="1680" y="302"/>
                  </a:cubicBezTo>
                  <a:cubicBezTo>
                    <a:pt x="1680" y="302"/>
                    <a:pt x="1691" y="313"/>
                    <a:pt x="1697" y="311"/>
                  </a:cubicBezTo>
                  <a:cubicBezTo>
                    <a:pt x="1703" y="309"/>
                    <a:pt x="1704" y="291"/>
                    <a:pt x="1704" y="291"/>
                  </a:cubicBezTo>
                  <a:cubicBezTo>
                    <a:pt x="1745" y="291"/>
                    <a:pt x="1745" y="291"/>
                    <a:pt x="1745" y="291"/>
                  </a:cubicBezTo>
                  <a:cubicBezTo>
                    <a:pt x="1745" y="291"/>
                    <a:pt x="1748" y="306"/>
                    <a:pt x="1757" y="307"/>
                  </a:cubicBezTo>
                  <a:cubicBezTo>
                    <a:pt x="1766" y="308"/>
                    <a:pt x="1769" y="308"/>
                    <a:pt x="1769" y="308"/>
                  </a:cubicBezTo>
                  <a:cubicBezTo>
                    <a:pt x="1769" y="308"/>
                    <a:pt x="1777" y="315"/>
                    <a:pt x="1786" y="322"/>
                  </a:cubicBezTo>
                  <a:cubicBezTo>
                    <a:pt x="1795" y="329"/>
                    <a:pt x="1813" y="333"/>
                    <a:pt x="1813" y="333"/>
                  </a:cubicBezTo>
                  <a:cubicBezTo>
                    <a:pt x="1813" y="333"/>
                    <a:pt x="1818" y="344"/>
                    <a:pt x="1827" y="350"/>
                  </a:cubicBezTo>
                  <a:cubicBezTo>
                    <a:pt x="1836" y="356"/>
                    <a:pt x="1839" y="362"/>
                    <a:pt x="1831" y="363"/>
                  </a:cubicBezTo>
                  <a:cubicBezTo>
                    <a:pt x="1823" y="364"/>
                    <a:pt x="1805" y="365"/>
                    <a:pt x="1805" y="365"/>
                  </a:cubicBezTo>
                  <a:cubicBezTo>
                    <a:pt x="1805" y="365"/>
                    <a:pt x="1797" y="356"/>
                    <a:pt x="1788" y="356"/>
                  </a:cubicBezTo>
                  <a:cubicBezTo>
                    <a:pt x="1779" y="356"/>
                    <a:pt x="1768" y="359"/>
                    <a:pt x="1768" y="359"/>
                  </a:cubicBezTo>
                  <a:cubicBezTo>
                    <a:pt x="1759" y="368"/>
                    <a:pt x="1759" y="368"/>
                    <a:pt x="1759" y="368"/>
                  </a:cubicBezTo>
                  <a:cubicBezTo>
                    <a:pt x="1753" y="371"/>
                    <a:pt x="1753" y="371"/>
                    <a:pt x="1753" y="371"/>
                  </a:cubicBezTo>
                  <a:cubicBezTo>
                    <a:pt x="1735" y="368"/>
                    <a:pt x="1735" y="368"/>
                    <a:pt x="1735" y="368"/>
                  </a:cubicBezTo>
                  <a:cubicBezTo>
                    <a:pt x="1735" y="379"/>
                    <a:pt x="1735" y="379"/>
                    <a:pt x="1735" y="379"/>
                  </a:cubicBezTo>
                  <a:cubicBezTo>
                    <a:pt x="1735" y="379"/>
                    <a:pt x="1710" y="380"/>
                    <a:pt x="1703" y="391"/>
                  </a:cubicBezTo>
                  <a:cubicBezTo>
                    <a:pt x="1696" y="402"/>
                    <a:pt x="1711" y="413"/>
                    <a:pt x="1711" y="413"/>
                  </a:cubicBezTo>
                  <a:cubicBezTo>
                    <a:pt x="1695" y="427"/>
                    <a:pt x="1695" y="427"/>
                    <a:pt x="1695" y="427"/>
                  </a:cubicBezTo>
                  <a:cubicBezTo>
                    <a:pt x="1695" y="427"/>
                    <a:pt x="1649" y="424"/>
                    <a:pt x="1646" y="427"/>
                  </a:cubicBezTo>
                  <a:cubicBezTo>
                    <a:pt x="1643" y="430"/>
                    <a:pt x="1645" y="446"/>
                    <a:pt x="1645" y="446"/>
                  </a:cubicBezTo>
                  <a:cubicBezTo>
                    <a:pt x="1645" y="446"/>
                    <a:pt x="1634" y="460"/>
                    <a:pt x="1627" y="462"/>
                  </a:cubicBezTo>
                  <a:cubicBezTo>
                    <a:pt x="1620" y="464"/>
                    <a:pt x="1593" y="465"/>
                    <a:pt x="1593" y="465"/>
                  </a:cubicBezTo>
                  <a:cubicBezTo>
                    <a:pt x="1593" y="465"/>
                    <a:pt x="1571" y="448"/>
                    <a:pt x="1567" y="447"/>
                  </a:cubicBezTo>
                  <a:cubicBezTo>
                    <a:pt x="1563" y="446"/>
                    <a:pt x="1545" y="440"/>
                    <a:pt x="1539" y="450"/>
                  </a:cubicBezTo>
                  <a:cubicBezTo>
                    <a:pt x="1533" y="460"/>
                    <a:pt x="1535" y="480"/>
                    <a:pt x="1541" y="484"/>
                  </a:cubicBezTo>
                  <a:cubicBezTo>
                    <a:pt x="1547" y="488"/>
                    <a:pt x="1578" y="511"/>
                    <a:pt x="1577" y="516"/>
                  </a:cubicBezTo>
                  <a:cubicBezTo>
                    <a:pt x="1576" y="521"/>
                    <a:pt x="1566" y="536"/>
                    <a:pt x="1562" y="536"/>
                  </a:cubicBezTo>
                  <a:cubicBezTo>
                    <a:pt x="1558" y="536"/>
                    <a:pt x="1548" y="533"/>
                    <a:pt x="1545" y="540"/>
                  </a:cubicBezTo>
                  <a:cubicBezTo>
                    <a:pt x="1542" y="547"/>
                    <a:pt x="1544" y="562"/>
                    <a:pt x="1536" y="569"/>
                  </a:cubicBezTo>
                  <a:cubicBezTo>
                    <a:pt x="1528" y="576"/>
                    <a:pt x="1511" y="574"/>
                    <a:pt x="1511" y="574"/>
                  </a:cubicBezTo>
                  <a:cubicBezTo>
                    <a:pt x="1499" y="587"/>
                    <a:pt x="1499" y="587"/>
                    <a:pt x="1499" y="587"/>
                  </a:cubicBezTo>
                  <a:cubicBezTo>
                    <a:pt x="1499" y="587"/>
                    <a:pt x="1409" y="584"/>
                    <a:pt x="1395" y="590"/>
                  </a:cubicBezTo>
                  <a:cubicBezTo>
                    <a:pt x="1381" y="596"/>
                    <a:pt x="1338" y="625"/>
                    <a:pt x="1332" y="630"/>
                  </a:cubicBezTo>
                  <a:cubicBezTo>
                    <a:pt x="1326" y="635"/>
                    <a:pt x="1306" y="627"/>
                    <a:pt x="1306" y="627"/>
                  </a:cubicBezTo>
                  <a:cubicBezTo>
                    <a:pt x="1306" y="627"/>
                    <a:pt x="1303" y="615"/>
                    <a:pt x="1297" y="615"/>
                  </a:cubicBezTo>
                  <a:cubicBezTo>
                    <a:pt x="1291" y="615"/>
                    <a:pt x="1270" y="624"/>
                    <a:pt x="1270" y="624"/>
                  </a:cubicBezTo>
                  <a:cubicBezTo>
                    <a:pt x="1270" y="624"/>
                    <a:pt x="1242" y="609"/>
                    <a:pt x="1228" y="608"/>
                  </a:cubicBezTo>
                  <a:cubicBezTo>
                    <a:pt x="1214" y="607"/>
                    <a:pt x="1203" y="609"/>
                    <a:pt x="1188" y="604"/>
                  </a:cubicBezTo>
                  <a:cubicBezTo>
                    <a:pt x="1173" y="599"/>
                    <a:pt x="1171" y="584"/>
                    <a:pt x="1161" y="581"/>
                  </a:cubicBezTo>
                  <a:cubicBezTo>
                    <a:pt x="1151" y="578"/>
                    <a:pt x="1112" y="578"/>
                    <a:pt x="1112" y="578"/>
                  </a:cubicBezTo>
                  <a:cubicBezTo>
                    <a:pt x="1112" y="578"/>
                    <a:pt x="1092" y="570"/>
                    <a:pt x="1087" y="570"/>
                  </a:cubicBezTo>
                  <a:cubicBezTo>
                    <a:pt x="1082" y="570"/>
                    <a:pt x="1068" y="581"/>
                    <a:pt x="1068" y="581"/>
                  </a:cubicBezTo>
                  <a:cubicBezTo>
                    <a:pt x="1043" y="576"/>
                    <a:pt x="1043" y="576"/>
                    <a:pt x="1043" y="576"/>
                  </a:cubicBezTo>
                  <a:cubicBezTo>
                    <a:pt x="1012" y="576"/>
                    <a:pt x="1012" y="576"/>
                    <a:pt x="1012" y="576"/>
                  </a:cubicBezTo>
                  <a:cubicBezTo>
                    <a:pt x="973" y="571"/>
                    <a:pt x="973" y="571"/>
                    <a:pt x="973" y="571"/>
                  </a:cubicBezTo>
                  <a:cubicBezTo>
                    <a:pt x="935" y="575"/>
                    <a:pt x="935" y="575"/>
                    <a:pt x="935" y="575"/>
                  </a:cubicBezTo>
                  <a:cubicBezTo>
                    <a:pt x="935" y="575"/>
                    <a:pt x="902" y="550"/>
                    <a:pt x="898" y="544"/>
                  </a:cubicBezTo>
                  <a:cubicBezTo>
                    <a:pt x="894" y="538"/>
                    <a:pt x="880" y="519"/>
                    <a:pt x="876" y="515"/>
                  </a:cubicBezTo>
                  <a:cubicBezTo>
                    <a:pt x="872" y="511"/>
                    <a:pt x="863" y="506"/>
                    <a:pt x="863" y="506"/>
                  </a:cubicBezTo>
                  <a:cubicBezTo>
                    <a:pt x="856" y="490"/>
                    <a:pt x="856" y="490"/>
                    <a:pt x="856" y="490"/>
                  </a:cubicBezTo>
                  <a:cubicBezTo>
                    <a:pt x="834" y="487"/>
                    <a:pt x="834" y="487"/>
                    <a:pt x="834" y="487"/>
                  </a:cubicBezTo>
                  <a:cubicBezTo>
                    <a:pt x="834" y="487"/>
                    <a:pt x="797" y="475"/>
                    <a:pt x="794" y="474"/>
                  </a:cubicBezTo>
                  <a:cubicBezTo>
                    <a:pt x="791" y="473"/>
                    <a:pt x="784" y="461"/>
                    <a:pt x="775" y="459"/>
                  </a:cubicBezTo>
                  <a:cubicBezTo>
                    <a:pt x="766" y="457"/>
                    <a:pt x="755" y="452"/>
                    <a:pt x="755" y="452"/>
                  </a:cubicBezTo>
                  <a:cubicBezTo>
                    <a:pt x="755" y="452"/>
                    <a:pt x="721" y="450"/>
                    <a:pt x="707" y="451"/>
                  </a:cubicBezTo>
                  <a:cubicBezTo>
                    <a:pt x="693" y="452"/>
                    <a:pt x="679" y="449"/>
                    <a:pt x="668" y="445"/>
                  </a:cubicBezTo>
                  <a:cubicBezTo>
                    <a:pt x="657" y="441"/>
                    <a:pt x="636" y="439"/>
                    <a:pt x="631" y="426"/>
                  </a:cubicBezTo>
                  <a:cubicBezTo>
                    <a:pt x="626" y="413"/>
                    <a:pt x="625" y="403"/>
                    <a:pt x="625" y="403"/>
                  </a:cubicBezTo>
                  <a:cubicBezTo>
                    <a:pt x="625" y="403"/>
                    <a:pt x="635" y="399"/>
                    <a:pt x="633" y="392"/>
                  </a:cubicBezTo>
                  <a:cubicBezTo>
                    <a:pt x="631" y="385"/>
                    <a:pt x="621" y="377"/>
                    <a:pt x="621" y="377"/>
                  </a:cubicBezTo>
                  <a:cubicBezTo>
                    <a:pt x="621" y="377"/>
                    <a:pt x="624" y="361"/>
                    <a:pt x="612" y="353"/>
                  </a:cubicBezTo>
                  <a:cubicBezTo>
                    <a:pt x="600" y="345"/>
                    <a:pt x="591" y="336"/>
                    <a:pt x="586" y="329"/>
                  </a:cubicBezTo>
                  <a:cubicBezTo>
                    <a:pt x="581" y="322"/>
                    <a:pt x="574" y="308"/>
                    <a:pt x="560" y="304"/>
                  </a:cubicBezTo>
                  <a:cubicBezTo>
                    <a:pt x="546" y="300"/>
                    <a:pt x="540" y="298"/>
                    <a:pt x="540" y="298"/>
                  </a:cubicBezTo>
                  <a:cubicBezTo>
                    <a:pt x="525" y="290"/>
                    <a:pt x="525" y="290"/>
                    <a:pt x="525" y="290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487" y="280"/>
                    <a:pt x="487" y="280"/>
                    <a:pt x="487" y="280"/>
                  </a:cubicBezTo>
                  <a:cubicBezTo>
                    <a:pt x="481" y="272"/>
                    <a:pt x="481" y="272"/>
                    <a:pt x="481" y="272"/>
                  </a:cubicBezTo>
                  <a:cubicBezTo>
                    <a:pt x="481" y="272"/>
                    <a:pt x="457" y="269"/>
                    <a:pt x="452" y="264"/>
                  </a:cubicBezTo>
                  <a:cubicBezTo>
                    <a:pt x="447" y="259"/>
                    <a:pt x="451" y="251"/>
                    <a:pt x="451" y="251"/>
                  </a:cubicBezTo>
                  <a:cubicBezTo>
                    <a:pt x="433" y="251"/>
                    <a:pt x="433" y="251"/>
                    <a:pt x="433" y="251"/>
                  </a:cubicBezTo>
                  <a:cubicBezTo>
                    <a:pt x="433" y="251"/>
                    <a:pt x="443" y="239"/>
                    <a:pt x="435" y="235"/>
                  </a:cubicBezTo>
                  <a:cubicBezTo>
                    <a:pt x="427" y="231"/>
                    <a:pt x="414" y="238"/>
                    <a:pt x="414" y="238"/>
                  </a:cubicBezTo>
                  <a:cubicBezTo>
                    <a:pt x="414" y="238"/>
                    <a:pt x="388" y="230"/>
                    <a:pt x="387" y="239"/>
                  </a:cubicBezTo>
                  <a:cubicBezTo>
                    <a:pt x="386" y="248"/>
                    <a:pt x="405" y="251"/>
                    <a:pt x="399" y="260"/>
                  </a:cubicBezTo>
                  <a:cubicBezTo>
                    <a:pt x="393" y="269"/>
                    <a:pt x="364" y="259"/>
                    <a:pt x="359" y="273"/>
                  </a:cubicBezTo>
                  <a:cubicBezTo>
                    <a:pt x="354" y="287"/>
                    <a:pt x="364" y="296"/>
                    <a:pt x="373" y="309"/>
                  </a:cubicBezTo>
                  <a:cubicBezTo>
                    <a:pt x="382" y="322"/>
                    <a:pt x="388" y="333"/>
                    <a:pt x="381" y="338"/>
                  </a:cubicBezTo>
                  <a:cubicBezTo>
                    <a:pt x="374" y="343"/>
                    <a:pt x="366" y="342"/>
                    <a:pt x="366" y="342"/>
                  </a:cubicBezTo>
                  <a:cubicBezTo>
                    <a:pt x="355" y="354"/>
                    <a:pt x="355" y="354"/>
                    <a:pt x="355" y="354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25" y="348"/>
                    <a:pt x="317" y="346"/>
                  </a:cubicBezTo>
                  <a:cubicBezTo>
                    <a:pt x="309" y="344"/>
                    <a:pt x="284" y="332"/>
                    <a:pt x="278" y="332"/>
                  </a:cubicBezTo>
                  <a:cubicBezTo>
                    <a:pt x="272" y="332"/>
                    <a:pt x="273" y="347"/>
                    <a:pt x="273" y="359"/>
                  </a:cubicBezTo>
                  <a:cubicBezTo>
                    <a:pt x="273" y="371"/>
                    <a:pt x="269" y="423"/>
                    <a:pt x="273" y="425"/>
                  </a:cubicBezTo>
                  <a:cubicBezTo>
                    <a:pt x="277" y="427"/>
                    <a:pt x="300" y="429"/>
                    <a:pt x="291" y="440"/>
                  </a:cubicBezTo>
                  <a:cubicBezTo>
                    <a:pt x="282" y="451"/>
                    <a:pt x="275" y="437"/>
                    <a:pt x="275" y="437"/>
                  </a:cubicBezTo>
                  <a:cubicBezTo>
                    <a:pt x="262" y="444"/>
                    <a:pt x="262" y="444"/>
                    <a:pt x="262" y="444"/>
                  </a:cubicBezTo>
                  <a:cubicBezTo>
                    <a:pt x="262" y="444"/>
                    <a:pt x="253" y="430"/>
                    <a:pt x="248" y="430"/>
                  </a:cubicBezTo>
                  <a:cubicBezTo>
                    <a:pt x="243" y="430"/>
                    <a:pt x="219" y="440"/>
                    <a:pt x="213" y="441"/>
                  </a:cubicBezTo>
                  <a:cubicBezTo>
                    <a:pt x="207" y="442"/>
                    <a:pt x="176" y="449"/>
                    <a:pt x="183" y="458"/>
                  </a:cubicBezTo>
                  <a:cubicBezTo>
                    <a:pt x="190" y="467"/>
                    <a:pt x="208" y="464"/>
                    <a:pt x="208" y="464"/>
                  </a:cubicBezTo>
                  <a:cubicBezTo>
                    <a:pt x="208" y="464"/>
                    <a:pt x="208" y="490"/>
                    <a:pt x="216" y="499"/>
                  </a:cubicBezTo>
                  <a:cubicBezTo>
                    <a:pt x="224" y="508"/>
                    <a:pt x="254" y="539"/>
                    <a:pt x="254" y="546"/>
                  </a:cubicBezTo>
                  <a:cubicBezTo>
                    <a:pt x="254" y="553"/>
                    <a:pt x="238" y="550"/>
                    <a:pt x="238" y="553"/>
                  </a:cubicBezTo>
                  <a:cubicBezTo>
                    <a:pt x="238" y="556"/>
                    <a:pt x="249" y="568"/>
                    <a:pt x="249" y="568"/>
                  </a:cubicBezTo>
                  <a:cubicBezTo>
                    <a:pt x="249" y="568"/>
                    <a:pt x="235" y="566"/>
                    <a:pt x="235" y="571"/>
                  </a:cubicBezTo>
                  <a:cubicBezTo>
                    <a:pt x="235" y="576"/>
                    <a:pt x="239" y="587"/>
                    <a:pt x="244" y="592"/>
                  </a:cubicBezTo>
                  <a:cubicBezTo>
                    <a:pt x="249" y="597"/>
                    <a:pt x="251" y="610"/>
                    <a:pt x="248" y="611"/>
                  </a:cubicBezTo>
                  <a:cubicBezTo>
                    <a:pt x="245" y="612"/>
                    <a:pt x="231" y="612"/>
                    <a:pt x="231" y="612"/>
                  </a:cubicBezTo>
                  <a:cubicBezTo>
                    <a:pt x="199" y="625"/>
                    <a:pt x="199" y="625"/>
                    <a:pt x="199" y="625"/>
                  </a:cubicBezTo>
                  <a:cubicBezTo>
                    <a:pt x="199" y="625"/>
                    <a:pt x="180" y="642"/>
                    <a:pt x="180" y="645"/>
                  </a:cubicBezTo>
                  <a:cubicBezTo>
                    <a:pt x="180" y="648"/>
                    <a:pt x="180" y="666"/>
                    <a:pt x="168" y="666"/>
                  </a:cubicBezTo>
                  <a:cubicBezTo>
                    <a:pt x="156" y="666"/>
                    <a:pt x="137" y="658"/>
                    <a:pt x="129" y="659"/>
                  </a:cubicBezTo>
                  <a:cubicBezTo>
                    <a:pt x="121" y="660"/>
                    <a:pt x="113" y="673"/>
                    <a:pt x="112" y="682"/>
                  </a:cubicBezTo>
                  <a:cubicBezTo>
                    <a:pt x="111" y="691"/>
                    <a:pt x="106" y="700"/>
                    <a:pt x="106" y="700"/>
                  </a:cubicBezTo>
                  <a:cubicBezTo>
                    <a:pt x="87" y="695"/>
                    <a:pt x="87" y="695"/>
                    <a:pt x="87" y="695"/>
                  </a:cubicBezTo>
                  <a:cubicBezTo>
                    <a:pt x="80" y="702"/>
                    <a:pt x="80" y="702"/>
                    <a:pt x="80" y="702"/>
                  </a:cubicBezTo>
                  <a:cubicBezTo>
                    <a:pt x="80" y="702"/>
                    <a:pt x="69" y="683"/>
                    <a:pt x="63" y="683"/>
                  </a:cubicBezTo>
                  <a:cubicBezTo>
                    <a:pt x="57" y="683"/>
                    <a:pt x="52" y="692"/>
                    <a:pt x="52" y="692"/>
                  </a:cubicBezTo>
                  <a:cubicBezTo>
                    <a:pt x="33" y="694"/>
                    <a:pt x="33" y="694"/>
                    <a:pt x="33" y="694"/>
                  </a:cubicBezTo>
                  <a:cubicBezTo>
                    <a:pt x="33" y="704"/>
                    <a:pt x="33" y="704"/>
                    <a:pt x="33" y="704"/>
                  </a:cubicBezTo>
                  <a:cubicBezTo>
                    <a:pt x="33" y="704"/>
                    <a:pt x="0" y="719"/>
                    <a:pt x="1" y="722"/>
                  </a:cubicBezTo>
                  <a:cubicBezTo>
                    <a:pt x="2" y="725"/>
                    <a:pt x="13" y="738"/>
                    <a:pt x="13" y="742"/>
                  </a:cubicBezTo>
                  <a:cubicBezTo>
                    <a:pt x="13" y="746"/>
                    <a:pt x="1" y="744"/>
                    <a:pt x="1" y="744"/>
                  </a:cubicBezTo>
                  <a:cubicBezTo>
                    <a:pt x="1" y="761"/>
                    <a:pt x="1" y="761"/>
                    <a:pt x="1" y="761"/>
                  </a:cubicBezTo>
                  <a:cubicBezTo>
                    <a:pt x="1" y="761"/>
                    <a:pt x="15" y="758"/>
                    <a:pt x="15" y="765"/>
                  </a:cubicBezTo>
                  <a:cubicBezTo>
                    <a:pt x="15" y="772"/>
                    <a:pt x="7" y="790"/>
                    <a:pt x="17" y="794"/>
                  </a:cubicBezTo>
                  <a:cubicBezTo>
                    <a:pt x="27" y="798"/>
                    <a:pt x="31" y="783"/>
                    <a:pt x="45" y="787"/>
                  </a:cubicBezTo>
                  <a:cubicBezTo>
                    <a:pt x="59" y="791"/>
                    <a:pt x="71" y="794"/>
                    <a:pt x="71" y="804"/>
                  </a:cubicBezTo>
                  <a:cubicBezTo>
                    <a:pt x="71" y="814"/>
                    <a:pt x="72" y="836"/>
                    <a:pt x="79" y="843"/>
                  </a:cubicBezTo>
                  <a:cubicBezTo>
                    <a:pt x="86" y="850"/>
                    <a:pt x="98" y="853"/>
                    <a:pt x="90" y="859"/>
                  </a:cubicBezTo>
                  <a:cubicBezTo>
                    <a:pt x="82" y="865"/>
                    <a:pt x="62" y="857"/>
                    <a:pt x="65" y="868"/>
                  </a:cubicBezTo>
                  <a:cubicBezTo>
                    <a:pt x="68" y="879"/>
                    <a:pt x="90" y="880"/>
                    <a:pt x="90" y="880"/>
                  </a:cubicBezTo>
                  <a:cubicBezTo>
                    <a:pt x="111" y="880"/>
                    <a:pt x="111" y="880"/>
                    <a:pt x="111" y="880"/>
                  </a:cubicBezTo>
                  <a:cubicBezTo>
                    <a:pt x="114" y="889"/>
                    <a:pt x="114" y="889"/>
                    <a:pt x="114" y="889"/>
                  </a:cubicBezTo>
                  <a:cubicBezTo>
                    <a:pt x="114" y="889"/>
                    <a:pt x="129" y="890"/>
                    <a:pt x="138" y="900"/>
                  </a:cubicBezTo>
                  <a:cubicBezTo>
                    <a:pt x="147" y="910"/>
                    <a:pt x="148" y="931"/>
                    <a:pt x="148" y="931"/>
                  </a:cubicBezTo>
                  <a:cubicBezTo>
                    <a:pt x="169" y="939"/>
                    <a:pt x="169" y="939"/>
                    <a:pt x="169" y="939"/>
                  </a:cubicBezTo>
                  <a:cubicBezTo>
                    <a:pt x="177" y="935"/>
                    <a:pt x="177" y="935"/>
                    <a:pt x="177" y="935"/>
                  </a:cubicBezTo>
                  <a:cubicBezTo>
                    <a:pt x="177" y="935"/>
                    <a:pt x="182" y="955"/>
                    <a:pt x="201" y="956"/>
                  </a:cubicBezTo>
                  <a:cubicBezTo>
                    <a:pt x="220" y="957"/>
                    <a:pt x="246" y="957"/>
                    <a:pt x="246" y="957"/>
                  </a:cubicBezTo>
                  <a:cubicBezTo>
                    <a:pt x="246" y="957"/>
                    <a:pt x="277" y="928"/>
                    <a:pt x="294" y="934"/>
                  </a:cubicBezTo>
                  <a:cubicBezTo>
                    <a:pt x="311" y="940"/>
                    <a:pt x="313" y="954"/>
                    <a:pt x="324" y="956"/>
                  </a:cubicBezTo>
                  <a:cubicBezTo>
                    <a:pt x="335" y="958"/>
                    <a:pt x="349" y="956"/>
                    <a:pt x="349" y="956"/>
                  </a:cubicBezTo>
                  <a:cubicBezTo>
                    <a:pt x="349" y="956"/>
                    <a:pt x="353" y="992"/>
                    <a:pt x="349" y="997"/>
                  </a:cubicBezTo>
                  <a:cubicBezTo>
                    <a:pt x="345" y="1002"/>
                    <a:pt x="336" y="1002"/>
                    <a:pt x="336" y="1002"/>
                  </a:cubicBezTo>
                  <a:cubicBezTo>
                    <a:pt x="336" y="1002"/>
                    <a:pt x="342" y="1026"/>
                    <a:pt x="333" y="1031"/>
                  </a:cubicBezTo>
                  <a:cubicBezTo>
                    <a:pt x="324" y="1036"/>
                    <a:pt x="305" y="1035"/>
                    <a:pt x="305" y="1035"/>
                  </a:cubicBezTo>
                  <a:cubicBezTo>
                    <a:pt x="317" y="1051"/>
                    <a:pt x="317" y="1051"/>
                    <a:pt x="317" y="1051"/>
                  </a:cubicBezTo>
                  <a:cubicBezTo>
                    <a:pt x="306" y="1057"/>
                    <a:pt x="306" y="1057"/>
                    <a:pt x="306" y="1057"/>
                  </a:cubicBezTo>
                  <a:cubicBezTo>
                    <a:pt x="306" y="1057"/>
                    <a:pt x="300" y="1068"/>
                    <a:pt x="315" y="1075"/>
                  </a:cubicBezTo>
                  <a:cubicBezTo>
                    <a:pt x="330" y="1082"/>
                    <a:pt x="335" y="1085"/>
                    <a:pt x="335" y="1085"/>
                  </a:cubicBezTo>
                  <a:cubicBezTo>
                    <a:pt x="340" y="1094"/>
                    <a:pt x="340" y="1094"/>
                    <a:pt x="340" y="1094"/>
                  </a:cubicBezTo>
                  <a:cubicBezTo>
                    <a:pt x="340" y="1094"/>
                    <a:pt x="359" y="1109"/>
                    <a:pt x="351" y="1114"/>
                  </a:cubicBezTo>
                  <a:cubicBezTo>
                    <a:pt x="343" y="1119"/>
                    <a:pt x="334" y="1122"/>
                    <a:pt x="334" y="1122"/>
                  </a:cubicBezTo>
                  <a:cubicBezTo>
                    <a:pt x="328" y="1131"/>
                    <a:pt x="328" y="1131"/>
                    <a:pt x="328" y="1131"/>
                  </a:cubicBezTo>
                  <a:cubicBezTo>
                    <a:pt x="318" y="1123"/>
                    <a:pt x="318" y="1123"/>
                    <a:pt x="318" y="1123"/>
                  </a:cubicBezTo>
                  <a:cubicBezTo>
                    <a:pt x="318" y="1123"/>
                    <a:pt x="320" y="1113"/>
                    <a:pt x="316" y="1113"/>
                  </a:cubicBezTo>
                  <a:cubicBezTo>
                    <a:pt x="312" y="1113"/>
                    <a:pt x="299" y="1118"/>
                    <a:pt x="301" y="1128"/>
                  </a:cubicBezTo>
                  <a:cubicBezTo>
                    <a:pt x="303" y="1138"/>
                    <a:pt x="323" y="1149"/>
                    <a:pt x="323" y="1149"/>
                  </a:cubicBezTo>
                  <a:cubicBezTo>
                    <a:pt x="323" y="1149"/>
                    <a:pt x="316" y="1174"/>
                    <a:pt x="323" y="1177"/>
                  </a:cubicBezTo>
                  <a:cubicBezTo>
                    <a:pt x="330" y="1180"/>
                    <a:pt x="341" y="1175"/>
                    <a:pt x="341" y="1175"/>
                  </a:cubicBezTo>
                  <a:cubicBezTo>
                    <a:pt x="341" y="1175"/>
                    <a:pt x="345" y="1190"/>
                    <a:pt x="356" y="1194"/>
                  </a:cubicBezTo>
                  <a:cubicBezTo>
                    <a:pt x="367" y="1198"/>
                    <a:pt x="377" y="1200"/>
                    <a:pt x="377" y="1200"/>
                  </a:cubicBezTo>
                  <a:cubicBezTo>
                    <a:pt x="392" y="1211"/>
                    <a:pt x="392" y="1211"/>
                    <a:pt x="392" y="1211"/>
                  </a:cubicBezTo>
                  <a:cubicBezTo>
                    <a:pt x="403" y="1210"/>
                    <a:pt x="403" y="1210"/>
                    <a:pt x="403" y="1210"/>
                  </a:cubicBezTo>
                  <a:cubicBezTo>
                    <a:pt x="403" y="1210"/>
                    <a:pt x="397" y="1218"/>
                    <a:pt x="403" y="1221"/>
                  </a:cubicBezTo>
                  <a:cubicBezTo>
                    <a:pt x="409" y="1224"/>
                    <a:pt x="420" y="1224"/>
                    <a:pt x="420" y="1224"/>
                  </a:cubicBezTo>
                  <a:cubicBezTo>
                    <a:pt x="447" y="1249"/>
                    <a:pt x="447" y="1249"/>
                    <a:pt x="447" y="1249"/>
                  </a:cubicBezTo>
                  <a:cubicBezTo>
                    <a:pt x="462" y="1236"/>
                    <a:pt x="462" y="1236"/>
                    <a:pt x="462" y="1236"/>
                  </a:cubicBezTo>
                  <a:cubicBezTo>
                    <a:pt x="462" y="1236"/>
                    <a:pt x="475" y="1219"/>
                    <a:pt x="489" y="1234"/>
                  </a:cubicBezTo>
                  <a:cubicBezTo>
                    <a:pt x="503" y="1249"/>
                    <a:pt x="521" y="1263"/>
                    <a:pt x="521" y="1263"/>
                  </a:cubicBezTo>
                  <a:cubicBezTo>
                    <a:pt x="552" y="1269"/>
                    <a:pt x="552" y="1269"/>
                    <a:pt x="552" y="1269"/>
                  </a:cubicBezTo>
                  <a:cubicBezTo>
                    <a:pt x="552" y="1269"/>
                    <a:pt x="567" y="1301"/>
                    <a:pt x="571" y="1302"/>
                  </a:cubicBezTo>
                  <a:cubicBezTo>
                    <a:pt x="575" y="1303"/>
                    <a:pt x="579" y="1278"/>
                    <a:pt x="590" y="1285"/>
                  </a:cubicBezTo>
                  <a:cubicBezTo>
                    <a:pt x="601" y="1292"/>
                    <a:pt x="596" y="1308"/>
                    <a:pt x="604" y="1314"/>
                  </a:cubicBezTo>
                  <a:cubicBezTo>
                    <a:pt x="612" y="1320"/>
                    <a:pt x="626" y="1332"/>
                    <a:pt x="626" y="1332"/>
                  </a:cubicBezTo>
                  <a:cubicBezTo>
                    <a:pt x="626" y="1332"/>
                    <a:pt x="641" y="1321"/>
                    <a:pt x="646" y="1328"/>
                  </a:cubicBezTo>
                  <a:cubicBezTo>
                    <a:pt x="651" y="1335"/>
                    <a:pt x="634" y="1338"/>
                    <a:pt x="650" y="1345"/>
                  </a:cubicBezTo>
                  <a:cubicBezTo>
                    <a:pt x="666" y="1352"/>
                    <a:pt x="678" y="1343"/>
                    <a:pt x="678" y="1343"/>
                  </a:cubicBezTo>
                  <a:cubicBezTo>
                    <a:pt x="678" y="1343"/>
                    <a:pt x="678" y="1361"/>
                    <a:pt x="687" y="1362"/>
                  </a:cubicBezTo>
                  <a:cubicBezTo>
                    <a:pt x="696" y="1363"/>
                    <a:pt x="698" y="1349"/>
                    <a:pt x="698" y="1349"/>
                  </a:cubicBezTo>
                  <a:cubicBezTo>
                    <a:pt x="698" y="1349"/>
                    <a:pt x="697" y="1363"/>
                    <a:pt x="707" y="1362"/>
                  </a:cubicBezTo>
                  <a:cubicBezTo>
                    <a:pt x="717" y="1361"/>
                    <a:pt x="719" y="1353"/>
                    <a:pt x="719" y="1353"/>
                  </a:cubicBezTo>
                  <a:cubicBezTo>
                    <a:pt x="719" y="1353"/>
                    <a:pt x="752" y="1373"/>
                    <a:pt x="766" y="1372"/>
                  </a:cubicBezTo>
                  <a:cubicBezTo>
                    <a:pt x="780" y="1371"/>
                    <a:pt x="806" y="1346"/>
                    <a:pt x="817" y="1355"/>
                  </a:cubicBezTo>
                  <a:cubicBezTo>
                    <a:pt x="828" y="1364"/>
                    <a:pt x="817" y="1392"/>
                    <a:pt x="822" y="1394"/>
                  </a:cubicBezTo>
                  <a:cubicBezTo>
                    <a:pt x="827" y="1396"/>
                    <a:pt x="832" y="1395"/>
                    <a:pt x="832" y="1395"/>
                  </a:cubicBezTo>
                  <a:cubicBezTo>
                    <a:pt x="832" y="1395"/>
                    <a:pt x="856" y="1339"/>
                    <a:pt x="870" y="1344"/>
                  </a:cubicBezTo>
                  <a:cubicBezTo>
                    <a:pt x="884" y="1349"/>
                    <a:pt x="894" y="1350"/>
                    <a:pt x="894" y="1350"/>
                  </a:cubicBezTo>
                  <a:cubicBezTo>
                    <a:pt x="894" y="1364"/>
                    <a:pt x="894" y="1364"/>
                    <a:pt x="894" y="1364"/>
                  </a:cubicBezTo>
                  <a:cubicBezTo>
                    <a:pt x="894" y="1364"/>
                    <a:pt x="930" y="1346"/>
                    <a:pt x="943" y="1357"/>
                  </a:cubicBezTo>
                  <a:cubicBezTo>
                    <a:pt x="956" y="1368"/>
                    <a:pt x="956" y="1378"/>
                    <a:pt x="956" y="1378"/>
                  </a:cubicBezTo>
                  <a:cubicBezTo>
                    <a:pt x="956" y="1378"/>
                    <a:pt x="987" y="1380"/>
                    <a:pt x="995" y="1373"/>
                  </a:cubicBezTo>
                  <a:cubicBezTo>
                    <a:pt x="1003" y="1366"/>
                    <a:pt x="995" y="1350"/>
                    <a:pt x="995" y="1350"/>
                  </a:cubicBezTo>
                  <a:cubicBezTo>
                    <a:pt x="995" y="1350"/>
                    <a:pt x="1016" y="1348"/>
                    <a:pt x="1018" y="1343"/>
                  </a:cubicBezTo>
                  <a:cubicBezTo>
                    <a:pt x="1020" y="1338"/>
                    <a:pt x="1013" y="1322"/>
                    <a:pt x="1013" y="1322"/>
                  </a:cubicBezTo>
                  <a:cubicBezTo>
                    <a:pt x="1013" y="1322"/>
                    <a:pt x="1037" y="1326"/>
                    <a:pt x="1044" y="1318"/>
                  </a:cubicBezTo>
                  <a:cubicBezTo>
                    <a:pt x="1051" y="1310"/>
                    <a:pt x="1068" y="1291"/>
                    <a:pt x="1076" y="1291"/>
                  </a:cubicBezTo>
                  <a:cubicBezTo>
                    <a:pt x="1084" y="1291"/>
                    <a:pt x="1098" y="1305"/>
                    <a:pt x="1109" y="1305"/>
                  </a:cubicBezTo>
                  <a:cubicBezTo>
                    <a:pt x="1120" y="1305"/>
                    <a:pt x="1112" y="1274"/>
                    <a:pt x="1130" y="1283"/>
                  </a:cubicBezTo>
                  <a:cubicBezTo>
                    <a:pt x="1148" y="1292"/>
                    <a:pt x="1149" y="1297"/>
                    <a:pt x="1149" y="1297"/>
                  </a:cubicBezTo>
                  <a:cubicBezTo>
                    <a:pt x="1149" y="1297"/>
                    <a:pt x="1133" y="1305"/>
                    <a:pt x="1142" y="1307"/>
                  </a:cubicBezTo>
                  <a:cubicBezTo>
                    <a:pt x="1151" y="1309"/>
                    <a:pt x="1162" y="1308"/>
                    <a:pt x="1162" y="1308"/>
                  </a:cubicBezTo>
                  <a:cubicBezTo>
                    <a:pt x="1173" y="1328"/>
                    <a:pt x="1173" y="1328"/>
                    <a:pt x="1173" y="1328"/>
                  </a:cubicBezTo>
                  <a:cubicBezTo>
                    <a:pt x="1173" y="1328"/>
                    <a:pt x="1153" y="1337"/>
                    <a:pt x="1161" y="1339"/>
                  </a:cubicBezTo>
                  <a:cubicBezTo>
                    <a:pt x="1169" y="1341"/>
                    <a:pt x="1184" y="1341"/>
                    <a:pt x="1191" y="1341"/>
                  </a:cubicBezTo>
                  <a:cubicBezTo>
                    <a:pt x="1198" y="1341"/>
                    <a:pt x="1213" y="1345"/>
                    <a:pt x="1213" y="1345"/>
                  </a:cubicBezTo>
                  <a:cubicBezTo>
                    <a:pt x="1217" y="1332"/>
                    <a:pt x="1217" y="1332"/>
                    <a:pt x="1217" y="1332"/>
                  </a:cubicBezTo>
                  <a:cubicBezTo>
                    <a:pt x="1217" y="1332"/>
                    <a:pt x="1231" y="1339"/>
                    <a:pt x="1239" y="1347"/>
                  </a:cubicBezTo>
                  <a:cubicBezTo>
                    <a:pt x="1247" y="1355"/>
                    <a:pt x="1256" y="1382"/>
                    <a:pt x="1256" y="1382"/>
                  </a:cubicBezTo>
                  <a:cubicBezTo>
                    <a:pt x="1256" y="1382"/>
                    <a:pt x="1271" y="1380"/>
                    <a:pt x="1278" y="1382"/>
                  </a:cubicBezTo>
                  <a:cubicBezTo>
                    <a:pt x="1285" y="1384"/>
                    <a:pt x="1283" y="1406"/>
                    <a:pt x="1283" y="1406"/>
                  </a:cubicBezTo>
                  <a:cubicBezTo>
                    <a:pt x="1291" y="1422"/>
                    <a:pt x="1291" y="1422"/>
                    <a:pt x="1291" y="1422"/>
                  </a:cubicBezTo>
                  <a:cubicBezTo>
                    <a:pt x="1298" y="1459"/>
                    <a:pt x="1298" y="1459"/>
                    <a:pt x="1298" y="1459"/>
                  </a:cubicBezTo>
                  <a:cubicBezTo>
                    <a:pt x="1298" y="1459"/>
                    <a:pt x="1288" y="1465"/>
                    <a:pt x="1281" y="1465"/>
                  </a:cubicBezTo>
                  <a:cubicBezTo>
                    <a:pt x="1274" y="1465"/>
                    <a:pt x="1290" y="1476"/>
                    <a:pt x="1290" y="1476"/>
                  </a:cubicBezTo>
                  <a:cubicBezTo>
                    <a:pt x="1290" y="1476"/>
                    <a:pt x="1289" y="1482"/>
                    <a:pt x="1286" y="1489"/>
                  </a:cubicBezTo>
                  <a:cubicBezTo>
                    <a:pt x="1283" y="1496"/>
                    <a:pt x="1271" y="1488"/>
                    <a:pt x="1271" y="1488"/>
                  </a:cubicBezTo>
                  <a:cubicBezTo>
                    <a:pt x="1271" y="1488"/>
                    <a:pt x="1272" y="1497"/>
                    <a:pt x="1271" y="1508"/>
                  </a:cubicBezTo>
                  <a:cubicBezTo>
                    <a:pt x="1270" y="1519"/>
                    <a:pt x="1259" y="1515"/>
                    <a:pt x="1259" y="1515"/>
                  </a:cubicBezTo>
                  <a:cubicBezTo>
                    <a:pt x="1261" y="1535"/>
                    <a:pt x="1261" y="1535"/>
                    <a:pt x="1261" y="1535"/>
                  </a:cubicBezTo>
                  <a:cubicBezTo>
                    <a:pt x="1254" y="1538"/>
                    <a:pt x="1254" y="1538"/>
                    <a:pt x="1254" y="1538"/>
                  </a:cubicBezTo>
                  <a:cubicBezTo>
                    <a:pt x="1254" y="1538"/>
                    <a:pt x="1255" y="1547"/>
                    <a:pt x="1260" y="1552"/>
                  </a:cubicBezTo>
                  <a:cubicBezTo>
                    <a:pt x="1265" y="1557"/>
                    <a:pt x="1270" y="1567"/>
                    <a:pt x="1270" y="1567"/>
                  </a:cubicBezTo>
                  <a:cubicBezTo>
                    <a:pt x="1264" y="1581"/>
                    <a:pt x="1264" y="1581"/>
                    <a:pt x="1264" y="1581"/>
                  </a:cubicBezTo>
                  <a:cubicBezTo>
                    <a:pt x="1264" y="1581"/>
                    <a:pt x="1280" y="1571"/>
                    <a:pt x="1288" y="1570"/>
                  </a:cubicBezTo>
                  <a:cubicBezTo>
                    <a:pt x="1296" y="1569"/>
                    <a:pt x="1325" y="1569"/>
                    <a:pt x="1325" y="1569"/>
                  </a:cubicBezTo>
                  <a:cubicBezTo>
                    <a:pt x="1308" y="1584"/>
                    <a:pt x="1308" y="1584"/>
                    <a:pt x="1308" y="1584"/>
                  </a:cubicBezTo>
                  <a:cubicBezTo>
                    <a:pt x="1324" y="1597"/>
                    <a:pt x="1324" y="1597"/>
                    <a:pt x="1324" y="1597"/>
                  </a:cubicBezTo>
                  <a:cubicBezTo>
                    <a:pt x="1329" y="1624"/>
                    <a:pt x="1329" y="1624"/>
                    <a:pt x="1329" y="1624"/>
                  </a:cubicBezTo>
                  <a:cubicBezTo>
                    <a:pt x="1329" y="1624"/>
                    <a:pt x="1357" y="1625"/>
                    <a:pt x="1364" y="1631"/>
                  </a:cubicBezTo>
                  <a:cubicBezTo>
                    <a:pt x="1371" y="1637"/>
                    <a:pt x="1348" y="1646"/>
                    <a:pt x="1348" y="1646"/>
                  </a:cubicBezTo>
                  <a:cubicBezTo>
                    <a:pt x="1348" y="1646"/>
                    <a:pt x="1357" y="1658"/>
                    <a:pt x="1354" y="1661"/>
                  </a:cubicBezTo>
                  <a:cubicBezTo>
                    <a:pt x="1351" y="1664"/>
                    <a:pt x="1345" y="1678"/>
                    <a:pt x="1345" y="1678"/>
                  </a:cubicBezTo>
                  <a:cubicBezTo>
                    <a:pt x="1384" y="1682"/>
                    <a:pt x="1384" y="1682"/>
                    <a:pt x="1384" y="1682"/>
                  </a:cubicBezTo>
                  <a:cubicBezTo>
                    <a:pt x="1389" y="1702"/>
                    <a:pt x="1389" y="1702"/>
                    <a:pt x="1389" y="1702"/>
                  </a:cubicBezTo>
                  <a:cubicBezTo>
                    <a:pt x="1400" y="1701"/>
                    <a:pt x="1400" y="1701"/>
                    <a:pt x="1400" y="1701"/>
                  </a:cubicBezTo>
                  <a:cubicBezTo>
                    <a:pt x="1400" y="1701"/>
                    <a:pt x="1400" y="1713"/>
                    <a:pt x="1403" y="1713"/>
                  </a:cubicBezTo>
                  <a:cubicBezTo>
                    <a:pt x="1406" y="1713"/>
                    <a:pt x="1425" y="1712"/>
                    <a:pt x="1425" y="1712"/>
                  </a:cubicBezTo>
                  <a:cubicBezTo>
                    <a:pt x="1425" y="1712"/>
                    <a:pt x="1434" y="1694"/>
                    <a:pt x="1444" y="1695"/>
                  </a:cubicBezTo>
                  <a:cubicBezTo>
                    <a:pt x="1454" y="1696"/>
                    <a:pt x="1449" y="1714"/>
                    <a:pt x="1449" y="1714"/>
                  </a:cubicBezTo>
                  <a:cubicBezTo>
                    <a:pt x="1451" y="1727"/>
                    <a:pt x="1451" y="1727"/>
                    <a:pt x="1451" y="1727"/>
                  </a:cubicBezTo>
                  <a:cubicBezTo>
                    <a:pt x="1480" y="1729"/>
                    <a:pt x="1480" y="1729"/>
                    <a:pt x="1480" y="1729"/>
                  </a:cubicBezTo>
                  <a:cubicBezTo>
                    <a:pt x="1480" y="1704"/>
                    <a:pt x="1480" y="1704"/>
                    <a:pt x="1480" y="1704"/>
                  </a:cubicBezTo>
                  <a:cubicBezTo>
                    <a:pt x="1480" y="1704"/>
                    <a:pt x="1462" y="1692"/>
                    <a:pt x="1461" y="1679"/>
                  </a:cubicBezTo>
                  <a:cubicBezTo>
                    <a:pt x="1460" y="1666"/>
                    <a:pt x="1468" y="1657"/>
                    <a:pt x="1468" y="1657"/>
                  </a:cubicBezTo>
                  <a:cubicBezTo>
                    <a:pt x="1492" y="1659"/>
                    <a:pt x="1492" y="1659"/>
                    <a:pt x="1492" y="1659"/>
                  </a:cubicBezTo>
                  <a:cubicBezTo>
                    <a:pt x="1492" y="1653"/>
                    <a:pt x="1493" y="1646"/>
                    <a:pt x="1495" y="1642"/>
                  </a:cubicBezTo>
                  <a:cubicBezTo>
                    <a:pt x="1499" y="1634"/>
                    <a:pt x="1518" y="1657"/>
                    <a:pt x="1524" y="1657"/>
                  </a:cubicBezTo>
                  <a:cubicBezTo>
                    <a:pt x="1530" y="1657"/>
                    <a:pt x="1539" y="1641"/>
                    <a:pt x="1539" y="1641"/>
                  </a:cubicBezTo>
                  <a:cubicBezTo>
                    <a:pt x="1550" y="1653"/>
                    <a:pt x="1550" y="1653"/>
                    <a:pt x="1550" y="1653"/>
                  </a:cubicBezTo>
                  <a:cubicBezTo>
                    <a:pt x="1549" y="1640"/>
                    <a:pt x="1549" y="1640"/>
                    <a:pt x="1549" y="1640"/>
                  </a:cubicBezTo>
                  <a:cubicBezTo>
                    <a:pt x="1554" y="1639"/>
                    <a:pt x="1554" y="1639"/>
                    <a:pt x="1554" y="1639"/>
                  </a:cubicBezTo>
                  <a:cubicBezTo>
                    <a:pt x="1563" y="1652"/>
                    <a:pt x="1563" y="1652"/>
                    <a:pt x="1563" y="1652"/>
                  </a:cubicBezTo>
                  <a:cubicBezTo>
                    <a:pt x="1563" y="1652"/>
                    <a:pt x="1562" y="1657"/>
                    <a:pt x="1575" y="1656"/>
                  </a:cubicBezTo>
                  <a:cubicBezTo>
                    <a:pt x="1588" y="1655"/>
                    <a:pt x="1571" y="1639"/>
                    <a:pt x="1571" y="1639"/>
                  </a:cubicBezTo>
                  <a:cubicBezTo>
                    <a:pt x="1582" y="1639"/>
                    <a:pt x="1582" y="1639"/>
                    <a:pt x="1582" y="1639"/>
                  </a:cubicBezTo>
                  <a:cubicBezTo>
                    <a:pt x="1586" y="1646"/>
                    <a:pt x="1586" y="1646"/>
                    <a:pt x="1586" y="1646"/>
                  </a:cubicBezTo>
                  <a:cubicBezTo>
                    <a:pt x="1586" y="1646"/>
                    <a:pt x="1594" y="1642"/>
                    <a:pt x="1601" y="1640"/>
                  </a:cubicBezTo>
                  <a:cubicBezTo>
                    <a:pt x="1608" y="1638"/>
                    <a:pt x="1602" y="1624"/>
                    <a:pt x="1606" y="1619"/>
                  </a:cubicBezTo>
                  <a:cubicBezTo>
                    <a:pt x="1610" y="1614"/>
                    <a:pt x="1625" y="1610"/>
                    <a:pt x="1625" y="1610"/>
                  </a:cubicBezTo>
                  <a:cubicBezTo>
                    <a:pt x="1647" y="1632"/>
                    <a:pt x="1647" y="1632"/>
                    <a:pt x="1647" y="1632"/>
                  </a:cubicBezTo>
                  <a:cubicBezTo>
                    <a:pt x="1668" y="1627"/>
                    <a:pt x="1668" y="1627"/>
                    <a:pt x="1668" y="1627"/>
                  </a:cubicBezTo>
                  <a:cubicBezTo>
                    <a:pt x="1673" y="1635"/>
                    <a:pt x="1673" y="1635"/>
                    <a:pt x="1673" y="1635"/>
                  </a:cubicBezTo>
                  <a:cubicBezTo>
                    <a:pt x="1673" y="1635"/>
                    <a:pt x="1693" y="1634"/>
                    <a:pt x="1698" y="1642"/>
                  </a:cubicBezTo>
                  <a:cubicBezTo>
                    <a:pt x="1703" y="1650"/>
                    <a:pt x="1687" y="1657"/>
                    <a:pt x="1687" y="1657"/>
                  </a:cubicBezTo>
                  <a:cubicBezTo>
                    <a:pt x="1691" y="1667"/>
                    <a:pt x="1691" y="1667"/>
                    <a:pt x="1691" y="1667"/>
                  </a:cubicBezTo>
                  <a:cubicBezTo>
                    <a:pt x="1698" y="1671"/>
                    <a:pt x="1698" y="1671"/>
                    <a:pt x="1698" y="1671"/>
                  </a:cubicBezTo>
                  <a:cubicBezTo>
                    <a:pt x="1698" y="1684"/>
                    <a:pt x="1698" y="1684"/>
                    <a:pt x="1698" y="1684"/>
                  </a:cubicBezTo>
                  <a:cubicBezTo>
                    <a:pt x="1709" y="1685"/>
                    <a:pt x="1709" y="1685"/>
                    <a:pt x="1709" y="1685"/>
                  </a:cubicBezTo>
                  <a:cubicBezTo>
                    <a:pt x="1709" y="1685"/>
                    <a:pt x="1713" y="1690"/>
                    <a:pt x="1720" y="1697"/>
                  </a:cubicBezTo>
                  <a:cubicBezTo>
                    <a:pt x="1727" y="1704"/>
                    <a:pt x="1740" y="1701"/>
                    <a:pt x="1748" y="1702"/>
                  </a:cubicBezTo>
                  <a:cubicBezTo>
                    <a:pt x="1752" y="1702"/>
                    <a:pt x="1755" y="1704"/>
                    <a:pt x="1757" y="1705"/>
                  </a:cubicBezTo>
                  <a:cubicBezTo>
                    <a:pt x="1786" y="1686"/>
                    <a:pt x="1786" y="1686"/>
                    <a:pt x="1786" y="1686"/>
                  </a:cubicBezTo>
                  <a:cubicBezTo>
                    <a:pt x="1798" y="1694"/>
                    <a:pt x="1798" y="1694"/>
                    <a:pt x="1798" y="1694"/>
                  </a:cubicBezTo>
                  <a:cubicBezTo>
                    <a:pt x="1798" y="1694"/>
                    <a:pt x="1843" y="1694"/>
                    <a:pt x="1849" y="1705"/>
                  </a:cubicBezTo>
                  <a:cubicBezTo>
                    <a:pt x="1854" y="1717"/>
                    <a:pt x="1839" y="1739"/>
                    <a:pt x="1846" y="1750"/>
                  </a:cubicBezTo>
                  <a:cubicBezTo>
                    <a:pt x="1854" y="1761"/>
                    <a:pt x="1875" y="1776"/>
                    <a:pt x="1875" y="1776"/>
                  </a:cubicBezTo>
                  <a:cubicBezTo>
                    <a:pt x="1889" y="1774"/>
                    <a:pt x="1889" y="1774"/>
                    <a:pt x="1889" y="1774"/>
                  </a:cubicBezTo>
                  <a:cubicBezTo>
                    <a:pt x="1889" y="1762"/>
                    <a:pt x="1889" y="1762"/>
                    <a:pt x="1889" y="1762"/>
                  </a:cubicBezTo>
                  <a:cubicBezTo>
                    <a:pt x="1889" y="1762"/>
                    <a:pt x="1880" y="1730"/>
                    <a:pt x="1892" y="1713"/>
                  </a:cubicBezTo>
                  <a:cubicBezTo>
                    <a:pt x="1904" y="1697"/>
                    <a:pt x="1931" y="1699"/>
                    <a:pt x="1945" y="1696"/>
                  </a:cubicBezTo>
                  <a:cubicBezTo>
                    <a:pt x="1958" y="1693"/>
                    <a:pt x="2001" y="1684"/>
                    <a:pt x="2001" y="1674"/>
                  </a:cubicBezTo>
                  <a:cubicBezTo>
                    <a:pt x="2002" y="1664"/>
                    <a:pt x="2002" y="1634"/>
                    <a:pt x="2011" y="1632"/>
                  </a:cubicBezTo>
                  <a:cubicBezTo>
                    <a:pt x="2020" y="1630"/>
                    <a:pt x="2027" y="1664"/>
                    <a:pt x="2036" y="1660"/>
                  </a:cubicBezTo>
                  <a:cubicBezTo>
                    <a:pt x="2046" y="1657"/>
                    <a:pt x="2066" y="1626"/>
                    <a:pt x="2066" y="1626"/>
                  </a:cubicBezTo>
                  <a:cubicBezTo>
                    <a:pt x="2077" y="1636"/>
                    <a:pt x="2077" y="1636"/>
                    <a:pt x="2077" y="1636"/>
                  </a:cubicBezTo>
                  <a:cubicBezTo>
                    <a:pt x="2099" y="1629"/>
                    <a:pt x="2099" y="1629"/>
                    <a:pt x="2099" y="1629"/>
                  </a:cubicBezTo>
                  <a:cubicBezTo>
                    <a:pt x="2099" y="1629"/>
                    <a:pt x="2124" y="1636"/>
                    <a:pt x="2136" y="1629"/>
                  </a:cubicBezTo>
                  <a:cubicBezTo>
                    <a:pt x="2149" y="1622"/>
                    <a:pt x="2154" y="1619"/>
                    <a:pt x="2161" y="1614"/>
                  </a:cubicBezTo>
                  <a:cubicBezTo>
                    <a:pt x="2167" y="1609"/>
                    <a:pt x="2196" y="1584"/>
                    <a:pt x="2201" y="1574"/>
                  </a:cubicBezTo>
                  <a:cubicBezTo>
                    <a:pt x="2205" y="1564"/>
                    <a:pt x="2192" y="1544"/>
                    <a:pt x="2192" y="1544"/>
                  </a:cubicBezTo>
                  <a:cubicBezTo>
                    <a:pt x="2205" y="1544"/>
                    <a:pt x="2205" y="1544"/>
                    <a:pt x="2205" y="1544"/>
                  </a:cubicBezTo>
                  <a:cubicBezTo>
                    <a:pt x="2211" y="1524"/>
                    <a:pt x="2211" y="1524"/>
                    <a:pt x="2211" y="1524"/>
                  </a:cubicBezTo>
                  <a:cubicBezTo>
                    <a:pt x="2226" y="1525"/>
                    <a:pt x="2226" y="1525"/>
                    <a:pt x="2226" y="1525"/>
                  </a:cubicBezTo>
                  <a:cubicBezTo>
                    <a:pt x="2233" y="1500"/>
                    <a:pt x="2233" y="1500"/>
                    <a:pt x="2233" y="1500"/>
                  </a:cubicBezTo>
                  <a:cubicBezTo>
                    <a:pt x="2241" y="1500"/>
                    <a:pt x="2241" y="1500"/>
                    <a:pt x="2241" y="1500"/>
                  </a:cubicBezTo>
                  <a:cubicBezTo>
                    <a:pt x="2245" y="1473"/>
                    <a:pt x="2245" y="1473"/>
                    <a:pt x="2245" y="1473"/>
                  </a:cubicBezTo>
                  <a:cubicBezTo>
                    <a:pt x="2245" y="1473"/>
                    <a:pt x="2259" y="1478"/>
                    <a:pt x="2259" y="1456"/>
                  </a:cubicBezTo>
                  <a:cubicBezTo>
                    <a:pt x="2259" y="1434"/>
                    <a:pt x="2246" y="1437"/>
                    <a:pt x="2251" y="1429"/>
                  </a:cubicBezTo>
                  <a:cubicBezTo>
                    <a:pt x="2255" y="1420"/>
                    <a:pt x="2274" y="1423"/>
                    <a:pt x="2274" y="1405"/>
                  </a:cubicBezTo>
                  <a:cubicBezTo>
                    <a:pt x="2275" y="1388"/>
                    <a:pt x="2263" y="1388"/>
                    <a:pt x="2264" y="1381"/>
                  </a:cubicBezTo>
                  <a:cubicBezTo>
                    <a:pt x="2264" y="1373"/>
                    <a:pt x="2275" y="1370"/>
                    <a:pt x="2275" y="1370"/>
                  </a:cubicBezTo>
                  <a:cubicBezTo>
                    <a:pt x="2276" y="1344"/>
                    <a:pt x="2276" y="1344"/>
                    <a:pt x="2276" y="1344"/>
                  </a:cubicBezTo>
                  <a:cubicBezTo>
                    <a:pt x="2276" y="1344"/>
                    <a:pt x="2303" y="1336"/>
                    <a:pt x="2310" y="1320"/>
                  </a:cubicBezTo>
                  <a:cubicBezTo>
                    <a:pt x="2317" y="1304"/>
                    <a:pt x="2300" y="1303"/>
                    <a:pt x="2300" y="1303"/>
                  </a:cubicBezTo>
                  <a:cubicBezTo>
                    <a:pt x="2300" y="1303"/>
                    <a:pt x="2332" y="1298"/>
                    <a:pt x="2332" y="1289"/>
                  </a:cubicBezTo>
                  <a:cubicBezTo>
                    <a:pt x="2333" y="1280"/>
                    <a:pt x="2314" y="1275"/>
                    <a:pt x="2314" y="1275"/>
                  </a:cubicBezTo>
                  <a:cubicBezTo>
                    <a:pt x="2314" y="1275"/>
                    <a:pt x="2352" y="1241"/>
                    <a:pt x="2335" y="1231"/>
                  </a:cubicBezTo>
                  <a:cubicBezTo>
                    <a:pt x="2318" y="1222"/>
                    <a:pt x="2238" y="1244"/>
                    <a:pt x="2238" y="1244"/>
                  </a:cubicBezTo>
                  <a:cubicBezTo>
                    <a:pt x="2228" y="1233"/>
                    <a:pt x="2228" y="1233"/>
                    <a:pt x="2228" y="1233"/>
                  </a:cubicBezTo>
                  <a:cubicBezTo>
                    <a:pt x="2253" y="1232"/>
                    <a:pt x="2253" y="1232"/>
                    <a:pt x="2253" y="1232"/>
                  </a:cubicBezTo>
                  <a:cubicBezTo>
                    <a:pt x="2253" y="1232"/>
                    <a:pt x="2253" y="1217"/>
                    <a:pt x="2263" y="1213"/>
                  </a:cubicBezTo>
                  <a:cubicBezTo>
                    <a:pt x="2273" y="1209"/>
                    <a:pt x="2292" y="1207"/>
                    <a:pt x="2292" y="1207"/>
                  </a:cubicBezTo>
                  <a:cubicBezTo>
                    <a:pt x="2292" y="1207"/>
                    <a:pt x="2279" y="1183"/>
                    <a:pt x="2275" y="1182"/>
                  </a:cubicBezTo>
                  <a:cubicBezTo>
                    <a:pt x="2271" y="1181"/>
                    <a:pt x="2248" y="1175"/>
                    <a:pt x="2248" y="1175"/>
                  </a:cubicBezTo>
                  <a:cubicBezTo>
                    <a:pt x="2240" y="1164"/>
                    <a:pt x="2240" y="1164"/>
                    <a:pt x="2240" y="1164"/>
                  </a:cubicBezTo>
                  <a:cubicBezTo>
                    <a:pt x="2231" y="1165"/>
                    <a:pt x="2231" y="1165"/>
                    <a:pt x="2231" y="1165"/>
                  </a:cubicBezTo>
                  <a:cubicBezTo>
                    <a:pt x="2231" y="1165"/>
                    <a:pt x="2222" y="1153"/>
                    <a:pt x="2215" y="1152"/>
                  </a:cubicBezTo>
                  <a:cubicBezTo>
                    <a:pt x="2208" y="1151"/>
                    <a:pt x="2190" y="1157"/>
                    <a:pt x="2190" y="1157"/>
                  </a:cubicBezTo>
                  <a:cubicBezTo>
                    <a:pt x="2167" y="1126"/>
                    <a:pt x="2167" y="1126"/>
                    <a:pt x="2167" y="1126"/>
                  </a:cubicBezTo>
                  <a:cubicBezTo>
                    <a:pt x="2167" y="1126"/>
                    <a:pt x="2188" y="1147"/>
                    <a:pt x="2194" y="1145"/>
                  </a:cubicBezTo>
                  <a:cubicBezTo>
                    <a:pt x="2200" y="1143"/>
                    <a:pt x="2207" y="1139"/>
                    <a:pt x="2207" y="1139"/>
                  </a:cubicBezTo>
                  <a:cubicBezTo>
                    <a:pt x="2226" y="1144"/>
                    <a:pt x="2226" y="1144"/>
                    <a:pt x="2226" y="1144"/>
                  </a:cubicBezTo>
                  <a:cubicBezTo>
                    <a:pt x="2236" y="1155"/>
                    <a:pt x="2236" y="1155"/>
                    <a:pt x="2236" y="1155"/>
                  </a:cubicBezTo>
                  <a:cubicBezTo>
                    <a:pt x="2245" y="1151"/>
                    <a:pt x="2245" y="1151"/>
                    <a:pt x="2245" y="1151"/>
                  </a:cubicBezTo>
                  <a:cubicBezTo>
                    <a:pt x="2276" y="1161"/>
                    <a:pt x="2276" y="1161"/>
                    <a:pt x="2276" y="1161"/>
                  </a:cubicBezTo>
                  <a:cubicBezTo>
                    <a:pt x="2263" y="1144"/>
                    <a:pt x="2263" y="1144"/>
                    <a:pt x="2263" y="1144"/>
                  </a:cubicBezTo>
                  <a:cubicBezTo>
                    <a:pt x="2252" y="1142"/>
                    <a:pt x="2252" y="1142"/>
                    <a:pt x="2252" y="1142"/>
                  </a:cubicBezTo>
                  <a:cubicBezTo>
                    <a:pt x="2252" y="1142"/>
                    <a:pt x="2251" y="1120"/>
                    <a:pt x="2243" y="1119"/>
                  </a:cubicBezTo>
                  <a:cubicBezTo>
                    <a:pt x="2235" y="1118"/>
                    <a:pt x="2223" y="1115"/>
                    <a:pt x="2218" y="1111"/>
                  </a:cubicBezTo>
                  <a:cubicBezTo>
                    <a:pt x="2213" y="1107"/>
                    <a:pt x="2211" y="1088"/>
                    <a:pt x="2211" y="1088"/>
                  </a:cubicBezTo>
                  <a:cubicBezTo>
                    <a:pt x="2157" y="1022"/>
                    <a:pt x="2157" y="1022"/>
                    <a:pt x="2157" y="1022"/>
                  </a:cubicBezTo>
                  <a:cubicBezTo>
                    <a:pt x="2135" y="1016"/>
                    <a:pt x="2135" y="1016"/>
                    <a:pt x="2135" y="1016"/>
                  </a:cubicBezTo>
                  <a:cubicBezTo>
                    <a:pt x="2112" y="998"/>
                    <a:pt x="2112" y="998"/>
                    <a:pt x="2112" y="998"/>
                  </a:cubicBezTo>
                  <a:cubicBezTo>
                    <a:pt x="2097" y="1000"/>
                    <a:pt x="2097" y="1000"/>
                    <a:pt x="2097" y="1000"/>
                  </a:cubicBezTo>
                  <a:cubicBezTo>
                    <a:pt x="2097" y="1000"/>
                    <a:pt x="2084" y="975"/>
                    <a:pt x="2090" y="971"/>
                  </a:cubicBezTo>
                  <a:cubicBezTo>
                    <a:pt x="2096" y="967"/>
                    <a:pt x="2114" y="955"/>
                    <a:pt x="2114" y="946"/>
                  </a:cubicBezTo>
                  <a:cubicBezTo>
                    <a:pt x="2114" y="937"/>
                    <a:pt x="2107" y="919"/>
                    <a:pt x="2107" y="919"/>
                  </a:cubicBezTo>
                  <a:cubicBezTo>
                    <a:pt x="2107" y="919"/>
                    <a:pt x="2124" y="936"/>
                    <a:pt x="2132" y="930"/>
                  </a:cubicBezTo>
                  <a:cubicBezTo>
                    <a:pt x="2140" y="924"/>
                    <a:pt x="2131" y="897"/>
                    <a:pt x="2131" y="897"/>
                  </a:cubicBezTo>
                  <a:cubicBezTo>
                    <a:pt x="2146" y="898"/>
                    <a:pt x="2146" y="898"/>
                    <a:pt x="2146" y="898"/>
                  </a:cubicBezTo>
                  <a:cubicBezTo>
                    <a:pt x="2171" y="879"/>
                    <a:pt x="2171" y="879"/>
                    <a:pt x="2171" y="879"/>
                  </a:cubicBezTo>
                  <a:cubicBezTo>
                    <a:pt x="2171" y="879"/>
                    <a:pt x="2191" y="885"/>
                    <a:pt x="2196" y="884"/>
                  </a:cubicBezTo>
                  <a:cubicBezTo>
                    <a:pt x="2201" y="883"/>
                    <a:pt x="2192" y="869"/>
                    <a:pt x="2192" y="869"/>
                  </a:cubicBezTo>
                  <a:cubicBezTo>
                    <a:pt x="2196" y="853"/>
                    <a:pt x="2196" y="853"/>
                    <a:pt x="2196" y="853"/>
                  </a:cubicBezTo>
                  <a:cubicBezTo>
                    <a:pt x="2174" y="853"/>
                    <a:pt x="2174" y="853"/>
                    <a:pt x="2174" y="853"/>
                  </a:cubicBezTo>
                  <a:cubicBezTo>
                    <a:pt x="2166" y="846"/>
                    <a:pt x="2166" y="846"/>
                    <a:pt x="2166" y="846"/>
                  </a:cubicBezTo>
                  <a:cubicBezTo>
                    <a:pt x="2161" y="854"/>
                    <a:pt x="2161" y="854"/>
                    <a:pt x="2161" y="854"/>
                  </a:cubicBezTo>
                  <a:cubicBezTo>
                    <a:pt x="2140" y="851"/>
                    <a:pt x="2140" y="851"/>
                    <a:pt x="2140" y="851"/>
                  </a:cubicBezTo>
                  <a:cubicBezTo>
                    <a:pt x="2140" y="851"/>
                    <a:pt x="2124" y="833"/>
                    <a:pt x="2111" y="833"/>
                  </a:cubicBezTo>
                  <a:cubicBezTo>
                    <a:pt x="2098" y="833"/>
                    <a:pt x="2080" y="856"/>
                    <a:pt x="2079" y="861"/>
                  </a:cubicBezTo>
                  <a:cubicBezTo>
                    <a:pt x="2078" y="866"/>
                    <a:pt x="2074" y="875"/>
                    <a:pt x="2064" y="873"/>
                  </a:cubicBezTo>
                  <a:cubicBezTo>
                    <a:pt x="2054" y="871"/>
                    <a:pt x="2032" y="865"/>
                    <a:pt x="2030" y="851"/>
                  </a:cubicBezTo>
                  <a:cubicBezTo>
                    <a:pt x="2028" y="837"/>
                    <a:pt x="2020" y="820"/>
                    <a:pt x="2014" y="816"/>
                  </a:cubicBezTo>
                  <a:cubicBezTo>
                    <a:pt x="2008" y="812"/>
                    <a:pt x="2004" y="819"/>
                    <a:pt x="2004" y="819"/>
                  </a:cubicBezTo>
                  <a:cubicBezTo>
                    <a:pt x="2004" y="828"/>
                    <a:pt x="2004" y="828"/>
                    <a:pt x="2004" y="828"/>
                  </a:cubicBezTo>
                  <a:cubicBezTo>
                    <a:pt x="1996" y="816"/>
                    <a:pt x="1996" y="816"/>
                    <a:pt x="1996" y="816"/>
                  </a:cubicBezTo>
                  <a:cubicBezTo>
                    <a:pt x="1996" y="816"/>
                    <a:pt x="1968" y="819"/>
                    <a:pt x="1959" y="810"/>
                  </a:cubicBezTo>
                  <a:cubicBezTo>
                    <a:pt x="1950" y="801"/>
                    <a:pt x="1939" y="782"/>
                    <a:pt x="1942" y="776"/>
                  </a:cubicBezTo>
                  <a:cubicBezTo>
                    <a:pt x="1945" y="770"/>
                    <a:pt x="1944" y="760"/>
                    <a:pt x="1944" y="760"/>
                  </a:cubicBezTo>
                  <a:cubicBezTo>
                    <a:pt x="1955" y="759"/>
                    <a:pt x="1955" y="759"/>
                    <a:pt x="1955" y="759"/>
                  </a:cubicBezTo>
                  <a:cubicBezTo>
                    <a:pt x="1955" y="759"/>
                    <a:pt x="1961" y="768"/>
                    <a:pt x="1965" y="767"/>
                  </a:cubicBezTo>
                  <a:cubicBezTo>
                    <a:pt x="1969" y="766"/>
                    <a:pt x="1975" y="758"/>
                    <a:pt x="1975" y="758"/>
                  </a:cubicBezTo>
                  <a:cubicBezTo>
                    <a:pt x="1975" y="758"/>
                    <a:pt x="1988" y="766"/>
                    <a:pt x="1997" y="758"/>
                  </a:cubicBezTo>
                  <a:cubicBezTo>
                    <a:pt x="2006" y="750"/>
                    <a:pt x="1998" y="742"/>
                    <a:pt x="1998" y="742"/>
                  </a:cubicBezTo>
                  <a:cubicBezTo>
                    <a:pt x="1998" y="742"/>
                    <a:pt x="1997" y="718"/>
                    <a:pt x="2003" y="714"/>
                  </a:cubicBezTo>
                  <a:cubicBezTo>
                    <a:pt x="2009" y="710"/>
                    <a:pt x="2028" y="718"/>
                    <a:pt x="2032" y="707"/>
                  </a:cubicBezTo>
                  <a:cubicBezTo>
                    <a:pt x="2036" y="696"/>
                    <a:pt x="2037" y="683"/>
                    <a:pt x="2037" y="683"/>
                  </a:cubicBezTo>
                  <a:cubicBezTo>
                    <a:pt x="2049" y="676"/>
                    <a:pt x="2049" y="676"/>
                    <a:pt x="2049" y="676"/>
                  </a:cubicBezTo>
                  <a:cubicBezTo>
                    <a:pt x="2043" y="668"/>
                    <a:pt x="2043" y="668"/>
                    <a:pt x="2043" y="668"/>
                  </a:cubicBezTo>
                  <a:cubicBezTo>
                    <a:pt x="2068" y="675"/>
                    <a:pt x="2068" y="675"/>
                    <a:pt x="2068" y="675"/>
                  </a:cubicBezTo>
                  <a:cubicBezTo>
                    <a:pt x="2079" y="665"/>
                    <a:pt x="2079" y="665"/>
                    <a:pt x="2079" y="665"/>
                  </a:cubicBezTo>
                  <a:cubicBezTo>
                    <a:pt x="2079" y="665"/>
                    <a:pt x="2110" y="688"/>
                    <a:pt x="2108" y="702"/>
                  </a:cubicBezTo>
                  <a:cubicBezTo>
                    <a:pt x="2106" y="716"/>
                    <a:pt x="2088" y="719"/>
                    <a:pt x="2087" y="728"/>
                  </a:cubicBezTo>
                  <a:cubicBezTo>
                    <a:pt x="2086" y="737"/>
                    <a:pt x="2091" y="752"/>
                    <a:pt x="2098" y="752"/>
                  </a:cubicBezTo>
                  <a:cubicBezTo>
                    <a:pt x="2105" y="752"/>
                    <a:pt x="2114" y="749"/>
                    <a:pt x="2114" y="749"/>
                  </a:cubicBezTo>
                  <a:cubicBezTo>
                    <a:pt x="2109" y="767"/>
                    <a:pt x="2109" y="767"/>
                    <a:pt x="2109" y="767"/>
                  </a:cubicBezTo>
                  <a:cubicBezTo>
                    <a:pt x="2109" y="767"/>
                    <a:pt x="2090" y="784"/>
                    <a:pt x="2099" y="786"/>
                  </a:cubicBezTo>
                  <a:cubicBezTo>
                    <a:pt x="2108" y="788"/>
                    <a:pt x="2122" y="774"/>
                    <a:pt x="2122" y="774"/>
                  </a:cubicBezTo>
                  <a:cubicBezTo>
                    <a:pt x="2122" y="774"/>
                    <a:pt x="2126" y="775"/>
                    <a:pt x="2131" y="770"/>
                  </a:cubicBezTo>
                  <a:cubicBezTo>
                    <a:pt x="2136" y="765"/>
                    <a:pt x="2135" y="750"/>
                    <a:pt x="2135" y="750"/>
                  </a:cubicBezTo>
                  <a:cubicBezTo>
                    <a:pt x="2135" y="750"/>
                    <a:pt x="2176" y="729"/>
                    <a:pt x="2180" y="726"/>
                  </a:cubicBezTo>
                  <a:cubicBezTo>
                    <a:pt x="2184" y="723"/>
                    <a:pt x="2205" y="725"/>
                    <a:pt x="2205" y="725"/>
                  </a:cubicBezTo>
                  <a:cubicBezTo>
                    <a:pt x="2212" y="714"/>
                    <a:pt x="2212" y="714"/>
                    <a:pt x="2212" y="714"/>
                  </a:cubicBezTo>
                  <a:cubicBezTo>
                    <a:pt x="2210" y="712"/>
                    <a:pt x="2208" y="706"/>
                    <a:pt x="2218" y="698"/>
                  </a:cubicBezTo>
                  <a:cubicBezTo>
                    <a:pt x="2230" y="688"/>
                    <a:pt x="2237" y="687"/>
                    <a:pt x="2252" y="675"/>
                  </a:cubicBezTo>
                  <a:cubicBezTo>
                    <a:pt x="2267" y="663"/>
                    <a:pt x="2262" y="625"/>
                    <a:pt x="2266" y="623"/>
                  </a:cubicBezTo>
                  <a:cubicBezTo>
                    <a:pt x="2270" y="621"/>
                    <a:pt x="2285" y="632"/>
                    <a:pt x="2292" y="637"/>
                  </a:cubicBezTo>
                  <a:cubicBezTo>
                    <a:pt x="2299" y="642"/>
                    <a:pt x="2339" y="641"/>
                    <a:pt x="2339" y="641"/>
                  </a:cubicBezTo>
                  <a:cubicBezTo>
                    <a:pt x="2340" y="631"/>
                    <a:pt x="2340" y="631"/>
                    <a:pt x="2340" y="631"/>
                  </a:cubicBezTo>
                  <a:cubicBezTo>
                    <a:pt x="2340" y="631"/>
                    <a:pt x="2312" y="618"/>
                    <a:pt x="2318" y="610"/>
                  </a:cubicBezTo>
                  <a:cubicBezTo>
                    <a:pt x="2324" y="602"/>
                    <a:pt x="2348" y="618"/>
                    <a:pt x="2358" y="609"/>
                  </a:cubicBezTo>
                  <a:cubicBezTo>
                    <a:pt x="2368" y="600"/>
                    <a:pt x="2358" y="588"/>
                    <a:pt x="2358" y="588"/>
                  </a:cubicBezTo>
                  <a:cubicBezTo>
                    <a:pt x="2358" y="588"/>
                    <a:pt x="2374" y="592"/>
                    <a:pt x="2376" y="587"/>
                  </a:cubicBezTo>
                  <a:cubicBezTo>
                    <a:pt x="2378" y="582"/>
                    <a:pt x="2365" y="560"/>
                    <a:pt x="2365" y="560"/>
                  </a:cubicBezTo>
                  <a:cubicBezTo>
                    <a:pt x="2387" y="560"/>
                    <a:pt x="2387" y="560"/>
                    <a:pt x="2387" y="560"/>
                  </a:cubicBezTo>
                  <a:cubicBezTo>
                    <a:pt x="2397" y="577"/>
                    <a:pt x="2397" y="577"/>
                    <a:pt x="2397" y="577"/>
                  </a:cubicBezTo>
                  <a:cubicBezTo>
                    <a:pt x="2404" y="559"/>
                    <a:pt x="2404" y="559"/>
                    <a:pt x="2404" y="559"/>
                  </a:cubicBezTo>
                  <a:cubicBezTo>
                    <a:pt x="2421" y="563"/>
                    <a:pt x="2421" y="563"/>
                    <a:pt x="2421" y="563"/>
                  </a:cubicBezTo>
                  <a:cubicBezTo>
                    <a:pt x="2420" y="540"/>
                    <a:pt x="2420" y="540"/>
                    <a:pt x="2420" y="540"/>
                  </a:cubicBezTo>
                  <a:cubicBezTo>
                    <a:pt x="2420" y="540"/>
                    <a:pt x="2409" y="529"/>
                    <a:pt x="2407" y="523"/>
                  </a:cubicBezTo>
                  <a:cubicBezTo>
                    <a:pt x="2405" y="517"/>
                    <a:pt x="2401" y="498"/>
                    <a:pt x="2387" y="485"/>
                  </a:cubicBezTo>
                  <a:cubicBezTo>
                    <a:pt x="2373" y="472"/>
                    <a:pt x="2358" y="471"/>
                    <a:pt x="2361" y="461"/>
                  </a:cubicBezTo>
                  <a:cubicBezTo>
                    <a:pt x="2364" y="451"/>
                    <a:pt x="2377" y="460"/>
                    <a:pt x="2379" y="455"/>
                  </a:cubicBezTo>
                  <a:cubicBezTo>
                    <a:pt x="2381" y="450"/>
                    <a:pt x="2369" y="444"/>
                    <a:pt x="2380" y="439"/>
                  </a:cubicBezTo>
                  <a:cubicBezTo>
                    <a:pt x="2391" y="434"/>
                    <a:pt x="2427" y="457"/>
                    <a:pt x="2434" y="451"/>
                  </a:cubicBezTo>
                  <a:cubicBezTo>
                    <a:pt x="2441" y="445"/>
                    <a:pt x="2439" y="444"/>
                    <a:pt x="2434" y="432"/>
                  </a:cubicBezTo>
                  <a:cubicBezTo>
                    <a:pt x="2429" y="420"/>
                    <a:pt x="2441" y="416"/>
                    <a:pt x="2441" y="41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1" name="Freeform 106">
              <a:extLst>
                <a:ext uri="{FF2B5EF4-FFF2-40B4-BE49-F238E27FC236}">
                  <a16:creationId xmlns:a16="http://schemas.microsoft.com/office/drawing/2014/main" id="{D8854C90-B4DA-557E-7626-F58D153B7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751" y="2517983"/>
              <a:ext cx="798748" cy="315535"/>
            </a:xfrm>
            <a:custGeom>
              <a:avLst/>
              <a:gdLst>
                <a:gd name="T0" fmla="*/ 70 w 1406"/>
                <a:gd name="T1" fmla="*/ 13 h 558"/>
                <a:gd name="T2" fmla="*/ 68 w 1406"/>
                <a:gd name="T3" fmla="*/ 11 h 558"/>
                <a:gd name="T4" fmla="*/ 64 w 1406"/>
                <a:gd name="T5" fmla="*/ 11 h 558"/>
                <a:gd name="T6" fmla="*/ 61 w 1406"/>
                <a:gd name="T7" fmla="*/ 11 h 558"/>
                <a:gd name="T8" fmla="*/ 61 w 1406"/>
                <a:gd name="T9" fmla="*/ 9 h 558"/>
                <a:gd name="T10" fmla="*/ 60 w 1406"/>
                <a:gd name="T11" fmla="*/ 6 h 558"/>
                <a:gd name="T12" fmla="*/ 57 w 1406"/>
                <a:gd name="T13" fmla="*/ 5 h 558"/>
                <a:gd name="T14" fmla="*/ 53 w 1406"/>
                <a:gd name="T15" fmla="*/ 7 h 558"/>
                <a:gd name="T16" fmla="*/ 50 w 1406"/>
                <a:gd name="T17" fmla="*/ 7 h 558"/>
                <a:gd name="T18" fmla="*/ 48 w 1406"/>
                <a:gd name="T19" fmla="*/ 8 h 558"/>
                <a:gd name="T20" fmla="*/ 44 w 1406"/>
                <a:gd name="T21" fmla="*/ 7 h 558"/>
                <a:gd name="T22" fmla="*/ 42 w 1406"/>
                <a:gd name="T23" fmla="*/ 6 h 558"/>
                <a:gd name="T24" fmla="*/ 38 w 1406"/>
                <a:gd name="T25" fmla="*/ 5 h 558"/>
                <a:gd name="T26" fmla="*/ 31 w 1406"/>
                <a:gd name="T27" fmla="*/ 5 h 558"/>
                <a:gd name="T28" fmla="*/ 29 w 1406"/>
                <a:gd name="T29" fmla="*/ 4 h 558"/>
                <a:gd name="T30" fmla="*/ 25 w 1406"/>
                <a:gd name="T31" fmla="*/ 1 h 558"/>
                <a:gd name="T32" fmla="*/ 20 w 1406"/>
                <a:gd name="T33" fmla="*/ 0 h 558"/>
                <a:gd name="T34" fmla="*/ 19 w 1406"/>
                <a:gd name="T35" fmla="*/ 1 h 558"/>
                <a:gd name="T36" fmla="*/ 19 w 1406"/>
                <a:gd name="T37" fmla="*/ 3 h 558"/>
                <a:gd name="T38" fmla="*/ 20 w 1406"/>
                <a:gd name="T39" fmla="*/ 6 h 558"/>
                <a:gd name="T40" fmla="*/ 18 w 1406"/>
                <a:gd name="T41" fmla="*/ 6 h 558"/>
                <a:gd name="T42" fmla="*/ 16 w 1406"/>
                <a:gd name="T43" fmla="*/ 6 h 558"/>
                <a:gd name="T44" fmla="*/ 15 w 1406"/>
                <a:gd name="T45" fmla="*/ 6 h 558"/>
                <a:gd name="T46" fmla="*/ 9 w 1406"/>
                <a:gd name="T47" fmla="*/ 4 h 558"/>
                <a:gd name="T48" fmla="*/ 8 w 1406"/>
                <a:gd name="T49" fmla="*/ 4 h 558"/>
                <a:gd name="T50" fmla="*/ 6 w 1406"/>
                <a:gd name="T51" fmla="*/ 4 h 558"/>
                <a:gd name="T52" fmla="*/ 4 w 1406"/>
                <a:gd name="T53" fmla="*/ 5 h 558"/>
                <a:gd name="T54" fmla="*/ 3 w 1406"/>
                <a:gd name="T55" fmla="*/ 7 h 558"/>
                <a:gd name="T56" fmla="*/ 0 w 1406"/>
                <a:gd name="T57" fmla="*/ 8 h 558"/>
                <a:gd name="T58" fmla="*/ 1 w 1406"/>
                <a:gd name="T59" fmla="*/ 9 h 558"/>
                <a:gd name="T60" fmla="*/ 3 w 1406"/>
                <a:gd name="T61" fmla="*/ 10 h 558"/>
                <a:gd name="T62" fmla="*/ 6 w 1406"/>
                <a:gd name="T63" fmla="*/ 11 h 558"/>
                <a:gd name="T64" fmla="*/ 9 w 1406"/>
                <a:gd name="T65" fmla="*/ 14 h 558"/>
                <a:gd name="T66" fmla="*/ 10 w 1406"/>
                <a:gd name="T67" fmla="*/ 17 h 558"/>
                <a:gd name="T68" fmla="*/ 14 w 1406"/>
                <a:gd name="T69" fmla="*/ 19 h 558"/>
                <a:gd name="T70" fmla="*/ 19 w 1406"/>
                <a:gd name="T71" fmla="*/ 20 h 558"/>
                <a:gd name="T72" fmla="*/ 22 w 1406"/>
                <a:gd name="T73" fmla="*/ 22 h 558"/>
                <a:gd name="T74" fmla="*/ 26 w 1406"/>
                <a:gd name="T75" fmla="*/ 26 h 558"/>
                <a:gd name="T76" fmla="*/ 32 w 1406"/>
                <a:gd name="T77" fmla="*/ 26 h 558"/>
                <a:gd name="T78" fmla="*/ 35 w 1406"/>
                <a:gd name="T79" fmla="*/ 26 h 558"/>
                <a:gd name="T80" fmla="*/ 41 w 1406"/>
                <a:gd name="T81" fmla="*/ 27 h 558"/>
                <a:gd name="T82" fmla="*/ 45 w 1406"/>
                <a:gd name="T83" fmla="*/ 28 h 558"/>
                <a:gd name="T84" fmla="*/ 55 w 1406"/>
                <a:gd name="T85" fmla="*/ 26 h 558"/>
                <a:gd name="T86" fmla="*/ 57 w 1406"/>
                <a:gd name="T87" fmla="*/ 24 h 558"/>
                <a:gd name="T88" fmla="*/ 57 w 1406"/>
                <a:gd name="T89" fmla="*/ 21 h 558"/>
                <a:gd name="T90" fmla="*/ 60 w 1406"/>
                <a:gd name="T91" fmla="*/ 20 h 558"/>
                <a:gd name="T92" fmla="*/ 63 w 1406"/>
                <a:gd name="T93" fmla="*/ 18 h 558"/>
                <a:gd name="T94" fmla="*/ 66 w 1406"/>
                <a:gd name="T95" fmla="*/ 16 h 558"/>
                <a:gd name="T96" fmla="*/ 68 w 1406"/>
                <a:gd name="T97" fmla="*/ 15 h 558"/>
                <a:gd name="T98" fmla="*/ 70 w 1406"/>
                <a:gd name="T99" fmla="*/ 14 h 558"/>
                <a:gd name="T100" fmla="*/ 72 w 1406"/>
                <a:gd name="T101" fmla="*/ 14 h 5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06"/>
                <a:gd name="T154" fmla="*/ 0 h 558"/>
                <a:gd name="T155" fmla="*/ 1406 w 1406"/>
                <a:gd name="T156" fmla="*/ 558 h 5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06" h="558">
                  <a:moveTo>
                    <a:pt x="1394" y="273"/>
                  </a:moveTo>
                  <a:cubicBezTo>
                    <a:pt x="1385" y="267"/>
                    <a:pt x="1380" y="256"/>
                    <a:pt x="1380" y="256"/>
                  </a:cubicBezTo>
                  <a:cubicBezTo>
                    <a:pt x="1380" y="256"/>
                    <a:pt x="1362" y="252"/>
                    <a:pt x="1353" y="245"/>
                  </a:cubicBezTo>
                  <a:cubicBezTo>
                    <a:pt x="1344" y="238"/>
                    <a:pt x="1336" y="231"/>
                    <a:pt x="1336" y="231"/>
                  </a:cubicBezTo>
                  <a:cubicBezTo>
                    <a:pt x="1336" y="231"/>
                    <a:pt x="1333" y="231"/>
                    <a:pt x="1324" y="230"/>
                  </a:cubicBezTo>
                  <a:cubicBezTo>
                    <a:pt x="1315" y="229"/>
                    <a:pt x="1312" y="214"/>
                    <a:pt x="1312" y="214"/>
                  </a:cubicBezTo>
                  <a:cubicBezTo>
                    <a:pt x="1271" y="214"/>
                    <a:pt x="1271" y="214"/>
                    <a:pt x="1271" y="214"/>
                  </a:cubicBezTo>
                  <a:cubicBezTo>
                    <a:pt x="1271" y="214"/>
                    <a:pt x="1270" y="232"/>
                    <a:pt x="1264" y="234"/>
                  </a:cubicBezTo>
                  <a:cubicBezTo>
                    <a:pt x="1258" y="236"/>
                    <a:pt x="1247" y="225"/>
                    <a:pt x="1247" y="225"/>
                  </a:cubicBezTo>
                  <a:cubicBezTo>
                    <a:pt x="1247" y="225"/>
                    <a:pt x="1237" y="221"/>
                    <a:pt x="1218" y="222"/>
                  </a:cubicBezTo>
                  <a:cubicBezTo>
                    <a:pt x="1199" y="223"/>
                    <a:pt x="1215" y="230"/>
                    <a:pt x="1206" y="233"/>
                  </a:cubicBezTo>
                  <a:cubicBezTo>
                    <a:pt x="1197" y="236"/>
                    <a:pt x="1185" y="225"/>
                    <a:pt x="1182" y="215"/>
                  </a:cubicBezTo>
                  <a:cubicBezTo>
                    <a:pt x="1179" y="205"/>
                    <a:pt x="1184" y="202"/>
                    <a:pt x="1184" y="202"/>
                  </a:cubicBezTo>
                  <a:cubicBezTo>
                    <a:pt x="1180" y="196"/>
                    <a:pt x="1180" y="196"/>
                    <a:pt x="1180" y="196"/>
                  </a:cubicBezTo>
                  <a:cubicBezTo>
                    <a:pt x="1179" y="178"/>
                    <a:pt x="1179" y="178"/>
                    <a:pt x="1179" y="178"/>
                  </a:cubicBezTo>
                  <a:cubicBezTo>
                    <a:pt x="1174" y="172"/>
                    <a:pt x="1174" y="172"/>
                    <a:pt x="1174" y="172"/>
                  </a:cubicBezTo>
                  <a:cubicBezTo>
                    <a:pt x="1173" y="117"/>
                    <a:pt x="1173" y="117"/>
                    <a:pt x="1173" y="117"/>
                  </a:cubicBezTo>
                  <a:cubicBezTo>
                    <a:pt x="1162" y="114"/>
                    <a:pt x="1162" y="114"/>
                    <a:pt x="1162" y="114"/>
                  </a:cubicBezTo>
                  <a:cubicBezTo>
                    <a:pt x="1144" y="111"/>
                    <a:pt x="1144" y="111"/>
                    <a:pt x="1144" y="111"/>
                  </a:cubicBezTo>
                  <a:cubicBezTo>
                    <a:pt x="1144" y="111"/>
                    <a:pt x="1138" y="118"/>
                    <a:pt x="1124" y="118"/>
                  </a:cubicBezTo>
                  <a:cubicBezTo>
                    <a:pt x="1110" y="118"/>
                    <a:pt x="1100" y="102"/>
                    <a:pt x="1091" y="102"/>
                  </a:cubicBezTo>
                  <a:cubicBezTo>
                    <a:pt x="1082" y="102"/>
                    <a:pt x="1055" y="98"/>
                    <a:pt x="1055" y="98"/>
                  </a:cubicBezTo>
                  <a:cubicBezTo>
                    <a:pt x="1032" y="121"/>
                    <a:pt x="1032" y="121"/>
                    <a:pt x="1032" y="121"/>
                  </a:cubicBezTo>
                  <a:cubicBezTo>
                    <a:pt x="1032" y="121"/>
                    <a:pt x="1035" y="132"/>
                    <a:pt x="1025" y="136"/>
                  </a:cubicBezTo>
                  <a:cubicBezTo>
                    <a:pt x="1015" y="140"/>
                    <a:pt x="1003" y="137"/>
                    <a:pt x="1003" y="137"/>
                  </a:cubicBezTo>
                  <a:cubicBezTo>
                    <a:pt x="993" y="142"/>
                    <a:pt x="993" y="142"/>
                    <a:pt x="993" y="142"/>
                  </a:cubicBezTo>
                  <a:cubicBezTo>
                    <a:pt x="993" y="142"/>
                    <a:pt x="976" y="141"/>
                    <a:pt x="967" y="143"/>
                  </a:cubicBezTo>
                  <a:cubicBezTo>
                    <a:pt x="958" y="145"/>
                    <a:pt x="960" y="150"/>
                    <a:pt x="955" y="156"/>
                  </a:cubicBezTo>
                  <a:cubicBezTo>
                    <a:pt x="950" y="162"/>
                    <a:pt x="942" y="153"/>
                    <a:pt x="938" y="151"/>
                  </a:cubicBezTo>
                  <a:cubicBezTo>
                    <a:pt x="934" y="149"/>
                    <a:pt x="922" y="156"/>
                    <a:pt x="922" y="156"/>
                  </a:cubicBezTo>
                  <a:cubicBezTo>
                    <a:pt x="922" y="156"/>
                    <a:pt x="898" y="156"/>
                    <a:pt x="895" y="153"/>
                  </a:cubicBezTo>
                  <a:cubicBezTo>
                    <a:pt x="892" y="150"/>
                    <a:pt x="885" y="147"/>
                    <a:pt x="885" y="147"/>
                  </a:cubicBezTo>
                  <a:cubicBezTo>
                    <a:pt x="885" y="147"/>
                    <a:pt x="875" y="150"/>
                    <a:pt x="855" y="148"/>
                  </a:cubicBezTo>
                  <a:cubicBezTo>
                    <a:pt x="835" y="146"/>
                    <a:pt x="840" y="135"/>
                    <a:pt x="840" y="135"/>
                  </a:cubicBezTo>
                  <a:cubicBezTo>
                    <a:pt x="840" y="135"/>
                    <a:pt x="829" y="132"/>
                    <a:pt x="826" y="133"/>
                  </a:cubicBezTo>
                  <a:cubicBezTo>
                    <a:pt x="823" y="134"/>
                    <a:pt x="815" y="115"/>
                    <a:pt x="812" y="114"/>
                  </a:cubicBezTo>
                  <a:cubicBezTo>
                    <a:pt x="809" y="113"/>
                    <a:pt x="790" y="113"/>
                    <a:pt x="778" y="113"/>
                  </a:cubicBezTo>
                  <a:cubicBezTo>
                    <a:pt x="766" y="113"/>
                    <a:pt x="755" y="94"/>
                    <a:pt x="755" y="94"/>
                  </a:cubicBezTo>
                  <a:cubicBezTo>
                    <a:pt x="728" y="97"/>
                    <a:pt x="728" y="97"/>
                    <a:pt x="728" y="97"/>
                  </a:cubicBezTo>
                  <a:cubicBezTo>
                    <a:pt x="728" y="97"/>
                    <a:pt x="726" y="89"/>
                    <a:pt x="697" y="87"/>
                  </a:cubicBezTo>
                  <a:cubicBezTo>
                    <a:pt x="668" y="85"/>
                    <a:pt x="650" y="103"/>
                    <a:pt x="637" y="104"/>
                  </a:cubicBezTo>
                  <a:cubicBezTo>
                    <a:pt x="624" y="105"/>
                    <a:pt x="607" y="95"/>
                    <a:pt x="607" y="95"/>
                  </a:cubicBezTo>
                  <a:cubicBezTo>
                    <a:pt x="607" y="95"/>
                    <a:pt x="600" y="96"/>
                    <a:pt x="590" y="96"/>
                  </a:cubicBezTo>
                  <a:cubicBezTo>
                    <a:pt x="580" y="96"/>
                    <a:pt x="578" y="80"/>
                    <a:pt x="578" y="80"/>
                  </a:cubicBezTo>
                  <a:cubicBezTo>
                    <a:pt x="563" y="83"/>
                    <a:pt x="563" y="83"/>
                    <a:pt x="563" y="83"/>
                  </a:cubicBezTo>
                  <a:cubicBezTo>
                    <a:pt x="563" y="83"/>
                    <a:pt x="541" y="49"/>
                    <a:pt x="532" y="38"/>
                  </a:cubicBezTo>
                  <a:cubicBezTo>
                    <a:pt x="523" y="27"/>
                    <a:pt x="511" y="40"/>
                    <a:pt x="501" y="38"/>
                  </a:cubicBezTo>
                  <a:cubicBezTo>
                    <a:pt x="491" y="36"/>
                    <a:pt x="472" y="22"/>
                    <a:pt x="472" y="22"/>
                  </a:cubicBezTo>
                  <a:cubicBezTo>
                    <a:pt x="472" y="22"/>
                    <a:pt x="452" y="23"/>
                    <a:pt x="434" y="21"/>
                  </a:cubicBezTo>
                  <a:cubicBezTo>
                    <a:pt x="416" y="19"/>
                    <a:pt x="393" y="2"/>
                    <a:pt x="393" y="2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5" y="12"/>
                    <a:pt x="380" y="18"/>
                  </a:cubicBezTo>
                  <a:cubicBezTo>
                    <a:pt x="375" y="24"/>
                    <a:pt x="371" y="22"/>
                    <a:pt x="371" y="22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62" y="31"/>
                    <a:pt x="362" y="37"/>
                  </a:cubicBezTo>
                  <a:cubicBezTo>
                    <a:pt x="362" y="43"/>
                    <a:pt x="368" y="46"/>
                    <a:pt x="368" y="46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88" y="84"/>
                    <a:pt x="388" y="84"/>
                    <a:pt x="388" y="84"/>
                  </a:cubicBezTo>
                  <a:cubicBezTo>
                    <a:pt x="388" y="84"/>
                    <a:pt x="403" y="84"/>
                    <a:pt x="403" y="102"/>
                  </a:cubicBezTo>
                  <a:cubicBezTo>
                    <a:pt x="403" y="120"/>
                    <a:pt x="391" y="110"/>
                    <a:pt x="391" y="110"/>
                  </a:cubicBezTo>
                  <a:cubicBezTo>
                    <a:pt x="391" y="110"/>
                    <a:pt x="393" y="117"/>
                    <a:pt x="376" y="125"/>
                  </a:cubicBezTo>
                  <a:cubicBezTo>
                    <a:pt x="359" y="133"/>
                    <a:pt x="365" y="117"/>
                    <a:pt x="365" y="117"/>
                  </a:cubicBezTo>
                  <a:cubicBezTo>
                    <a:pt x="335" y="119"/>
                    <a:pt x="335" y="119"/>
                    <a:pt x="335" y="119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4" y="111"/>
                    <a:pt x="325" y="110"/>
                    <a:pt x="314" y="111"/>
                  </a:cubicBezTo>
                  <a:cubicBezTo>
                    <a:pt x="303" y="112"/>
                    <a:pt x="301" y="118"/>
                    <a:pt x="301" y="118"/>
                  </a:cubicBezTo>
                  <a:cubicBezTo>
                    <a:pt x="299" y="113"/>
                    <a:pt x="299" y="113"/>
                    <a:pt x="299" y="113"/>
                  </a:cubicBezTo>
                  <a:cubicBezTo>
                    <a:pt x="280" y="116"/>
                    <a:pt x="280" y="116"/>
                    <a:pt x="280" y="116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07"/>
                    <a:pt x="256" y="109"/>
                    <a:pt x="247" y="102"/>
                  </a:cubicBezTo>
                  <a:cubicBezTo>
                    <a:pt x="238" y="95"/>
                    <a:pt x="240" y="82"/>
                    <a:pt x="233" y="82"/>
                  </a:cubicBezTo>
                  <a:cubicBezTo>
                    <a:pt x="226" y="82"/>
                    <a:pt x="182" y="86"/>
                    <a:pt x="182" y="86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75"/>
                    <a:pt x="161" y="75"/>
                    <a:pt x="158" y="75"/>
                  </a:cubicBezTo>
                  <a:cubicBezTo>
                    <a:pt x="155" y="75"/>
                    <a:pt x="155" y="70"/>
                    <a:pt x="155" y="70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34" y="71"/>
                    <a:pt x="127" y="71"/>
                  </a:cubicBezTo>
                  <a:cubicBezTo>
                    <a:pt x="120" y="71"/>
                    <a:pt x="119" y="88"/>
                    <a:pt x="119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72" y="108"/>
                    <a:pt x="63" y="118"/>
                  </a:cubicBezTo>
                  <a:cubicBezTo>
                    <a:pt x="54" y="128"/>
                    <a:pt x="63" y="130"/>
                    <a:pt x="63" y="13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51"/>
                    <a:pt x="9" y="151"/>
                    <a:pt x="9" y="151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10" y="162"/>
                    <a:pt x="0" y="174"/>
                    <a:pt x="0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4" y="182"/>
                    <a:pt x="19" y="187"/>
                  </a:cubicBezTo>
                  <a:cubicBezTo>
                    <a:pt x="24" y="192"/>
                    <a:pt x="48" y="195"/>
                    <a:pt x="48" y="195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21"/>
                    <a:pt x="113" y="223"/>
                    <a:pt x="127" y="227"/>
                  </a:cubicBezTo>
                  <a:cubicBezTo>
                    <a:pt x="141" y="231"/>
                    <a:pt x="148" y="245"/>
                    <a:pt x="153" y="252"/>
                  </a:cubicBezTo>
                  <a:cubicBezTo>
                    <a:pt x="158" y="259"/>
                    <a:pt x="167" y="268"/>
                    <a:pt x="179" y="276"/>
                  </a:cubicBezTo>
                  <a:cubicBezTo>
                    <a:pt x="191" y="284"/>
                    <a:pt x="188" y="300"/>
                    <a:pt x="188" y="300"/>
                  </a:cubicBezTo>
                  <a:cubicBezTo>
                    <a:pt x="188" y="300"/>
                    <a:pt x="198" y="308"/>
                    <a:pt x="200" y="315"/>
                  </a:cubicBezTo>
                  <a:cubicBezTo>
                    <a:pt x="202" y="322"/>
                    <a:pt x="192" y="326"/>
                    <a:pt x="192" y="326"/>
                  </a:cubicBezTo>
                  <a:cubicBezTo>
                    <a:pt x="192" y="326"/>
                    <a:pt x="193" y="336"/>
                    <a:pt x="198" y="349"/>
                  </a:cubicBezTo>
                  <a:cubicBezTo>
                    <a:pt x="203" y="362"/>
                    <a:pt x="224" y="364"/>
                    <a:pt x="235" y="368"/>
                  </a:cubicBezTo>
                  <a:cubicBezTo>
                    <a:pt x="246" y="372"/>
                    <a:pt x="260" y="375"/>
                    <a:pt x="274" y="374"/>
                  </a:cubicBezTo>
                  <a:cubicBezTo>
                    <a:pt x="288" y="373"/>
                    <a:pt x="322" y="375"/>
                    <a:pt x="322" y="375"/>
                  </a:cubicBezTo>
                  <a:cubicBezTo>
                    <a:pt x="322" y="375"/>
                    <a:pt x="333" y="380"/>
                    <a:pt x="342" y="382"/>
                  </a:cubicBezTo>
                  <a:cubicBezTo>
                    <a:pt x="351" y="384"/>
                    <a:pt x="358" y="396"/>
                    <a:pt x="361" y="397"/>
                  </a:cubicBezTo>
                  <a:cubicBezTo>
                    <a:pt x="364" y="398"/>
                    <a:pt x="401" y="410"/>
                    <a:pt x="401" y="410"/>
                  </a:cubicBezTo>
                  <a:cubicBezTo>
                    <a:pt x="423" y="413"/>
                    <a:pt x="423" y="413"/>
                    <a:pt x="423" y="413"/>
                  </a:cubicBezTo>
                  <a:cubicBezTo>
                    <a:pt x="430" y="429"/>
                    <a:pt x="430" y="429"/>
                    <a:pt x="430" y="429"/>
                  </a:cubicBezTo>
                  <a:cubicBezTo>
                    <a:pt x="430" y="429"/>
                    <a:pt x="439" y="434"/>
                    <a:pt x="443" y="438"/>
                  </a:cubicBezTo>
                  <a:cubicBezTo>
                    <a:pt x="447" y="442"/>
                    <a:pt x="461" y="461"/>
                    <a:pt x="465" y="467"/>
                  </a:cubicBezTo>
                  <a:cubicBezTo>
                    <a:pt x="469" y="473"/>
                    <a:pt x="502" y="498"/>
                    <a:pt x="502" y="498"/>
                  </a:cubicBezTo>
                  <a:cubicBezTo>
                    <a:pt x="540" y="494"/>
                    <a:pt x="540" y="494"/>
                    <a:pt x="540" y="494"/>
                  </a:cubicBezTo>
                  <a:cubicBezTo>
                    <a:pt x="579" y="499"/>
                    <a:pt x="579" y="499"/>
                    <a:pt x="579" y="499"/>
                  </a:cubicBezTo>
                  <a:cubicBezTo>
                    <a:pt x="610" y="499"/>
                    <a:pt x="610" y="499"/>
                    <a:pt x="610" y="499"/>
                  </a:cubicBezTo>
                  <a:cubicBezTo>
                    <a:pt x="635" y="504"/>
                    <a:pt x="635" y="504"/>
                    <a:pt x="635" y="504"/>
                  </a:cubicBezTo>
                  <a:cubicBezTo>
                    <a:pt x="635" y="504"/>
                    <a:pt x="649" y="493"/>
                    <a:pt x="654" y="493"/>
                  </a:cubicBezTo>
                  <a:cubicBezTo>
                    <a:pt x="659" y="493"/>
                    <a:pt x="679" y="501"/>
                    <a:pt x="679" y="501"/>
                  </a:cubicBezTo>
                  <a:cubicBezTo>
                    <a:pt x="679" y="501"/>
                    <a:pt x="718" y="501"/>
                    <a:pt x="728" y="504"/>
                  </a:cubicBezTo>
                  <a:cubicBezTo>
                    <a:pt x="738" y="507"/>
                    <a:pt x="740" y="522"/>
                    <a:pt x="755" y="527"/>
                  </a:cubicBezTo>
                  <a:cubicBezTo>
                    <a:pt x="770" y="532"/>
                    <a:pt x="781" y="530"/>
                    <a:pt x="795" y="531"/>
                  </a:cubicBezTo>
                  <a:cubicBezTo>
                    <a:pt x="809" y="532"/>
                    <a:pt x="837" y="547"/>
                    <a:pt x="837" y="547"/>
                  </a:cubicBezTo>
                  <a:cubicBezTo>
                    <a:pt x="837" y="547"/>
                    <a:pt x="858" y="538"/>
                    <a:pt x="864" y="538"/>
                  </a:cubicBezTo>
                  <a:cubicBezTo>
                    <a:pt x="870" y="538"/>
                    <a:pt x="873" y="550"/>
                    <a:pt x="873" y="550"/>
                  </a:cubicBezTo>
                  <a:cubicBezTo>
                    <a:pt x="873" y="550"/>
                    <a:pt x="893" y="558"/>
                    <a:pt x="899" y="553"/>
                  </a:cubicBezTo>
                  <a:cubicBezTo>
                    <a:pt x="905" y="548"/>
                    <a:pt x="948" y="519"/>
                    <a:pt x="962" y="513"/>
                  </a:cubicBezTo>
                  <a:cubicBezTo>
                    <a:pt x="976" y="507"/>
                    <a:pt x="1066" y="510"/>
                    <a:pt x="1066" y="510"/>
                  </a:cubicBezTo>
                  <a:cubicBezTo>
                    <a:pt x="1078" y="497"/>
                    <a:pt x="1078" y="497"/>
                    <a:pt x="1078" y="497"/>
                  </a:cubicBezTo>
                  <a:cubicBezTo>
                    <a:pt x="1078" y="497"/>
                    <a:pt x="1095" y="499"/>
                    <a:pt x="1103" y="492"/>
                  </a:cubicBezTo>
                  <a:cubicBezTo>
                    <a:pt x="1111" y="485"/>
                    <a:pt x="1109" y="470"/>
                    <a:pt x="1112" y="463"/>
                  </a:cubicBezTo>
                  <a:cubicBezTo>
                    <a:pt x="1115" y="456"/>
                    <a:pt x="1125" y="459"/>
                    <a:pt x="1129" y="459"/>
                  </a:cubicBezTo>
                  <a:cubicBezTo>
                    <a:pt x="1133" y="459"/>
                    <a:pt x="1143" y="444"/>
                    <a:pt x="1144" y="439"/>
                  </a:cubicBezTo>
                  <a:cubicBezTo>
                    <a:pt x="1145" y="434"/>
                    <a:pt x="1114" y="411"/>
                    <a:pt x="1108" y="407"/>
                  </a:cubicBezTo>
                  <a:cubicBezTo>
                    <a:pt x="1102" y="403"/>
                    <a:pt x="1100" y="383"/>
                    <a:pt x="1106" y="373"/>
                  </a:cubicBezTo>
                  <a:cubicBezTo>
                    <a:pt x="1112" y="363"/>
                    <a:pt x="1130" y="369"/>
                    <a:pt x="1134" y="370"/>
                  </a:cubicBezTo>
                  <a:cubicBezTo>
                    <a:pt x="1138" y="371"/>
                    <a:pt x="1160" y="388"/>
                    <a:pt x="1160" y="388"/>
                  </a:cubicBezTo>
                  <a:cubicBezTo>
                    <a:pt x="1160" y="388"/>
                    <a:pt x="1187" y="387"/>
                    <a:pt x="1194" y="385"/>
                  </a:cubicBezTo>
                  <a:cubicBezTo>
                    <a:pt x="1201" y="383"/>
                    <a:pt x="1212" y="369"/>
                    <a:pt x="1212" y="369"/>
                  </a:cubicBezTo>
                  <a:cubicBezTo>
                    <a:pt x="1212" y="369"/>
                    <a:pt x="1210" y="353"/>
                    <a:pt x="1213" y="350"/>
                  </a:cubicBezTo>
                  <a:cubicBezTo>
                    <a:pt x="1216" y="347"/>
                    <a:pt x="1262" y="350"/>
                    <a:pt x="1262" y="350"/>
                  </a:cubicBezTo>
                  <a:cubicBezTo>
                    <a:pt x="1278" y="336"/>
                    <a:pt x="1278" y="336"/>
                    <a:pt x="1278" y="336"/>
                  </a:cubicBezTo>
                  <a:cubicBezTo>
                    <a:pt x="1278" y="336"/>
                    <a:pt x="1263" y="325"/>
                    <a:pt x="1270" y="314"/>
                  </a:cubicBezTo>
                  <a:cubicBezTo>
                    <a:pt x="1277" y="303"/>
                    <a:pt x="1302" y="302"/>
                    <a:pt x="1302" y="302"/>
                  </a:cubicBezTo>
                  <a:cubicBezTo>
                    <a:pt x="1302" y="291"/>
                    <a:pt x="1302" y="291"/>
                    <a:pt x="1302" y="291"/>
                  </a:cubicBezTo>
                  <a:cubicBezTo>
                    <a:pt x="1320" y="294"/>
                    <a:pt x="1320" y="294"/>
                    <a:pt x="1320" y="294"/>
                  </a:cubicBezTo>
                  <a:cubicBezTo>
                    <a:pt x="1326" y="291"/>
                    <a:pt x="1326" y="291"/>
                    <a:pt x="1326" y="291"/>
                  </a:cubicBezTo>
                  <a:cubicBezTo>
                    <a:pt x="1335" y="282"/>
                    <a:pt x="1335" y="282"/>
                    <a:pt x="1335" y="282"/>
                  </a:cubicBezTo>
                  <a:cubicBezTo>
                    <a:pt x="1335" y="282"/>
                    <a:pt x="1346" y="279"/>
                    <a:pt x="1355" y="279"/>
                  </a:cubicBezTo>
                  <a:cubicBezTo>
                    <a:pt x="1364" y="279"/>
                    <a:pt x="1372" y="288"/>
                    <a:pt x="1372" y="288"/>
                  </a:cubicBezTo>
                  <a:cubicBezTo>
                    <a:pt x="1372" y="288"/>
                    <a:pt x="1390" y="287"/>
                    <a:pt x="1398" y="286"/>
                  </a:cubicBezTo>
                  <a:cubicBezTo>
                    <a:pt x="1406" y="285"/>
                    <a:pt x="1403" y="279"/>
                    <a:pt x="1394" y="27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2" name="Freeform 108">
              <a:extLst>
                <a:ext uri="{FF2B5EF4-FFF2-40B4-BE49-F238E27FC236}">
                  <a16:creationId xmlns:a16="http://schemas.microsoft.com/office/drawing/2014/main" id="{864D7C6E-D2FA-4864-CAE0-497753F8A8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8507" y="2999670"/>
              <a:ext cx="742348" cy="899353"/>
            </a:xfrm>
            <a:custGeom>
              <a:avLst/>
              <a:gdLst>
                <a:gd name="T0" fmla="*/ 63 w 1304"/>
                <a:gd name="T1" fmla="*/ 65 h 1578"/>
                <a:gd name="T2" fmla="*/ 66 w 1304"/>
                <a:gd name="T3" fmla="*/ 81 h 1578"/>
                <a:gd name="T4" fmla="*/ 68 w 1304"/>
                <a:gd name="T5" fmla="*/ 22 h 1578"/>
                <a:gd name="T6" fmla="*/ 64 w 1304"/>
                <a:gd name="T7" fmla="*/ 20 h 1578"/>
                <a:gd name="T8" fmla="*/ 59 w 1304"/>
                <a:gd name="T9" fmla="*/ 21 h 1578"/>
                <a:gd name="T10" fmla="*/ 55 w 1304"/>
                <a:gd name="T11" fmla="*/ 24 h 1578"/>
                <a:gd name="T12" fmla="*/ 54 w 1304"/>
                <a:gd name="T13" fmla="*/ 26 h 1578"/>
                <a:gd name="T14" fmla="*/ 48 w 1304"/>
                <a:gd name="T15" fmla="*/ 25 h 1578"/>
                <a:gd name="T16" fmla="*/ 46 w 1304"/>
                <a:gd name="T17" fmla="*/ 24 h 1578"/>
                <a:gd name="T18" fmla="*/ 44 w 1304"/>
                <a:gd name="T19" fmla="*/ 27 h 1578"/>
                <a:gd name="T20" fmla="*/ 40 w 1304"/>
                <a:gd name="T21" fmla="*/ 26 h 1578"/>
                <a:gd name="T22" fmla="*/ 36 w 1304"/>
                <a:gd name="T23" fmla="*/ 24 h 1578"/>
                <a:gd name="T24" fmla="*/ 33 w 1304"/>
                <a:gd name="T25" fmla="*/ 24 h 1578"/>
                <a:gd name="T26" fmla="*/ 30 w 1304"/>
                <a:gd name="T27" fmla="*/ 22 h 1578"/>
                <a:gd name="T28" fmla="*/ 26 w 1304"/>
                <a:gd name="T29" fmla="*/ 20 h 1578"/>
                <a:gd name="T30" fmla="*/ 27 w 1304"/>
                <a:gd name="T31" fmla="*/ 17 h 1578"/>
                <a:gd name="T32" fmla="*/ 25 w 1304"/>
                <a:gd name="T33" fmla="*/ 15 h 1578"/>
                <a:gd name="T34" fmla="*/ 22 w 1304"/>
                <a:gd name="T35" fmla="*/ 12 h 1578"/>
                <a:gd name="T36" fmla="*/ 22 w 1304"/>
                <a:gd name="T37" fmla="*/ 10 h 1578"/>
                <a:gd name="T38" fmla="*/ 21 w 1304"/>
                <a:gd name="T39" fmla="*/ 7 h 1578"/>
                <a:gd name="T40" fmla="*/ 23 w 1304"/>
                <a:gd name="T41" fmla="*/ 4 h 1578"/>
                <a:gd name="T42" fmla="*/ 16 w 1304"/>
                <a:gd name="T43" fmla="*/ 1 h 1578"/>
                <a:gd name="T44" fmla="*/ 14 w 1304"/>
                <a:gd name="T45" fmla="*/ 4 h 1578"/>
                <a:gd name="T46" fmla="*/ 8 w 1304"/>
                <a:gd name="T47" fmla="*/ 4 h 1578"/>
                <a:gd name="T48" fmla="*/ 10 w 1304"/>
                <a:gd name="T49" fmla="*/ 7 h 1578"/>
                <a:gd name="T50" fmla="*/ 12 w 1304"/>
                <a:gd name="T51" fmla="*/ 10 h 1578"/>
                <a:gd name="T52" fmla="*/ 12 w 1304"/>
                <a:gd name="T53" fmla="*/ 14 h 1578"/>
                <a:gd name="T54" fmla="*/ 9 w 1304"/>
                <a:gd name="T55" fmla="*/ 19 h 1578"/>
                <a:gd name="T56" fmla="*/ 6 w 1304"/>
                <a:gd name="T57" fmla="*/ 23 h 1578"/>
                <a:gd name="T58" fmla="*/ 1 w 1304"/>
                <a:gd name="T59" fmla="*/ 26 h 1578"/>
                <a:gd name="T60" fmla="*/ 4 w 1304"/>
                <a:gd name="T61" fmla="*/ 29 h 1578"/>
                <a:gd name="T62" fmla="*/ 5 w 1304"/>
                <a:gd name="T63" fmla="*/ 33 h 1578"/>
                <a:gd name="T64" fmla="*/ 1 w 1304"/>
                <a:gd name="T65" fmla="*/ 33 h 1578"/>
                <a:gd name="T66" fmla="*/ 4 w 1304"/>
                <a:gd name="T67" fmla="*/ 37 h 1578"/>
                <a:gd name="T68" fmla="*/ 4 w 1304"/>
                <a:gd name="T69" fmla="*/ 41 h 1578"/>
                <a:gd name="T70" fmla="*/ 11 w 1304"/>
                <a:gd name="T71" fmla="*/ 41 h 1578"/>
                <a:gd name="T72" fmla="*/ 14 w 1304"/>
                <a:gd name="T73" fmla="*/ 55 h 1578"/>
                <a:gd name="T74" fmla="*/ 21 w 1304"/>
                <a:gd name="T75" fmla="*/ 70 h 1578"/>
                <a:gd name="T76" fmla="*/ 29 w 1304"/>
                <a:gd name="T77" fmla="*/ 76 h 1578"/>
                <a:gd name="T78" fmla="*/ 31 w 1304"/>
                <a:gd name="T79" fmla="*/ 68 h 1578"/>
                <a:gd name="T80" fmla="*/ 31 w 1304"/>
                <a:gd name="T81" fmla="*/ 58 h 1578"/>
                <a:gd name="T82" fmla="*/ 36 w 1304"/>
                <a:gd name="T83" fmla="*/ 55 h 1578"/>
                <a:gd name="T84" fmla="*/ 43 w 1304"/>
                <a:gd name="T85" fmla="*/ 45 h 1578"/>
                <a:gd name="T86" fmla="*/ 46 w 1304"/>
                <a:gd name="T87" fmla="*/ 42 h 1578"/>
                <a:gd name="T88" fmla="*/ 49 w 1304"/>
                <a:gd name="T89" fmla="*/ 39 h 1578"/>
                <a:gd name="T90" fmla="*/ 50 w 1304"/>
                <a:gd name="T91" fmla="*/ 37 h 1578"/>
                <a:gd name="T92" fmla="*/ 48 w 1304"/>
                <a:gd name="T93" fmla="*/ 31 h 1578"/>
                <a:gd name="T94" fmla="*/ 47 w 1304"/>
                <a:gd name="T95" fmla="*/ 28 h 1578"/>
                <a:gd name="T96" fmla="*/ 48 w 1304"/>
                <a:gd name="T97" fmla="*/ 27 h 1578"/>
                <a:gd name="T98" fmla="*/ 51 w 1304"/>
                <a:gd name="T99" fmla="*/ 28 h 1578"/>
                <a:gd name="T100" fmla="*/ 55 w 1304"/>
                <a:gd name="T101" fmla="*/ 31 h 1578"/>
                <a:gd name="T102" fmla="*/ 55 w 1304"/>
                <a:gd name="T103" fmla="*/ 34 h 1578"/>
                <a:gd name="T104" fmla="*/ 57 w 1304"/>
                <a:gd name="T105" fmla="*/ 35 h 1578"/>
                <a:gd name="T106" fmla="*/ 61 w 1304"/>
                <a:gd name="T107" fmla="*/ 39 h 1578"/>
                <a:gd name="T108" fmla="*/ 59 w 1304"/>
                <a:gd name="T109" fmla="*/ 34 h 1578"/>
                <a:gd name="T110" fmla="*/ 62 w 1304"/>
                <a:gd name="T111" fmla="*/ 30 h 1578"/>
                <a:gd name="T112" fmla="*/ 65 w 1304"/>
                <a:gd name="T113" fmla="*/ 26 h 15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04"/>
                <a:gd name="T172" fmla="*/ 0 h 1578"/>
                <a:gd name="T173" fmla="*/ 1304 w 1304"/>
                <a:gd name="T174" fmla="*/ 1578 h 15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04" h="1578">
                  <a:moveTo>
                    <a:pt x="1204" y="1196"/>
                  </a:moveTo>
                  <a:cubicBezTo>
                    <a:pt x="1184" y="1198"/>
                    <a:pt x="1188" y="1259"/>
                    <a:pt x="1188" y="1259"/>
                  </a:cubicBezTo>
                  <a:cubicBezTo>
                    <a:pt x="1191" y="1325"/>
                    <a:pt x="1191" y="1325"/>
                    <a:pt x="1191" y="1325"/>
                  </a:cubicBezTo>
                  <a:cubicBezTo>
                    <a:pt x="1202" y="1305"/>
                    <a:pt x="1202" y="1305"/>
                    <a:pt x="1202" y="1305"/>
                  </a:cubicBezTo>
                  <a:cubicBezTo>
                    <a:pt x="1202" y="1237"/>
                    <a:pt x="1202" y="1237"/>
                    <a:pt x="1202" y="1237"/>
                  </a:cubicBezTo>
                  <a:cubicBezTo>
                    <a:pt x="1202" y="1237"/>
                    <a:pt x="1220" y="1194"/>
                    <a:pt x="1204" y="1196"/>
                  </a:cubicBezTo>
                  <a:close/>
                  <a:moveTo>
                    <a:pt x="1195" y="1357"/>
                  </a:moveTo>
                  <a:cubicBezTo>
                    <a:pt x="1180" y="1357"/>
                    <a:pt x="1196" y="1389"/>
                    <a:pt x="1196" y="1389"/>
                  </a:cubicBezTo>
                  <a:cubicBezTo>
                    <a:pt x="1196" y="1389"/>
                    <a:pt x="1209" y="1357"/>
                    <a:pt x="1195" y="1357"/>
                  </a:cubicBezTo>
                  <a:close/>
                  <a:moveTo>
                    <a:pt x="1259" y="1543"/>
                  </a:moveTo>
                  <a:cubicBezTo>
                    <a:pt x="1251" y="1544"/>
                    <a:pt x="1255" y="1578"/>
                    <a:pt x="1270" y="1578"/>
                  </a:cubicBezTo>
                  <a:cubicBezTo>
                    <a:pt x="1270" y="1578"/>
                    <a:pt x="1267" y="1542"/>
                    <a:pt x="1259" y="1543"/>
                  </a:cubicBezTo>
                  <a:close/>
                  <a:moveTo>
                    <a:pt x="1280" y="454"/>
                  </a:moveTo>
                  <a:cubicBezTo>
                    <a:pt x="1280" y="445"/>
                    <a:pt x="1304" y="436"/>
                    <a:pt x="1304" y="436"/>
                  </a:cubicBezTo>
                  <a:cubicBezTo>
                    <a:pt x="1302" y="417"/>
                    <a:pt x="1302" y="417"/>
                    <a:pt x="1302" y="417"/>
                  </a:cubicBezTo>
                  <a:cubicBezTo>
                    <a:pt x="1302" y="417"/>
                    <a:pt x="1287" y="413"/>
                    <a:pt x="1280" y="413"/>
                  </a:cubicBezTo>
                  <a:cubicBezTo>
                    <a:pt x="1273" y="413"/>
                    <a:pt x="1258" y="413"/>
                    <a:pt x="1250" y="411"/>
                  </a:cubicBezTo>
                  <a:cubicBezTo>
                    <a:pt x="1242" y="409"/>
                    <a:pt x="1262" y="400"/>
                    <a:pt x="1262" y="400"/>
                  </a:cubicBezTo>
                  <a:cubicBezTo>
                    <a:pt x="1251" y="380"/>
                    <a:pt x="1251" y="380"/>
                    <a:pt x="1251" y="380"/>
                  </a:cubicBezTo>
                  <a:cubicBezTo>
                    <a:pt x="1251" y="380"/>
                    <a:pt x="1240" y="381"/>
                    <a:pt x="1231" y="379"/>
                  </a:cubicBezTo>
                  <a:cubicBezTo>
                    <a:pt x="1222" y="377"/>
                    <a:pt x="1238" y="369"/>
                    <a:pt x="1238" y="369"/>
                  </a:cubicBezTo>
                  <a:cubicBezTo>
                    <a:pt x="1238" y="369"/>
                    <a:pt x="1237" y="364"/>
                    <a:pt x="1219" y="355"/>
                  </a:cubicBezTo>
                  <a:cubicBezTo>
                    <a:pt x="1201" y="346"/>
                    <a:pt x="1209" y="377"/>
                    <a:pt x="1198" y="377"/>
                  </a:cubicBezTo>
                  <a:cubicBezTo>
                    <a:pt x="1187" y="377"/>
                    <a:pt x="1173" y="363"/>
                    <a:pt x="1165" y="363"/>
                  </a:cubicBezTo>
                  <a:cubicBezTo>
                    <a:pt x="1157" y="363"/>
                    <a:pt x="1140" y="382"/>
                    <a:pt x="1133" y="390"/>
                  </a:cubicBezTo>
                  <a:cubicBezTo>
                    <a:pt x="1126" y="398"/>
                    <a:pt x="1102" y="394"/>
                    <a:pt x="1102" y="394"/>
                  </a:cubicBezTo>
                  <a:cubicBezTo>
                    <a:pt x="1102" y="394"/>
                    <a:pt x="1109" y="410"/>
                    <a:pt x="1107" y="415"/>
                  </a:cubicBezTo>
                  <a:cubicBezTo>
                    <a:pt x="1105" y="420"/>
                    <a:pt x="1084" y="422"/>
                    <a:pt x="1084" y="422"/>
                  </a:cubicBezTo>
                  <a:cubicBezTo>
                    <a:pt x="1084" y="422"/>
                    <a:pt x="1092" y="438"/>
                    <a:pt x="1084" y="445"/>
                  </a:cubicBezTo>
                  <a:cubicBezTo>
                    <a:pt x="1076" y="452"/>
                    <a:pt x="1045" y="450"/>
                    <a:pt x="1045" y="450"/>
                  </a:cubicBezTo>
                  <a:cubicBezTo>
                    <a:pt x="1045" y="450"/>
                    <a:pt x="1039" y="452"/>
                    <a:pt x="1043" y="459"/>
                  </a:cubicBezTo>
                  <a:cubicBezTo>
                    <a:pt x="1047" y="466"/>
                    <a:pt x="1064" y="465"/>
                    <a:pt x="1064" y="465"/>
                  </a:cubicBezTo>
                  <a:cubicBezTo>
                    <a:pt x="1064" y="479"/>
                    <a:pt x="1064" y="479"/>
                    <a:pt x="1064" y="479"/>
                  </a:cubicBezTo>
                  <a:cubicBezTo>
                    <a:pt x="1064" y="479"/>
                    <a:pt x="1079" y="490"/>
                    <a:pt x="1065" y="497"/>
                  </a:cubicBezTo>
                  <a:cubicBezTo>
                    <a:pt x="1051" y="504"/>
                    <a:pt x="1042" y="497"/>
                    <a:pt x="1042" y="497"/>
                  </a:cubicBezTo>
                  <a:cubicBezTo>
                    <a:pt x="1042" y="497"/>
                    <a:pt x="1034" y="501"/>
                    <a:pt x="1016" y="501"/>
                  </a:cubicBezTo>
                  <a:cubicBezTo>
                    <a:pt x="998" y="501"/>
                    <a:pt x="1000" y="495"/>
                    <a:pt x="991" y="495"/>
                  </a:cubicBezTo>
                  <a:cubicBezTo>
                    <a:pt x="982" y="495"/>
                    <a:pt x="988" y="503"/>
                    <a:pt x="969" y="503"/>
                  </a:cubicBezTo>
                  <a:cubicBezTo>
                    <a:pt x="950" y="503"/>
                    <a:pt x="953" y="492"/>
                    <a:pt x="953" y="492"/>
                  </a:cubicBezTo>
                  <a:cubicBezTo>
                    <a:pt x="953" y="492"/>
                    <a:pt x="949" y="503"/>
                    <a:pt x="926" y="487"/>
                  </a:cubicBezTo>
                  <a:cubicBezTo>
                    <a:pt x="903" y="471"/>
                    <a:pt x="921" y="467"/>
                    <a:pt x="921" y="467"/>
                  </a:cubicBezTo>
                  <a:cubicBezTo>
                    <a:pt x="921" y="467"/>
                    <a:pt x="916" y="468"/>
                    <a:pt x="911" y="466"/>
                  </a:cubicBezTo>
                  <a:cubicBezTo>
                    <a:pt x="906" y="464"/>
                    <a:pt x="917" y="436"/>
                    <a:pt x="906" y="427"/>
                  </a:cubicBezTo>
                  <a:cubicBezTo>
                    <a:pt x="899" y="422"/>
                    <a:pt x="888" y="428"/>
                    <a:pt x="876" y="435"/>
                  </a:cubicBezTo>
                  <a:cubicBezTo>
                    <a:pt x="882" y="450"/>
                    <a:pt x="882" y="450"/>
                    <a:pt x="882" y="450"/>
                  </a:cubicBezTo>
                  <a:cubicBezTo>
                    <a:pt x="882" y="482"/>
                    <a:pt x="882" y="482"/>
                    <a:pt x="882" y="482"/>
                  </a:cubicBezTo>
                  <a:cubicBezTo>
                    <a:pt x="892" y="497"/>
                    <a:pt x="892" y="497"/>
                    <a:pt x="892" y="497"/>
                  </a:cubicBezTo>
                  <a:cubicBezTo>
                    <a:pt x="892" y="497"/>
                    <a:pt x="892" y="506"/>
                    <a:pt x="891" y="515"/>
                  </a:cubicBezTo>
                  <a:cubicBezTo>
                    <a:pt x="890" y="524"/>
                    <a:pt x="869" y="521"/>
                    <a:pt x="869" y="521"/>
                  </a:cubicBezTo>
                  <a:cubicBezTo>
                    <a:pt x="869" y="521"/>
                    <a:pt x="862" y="520"/>
                    <a:pt x="853" y="520"/>
                  </a:cubicBezTo>
                  <a:cubicBezTo>
                    <a:pt x="844" y="520"/>
                    <a:pt x="849" y="510"/>
                    <a:pt x="843" y="510"/>
                  </a:cubicBezTo>
                  <a:cubicBezTo>
                    <a:pt x="837" y="510"/>
                    <a:pt x="829" y="521"/>
                    <a:pt x="829" y="521"/>
                  </a:cubicBezTo>
                  <a:cubicBezTo>
                    <a:pt x="829" y="521"/>
                    <a:pt x="818" y="508"/>
                    <a:pt x="805" y="504"/>
                  </a:cubicBezTo>
                  <a:cubicBezTo>
                    <a:pt x="792" y="500"/>
                    <a:pt x="788" y="509"/>
                    <a:pt x="788" y="509"/>
                  </a:cubicBezTo>
                  <a:cubicBezTo>
                    <a:pt x="766" y="495"/>
                    <a:pt x="766" y="495"/>
                    <a:pt x="766" y="495"/>
                  </a:cubicBezTo>
                  <a:cubicBezTo>
                    <a:pt x="754" y="504"/>
                    <a:pt x="754" y="504"/>
                    <a:pt x="754" y="504"/>
                  </a:cubicBezTo>
                  <a:cubicBezTo>
                    <a:pt x="754" y="504"/>
                    <a:pt x="745" y="493"/>
                    <a:pt x="736" y="485"/>
                  </a:cubicBezTo>
                  <a:cubicBezTo>
                    <a:pt x="727" y="477"/>
                    <a:pt x="719" y="467"/>
                    <a:pt x="719" y="467"/>
                  </a:cubicBezTo>
                  <a:cubicBezTo>
                    <a:pt x="705" y="470"/>
                    <a:pt x="705" y="470"/>
                    <a:pt x="705" y="470"/>
                  </a:cubicBezTo>
                  <a:cubicBezTo>
                    <a:pt x="705" y="470"/>
                    <a:pt x="704" y="462"/>
                    <a:pt x="695" y="457"/>
                  </a:cubicBezTo>
                  <a:cubicBezTo>
                    <a:pt x="686" y="452"/>
                    <a:pt x="687" y="471"/>
                    <a:pt x="687" y="471"/>
                  </a:cubicBezTo>
                  <a:cubicBezTo>
                    <a:pt x="687" y="471"/>
                    <a:pt x="686" y="464"/>
                    <a:pt x="677" y="464"/>
                  </a:cubicBezTo>
                  <a:cubicBezTo>
                    <a:pt x="668" y="464"/>
                    <a:pt x="663" y="472"/>
                    <a:pt x="663" y="472"/>
                  </a:cubicBezTo>
                  <a:cubicBezTo>
                    <a:pt x="660" y="465"/>
                    <a:pt x="660" y="465"/>
                    <a:pt x="660" y="465"/>
                  </a:cubicBezTo>
                  <a:cubicBezTo>
                    <a:pt x="660" y="465"/>
                    <a:pt x="653" y="461"/>
                    <a:pt x="640" y="459"/>
                  </a:cubicBezTo>
                  <a:cubicBezTo>
                    <a:pt x="627" y="457"/>
                    <a:pt x="639" y="452"/>
                    <a:pt x="634" y="450"/>
                  </a:cubicBezTo>
                  <a:cubicBezTo>
                    <a:pt x="629" y="448"/>
                    <a:pt x="624" y="451"/>
                    <a:pt x="616" y="451"/>
                  </a:cubicBezTo>
                  <a:cubicBezTo>
                    <a:pt x="608" y="451"/>
                    <a:pt x="601" y="437"/>
                    <a:pt x="601" y="437"/>
                  </a:cubicBezTo>
                  <a:cubicBezTo>
                    <a:pt x="592" y="438"/>
                    <a:pt x="592" y="438"/>
                    <a:pt x="592" y="438"/>
                  </a:cubicBezTo>
                  <a:cubicBezTo>
                    <a:pt x="564" y="423"/>
                    <a:pt x="564" y="423"/>
                    <a:pt x="564" y="423"/>
                  </a:cubicBezTo>
                  <a:cubicBezTo>
                    <a:pt x="557" y="413"/>
                    <a:pt x="557" y="413"/>
                    <a:pt x="557" y="413"/>
                  </a:cubicBezTo>
                  <a:cubicBezTo>
                    <a:pt x="539" y="413"/>
                    <a:pt x="539" y="413"/>
                    <a:pt x="539" y="413"/>
                  </a:cubicBezTo>
                  <a:cubicBezTo>
                    <a:pt x="528" y="395"/>
                    <a:pt x="528" y="395"/>
                    <a:pt x="528" y="395"/>
                  </a:cubicBezTo>
                  <a:cubicBezTo>
                    <a:pt x="518" y="401"/>
                    <a:pt x="518" y="401"/>
                    <a:pt x="518" y="401"/>
                  </a:cubicBezTo>
                  <a:cubicBezTo>
                    <a:pt x="518" y="401"/>
                    <a:pt x="506" y="390"/>
                    <a:pt x="499" y="382"/>
                  </a:cubicBezTo>
                  <a:cubicBezTo>
                    <a:pt x="492" y="374"/>
                    <a:pt x="511" y="364"/>
                    <a:pt x="511" y="364"/>
                  </a:cubicBezTo>
                  <a:cubicBezTo>
                    <a:pt x="511" y="364"/>
                    <a:pt x="506" y="364"/>
                    <a:pt x="502" y="358"/>
                  </a:cubicBezTo>
                  <a:cubicBezTo>
                    <a:pt x="498" y="352"/>
                    <a:pt x="509" y="350"/>
                    <a:pt x="509" y="350"/>
                  </a:cubicBezTo>
                  <a:cubicBezTo>
                    <a:pt x="503" y="341"/>
                    <a:pt x="503" y="341"/>
                    <a:pt x="503" y="341"/>
                  </a:cubicBezTo>
                  <a:cubicBezTo>
                    <a:pt x="518" y="323"/>
                    <a:pt x="518" y="323"/>
                    <a:pt x="518" y="323"/>
                  </a:cubicBezTo>
                  <a:cubicBezTo>
                    <a:pt x="524" y="310"/>
                    <a:pt x="524" y="310"/>
                    <a:pt x="524" y="310"/>
                  </a:cubicBezTo>
                  <a:cubicBezTo>
                    <a:pt x="509" y="296"/>
                    <a:pt x="509" y="296"/>
                    <a:pt x="509" y="296"/>
                  </a:cubicBezTo>
                  <a:cubicBezTo>
                    <a:pt x="509" y="296"/>
                    <a:pt x="498" y="296"/>
                    <a:pt x="492" y="293"/>
                  </a:cubicBezTo>
                  <a:cubicBezTo>
                    <a:pt x="486" y="290"/>
                    <a:pt x="492" y="282"/>
                    <a:pt x="492" y="282"/>
                  </a:cubicBezTo>
                  <a:cubicBezTo>
                    <a:pt x="481" y="283"/>
                    <a:pt x="481" y="283"/>
                    <a:pt x="481" y="283"/>
                  </a:cubicBezTo>
                  <a:cubicBezTo>
                    <a:pt x="466" y="272"/>
                    <a:pt x="466" y="272"/>
                    <a:pt x="466" y="272"/>
                  </a:cubicBezTo>
                  <a:cubicBezTo>
                    <a:pt x="466" y="272"/>
                    <a:pt x="456" y="270"/>
                    <a:pt x="445" y="266"/>
                  </a:cubicBezTo>
                  <a:cubicBezTo>
                    <a:pt x="434" y="262"/>
                    <a:pt x="430" y="247"/>
                    <a:pt x="430" y="247"/>
                  </a:cubicBezTo>
                  <a:cubicBezTo>
                    <a:pt x="430" y="247"/>
                    <a:pt x="419" y="252"/>
                    <a:pt x="412" y="249"/>
                  </a:cubicBezTo>
                  <a:cubicBezTo>
                    <a:pt x="405" y="246"/>
                    <a:pt x="412" y="221"/>
                    <a:pt x="412" y="221"/>
                  </a:cubicBezTo>
                  <a:cubicBezTo>
                    <a:pt x="412" y="221"/>
                    <a:pt x="392" y="210"/>
                    <a:pt x="390" y="200"/>
                  </a:cubicBezTo>
                  <a:cubicBezTo>
                    <a:pt x="388" y="190"/>
                    <a:pt x="401" y="185"/>
                    <a:pt x="405" y="185"/>
                  </a:cubicBezTo>
                  <a:cubicBezTo>
                    <a:pt x="409" y="185"/>
                    <a:pt x="407" y="195"/>
                    <a:pt x="407" y="195"/>
                  </a:cubicBezTo>
                  <a:cubicBezTo>
                    <a:pt x="417" y="203"/>
                    <a:pt x="417" y="203"/>
                    <a:pt x="417" y="203"/>
                  </a:cubicBezTo>
                  <a:cubicBezTo>
                    <a:pt x="423" y="194"/>
                    <a:pt x="423" y="194"/>
                    <a:pt x="423" y="194"/>
                  </a:cubicBezTo>
                  <a:cubicBezTo>
                    <a:pt x="423" y="194"/>
                    <a:pt x="432" y="191"/>
                    <a:pt x="440" y="186"/>
                  </a:cubicBezTo>
                  <a:cubicBezTo>
                    <a:pt x="448" y="181"/>
                    <a:pt x="429" y="166"/>
                    <a:pt x="429" y="166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4" y="157"/>
                    <a:pt x="419" y="154"/>
                    <a:pt x="404" y="147"/>
                  </a:cubicBezTo>
                  <a:cubicBezTo>
                    <a:pt x="389" y="140"/>
                    <a:pt x="395" y="129"/>
                    <a:pt x="395" y="129"/>
                  </a:cubicBezTo>
                  <a:cubicBezTo>
                    <a:pt x="406" y="123"/>
                    <a:pt x="406" y="123"/>
                    <a:pt x="406" y="123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4" y="107"/>
                    <a:pt x="413" y="108"/>
                    <a:pt x="422" y="103"/>
                  </a:cubicBezTo>
                  <a:cubicBezTo>
                    <a:pt x="431" y="98"/>
                    <a:pt x="425" y="74"/>
                    <a:pt x="425" y="74"/>
                  </a:cubicBezTo>
                  <a:cubicBezTo>
                    <a:pt x="425" y="74"/>
                    <a:pt x="434" y="74"/>
                    <a:pt x="438" y="69"/>
                  </a:cubicBezTo>
                  <a:cubicBezTo>
                    <a:pt x="442" y="64"/>
                    <a:pt x="438" y="28"/>
                    <a:pt x="438" y="28"/>
                  </a:cubicBezTo>
                  <a:cubicBezTo>
                    <a:pt x="438" y="28"/>
                    <a:pt x="424" y="30"/>
                    <a:pt x="413" y="28"/>
                  </a:cubicBezTo>
                  <a:cubicBezTo>
                    <a:pt x="402" y="26"/>
                    <a:pt x="400" y="12"/>
                    <a:pt x="383" y="6"/>
                  </a:cubicBezTo>
                  <a:cubicBezTo>
                    <a:pt x="366" y="0"/>
                    <a:pt x="335" y="29"/>
                    <a:pt x="335" y="29"/>
                  </a:cubicBezTo>
                  <a:cubicBezTo>
                    <a:pt x="335" y="29"/>
                    <a:pt x="328" y="29"/>
                    <a:pt x="319" y="29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7"/>
                    <a:pt x="289" y="68"/>
                    <a:pt x="286" y="69"/>
                  </a:cubicBezTo>
                  <a:cubicBezTo>
                    <a:pt x="283" y="70"/>
                    <a:pt x="272" y="69"/>
                    <a:pt x="272" y="69"/>
                  </a:cubicBezTo>
                  <a:cubicBezTo>
                    <a:pt x="266" y="74"/>
                    <a:pt x="266" y="74"/>
                    <a:pt x="266" y="74"/>
                  </a:cubicBezTo>
                  <a:cubicBezTo>
                    <a:pt x="262" y="70"/>
                    <a:pt x="262" y="70"/>
                    <a:pt x="262" y="70"/>
                  </a:cubicBezTo>
                  <a:cubicBezTo>
                    <a:pt x="262" y="70"/>
                    <a:pt x="244" y="83"/>
                    <a:pt x="237" y="84"/>
                  </a:cubicBezTo>
                  <a:cubicBezTo>
                    <a:pt x="230" y="85"/>
                    <a:pt x="227" y="73"/>
                    <a:pt x="227" y="73"/>
                  </a:cubicBezTo>
                  <a:cubicBezTo>
                    <a:pt x="227" y="73"/>
                    <a:pt x="198" y="67"/>
                    <a:pt x="176" y="70"/>
                  </a:cubicBezTo>
                  <a:cubicBezTo>
                    <a:pt x="154" y="73"/>
                    <a:pt x="156" y="89"/>
                    <a:pt x="156" y="89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2"/>
                    <a:pt x="178" y="120"/>
                    <a:pt x="175" y="130"/>
                  </a:cubicBezTo>
                  <a:cubicBezTo>
                    <a:pt x="172" y="140"/>
                    <a:pt x="186" y="141"/>
                    <a:pt x="186" y="141"/>
                  </a:cubicBezTo>
                  <a:cubicBezTo>
                    <a:pt x="186" y="141"/>
                    <a:pt x="185" y="149"/>
                    <a:pt x="184" y="157"/>
                  </a:cubicBezTo>
                  <a:cubicBezTo>
                    <a:pt x="183" y="165"/>
                    <a:pt x="194" y="162"/>
                    <a:pt x="194" y="162"/>
                  </a:cubicBezTo>
                  <a:cubicBezTo>
                    <a:pt x="202" y="172"/>
                    <a:pt x="202" y="172"/>
                    <a:pt x="202" y="172"/>
                  </a:cubicBezTo>
                  <a:cubicBezTo>
                    <a:pt x="216" y="173"/>
                    <a:pt x="216" y="173"/>
                    <a:pt x="216" y="173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3" y="195"/>
                    <a:pt x="255" y="200"/>
                    <a:pt x="256" y="209"/>
                  </a:cubicBezTo>
                  <a:cubicBezTo>
                    <a:pt x="257" y="218"/>
                    <a:pt x="228" y="222"/>
                    <a:pt x="224" y="224"/>
                  </a:cubicBezTo>
                  <a:cubicBezTo>
                    <a:pt x="220" y="226"/>
                    <a:pt x="223" y="240"/>
                    <a:pt x="223" y="244"/>
                  </a:cubicBezTo>
                  <a:cubicBezTo>
                    <a:pt x="223" y="248"/>
                    <a:pt x="235" y="268"/>
                    <a:pt x="235" y="268"/>
                  </a:cubicBezTo>
                  <a:cubicBezTo>
                    <a:pt x="217" y="281"/>
                    <a:pt x="217" y="281"/>
                    <a:pt x="217" y="281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11" y="322"/>
                    <a:pt x="211" y="322"/>
                    <a:pt x="211" y="322"/>
                  </a:cubicBezTo>
                  <a:cubicBezTo>
                    <a:pt x="211" y="322"/>
                    <a:pt x="192" y="323"/>
                    <a:pt x="188" y="332"/>
                  </a:cubicBezTo>
                  <a:cubicBezTo>
                    <a:pt x="184" y="341"/>
                    <a:pt x="187" y="359"/>
                    <a:pt x="179" y="372"/>
                  </a:cubicBezTo>
                  <a:cubicBezTo>
                    <a:pt x="171" y="385"/>
                    <a:pt x="155" y="388"/>
                    <a:pt x="151" y="391"/>
                  </a:cubicBezTo>
                  <a:cubicBezTo>
                    <a:pt x="147" y="394"/>
                    <a:pt x="146" y="414"/>
                    <a:pt x="146" y="414"/>
                  </a:cubicBezTo>
                  <a:cubicBezTo>
                    <a:pt x="137" y="419"/>
                    <a:pt x="137" y="419"/>
                    <a:pt x="137" y="419"/>
                  </a:cubicBezTo>
                  <a:cubicBezTo>
                    <a:pt x="137" y="419"/>
                    <a:pt x="136" y="429"/>
                    <a:pt x="129" y="437"/>
                  </a:cubicBezTo>
                  <a:cubicBezTo>
                    <a:pt x="122" y="445"/>
                    <a:pt x="107" y="437"/>
                    <a:pt x="107" y="437"/>
                  </a:cubicBezTo>
                  <a:cubicBezTo>
                    <a:pt x="107" y="437"/>
                    <a:pt x="102" y="445"/>
                    <a:pt x="89" y="447"/>
                  </a:cubicBezTo>
                  <a:cubicBezTo>
                    <a:pt x="76" y="449"/>
                    <a:pt x="84" y="432"/>
                    <a:pt x="70" y="434"/>
                  </a:cubicBezTo>
                  <a:cubicBezTo>
                    <a:pt x="56" y="436"/>
                    <a:pt x="57" y="450"/>
                    <a:pt x="57" y="450"/>
                  </a:cubicBezTo>
                  <a:cubicBezTo>
                    <a:pt x="57" y="450"/>
                    <a:pt x="50" y="462"/>
                    <a:pt x="42" y="469"/>
                  </a:cubicBezTo>
                  <a:cubicBezTo>
                    <a:pt x="34" y="476"/>
                    <a:pt x="33" y="476"/>
                    <a:pt x="33" y="493"/>
                  </a:cubicBezTo>
                  <a:cubicBezTo>
                    <a:pt x="33" y="510"/>
                    <a:pt x="48" y="508"/>
                    <a:pt x="48" y="508"/>
                  </a:cubicBezTo>
                  <a:cubicBezTo>
                    <a:pt x="66" y="506"/>
                    <a:pt x="66" y="506"/>
                    <a:pt x="66" y="506"/>
                  </a:cubicBezTo>
                  <a:cubicBezTo>
                    <a:pt x="67" y="516"/>
                    <a:pt x="67" y="516"/>
                    <a:pt x="67" y="516"/>
                  </a:cubicBezTo>
                  <a:cubicBezTo>
                    <a:pt x="65" y="536"/>
                    <a:pt x="65" y="536"/>
                    <a:pt x="65" y="536"/>
                  </a:cubicBezTo>
                  <a:cubicBezTo>
                    <a:pt x="65" y="536"/>
                    <a:pt x="67" y="544"/>
                    <a:pt x="74" y="551"/>
                  </a:cubicBezTo>
                  <a:cubicBezTo>
                    <a:pt x="81" y="558"/>
                    <a:pt x="97" y="558"/>
                    <a:pt x="97" y="558"/>
                  </a:cubicBezTo>
                  <a:cubicBezTo>
                    <a:pt x="97" y="573"/>
                    <a:pt x="97" y="573"/>
                    <a:pt x="97" y="573"/>
                  </a:cubicBezTo>
                  <a:cubicBezTo>
                    <a:pt x="111" y="601"/>
                    <a:pt x="111" y="601"/>
                    <a:pt x="111" y="601"/>
                  </a:cubicBezTo>
                  <a:cubicBezTo>
                    <a:pt x="111" y="601"/>
                    <a:pt x="122" y="616"/>
                    <a:pt x="120" y="625"/>
                  </a:cubicBezTo>
                  <a:cubicBezTo>
                    <a:pt x="118" y="634"/>
                    <a:pt x="109" y="635"/>
                    <a:pt x="98" y="635"/>
                  </a:cubicBezTo>
                  <a:cubicBezTo>
                    <a:pt x="87" y="635"/>
                    <a:pt x="97" y="624"/>
                    <a:pt x="86" y="626"/>
                  </a:cubicBezTo>
                  <a:cubicBezTo>
                    <a:pt x="75" y="628"/>
                    <a:pt x="77" y="638"/>
                    <a:pt x="63" y="638"/>
                  </a:cubicBezTo>
                  <a:cubicBezTo>
                    <a:pt x="49" y="638"/>
                    <a:pt x="52" y="630"/>
                    <a:pt x="52" y="630"/>
                  </a:cubicBezTo>
                  <a:cubicBezTo>
                    <a:pt x="35" y="636"/>
                    <a:pt x="35" y="636"/>
                    <a:pt x="35" y="636"/>
                  </a:cubicBezTo>
                  <a:cubicBezTo>
                    <a:pt x="35" y="636"/>
                    <a:pt x="26" y="629"/>
                    <a:pt x="15" y="630"/>
                  </a:cubicBezTo>
                  <a:cubicBezTo>
                    <a:pt x="4" y="631"/>
                    <a:pt x="13" y="647"/>
                    <a:pt x="13" y="647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1" y="653"/>
                    <a:pt x="23" y="653"/>
                    <a:pt x="23" y="653"/>
                  </a:cubicBezTo>
                  <a:cubicBezTo>
                    <a:pt x="23" y="653"/>
                    <a:pt x="13" y="677"/>
                    <a:pt x="26" y="686"/>
                  </a:cubicBezTo>
                  <a:cubicBezTo>
                    <a:pt x="38" y="696"/>
                    <a:pt x="71" y="699"/>
                    <a:pt x="78" y="697"/>
                  </a:cubicBezTo>
                  <a:cubicBezTo>
                    <a:pt x="84" y="695"/>
                    <a:pt x="108" y="678"/>
                    <a:pt x="108" y="678"/>
                  </a:cubicBezTo>
                  <a:cubicBezTo>
                    <a:pt x="108" y="678"/>
                    <a:pt x="118" y="690"/>
                    <a:pt x="106" y="701"/>
                  </a:cubicBezTo>
                  <a:cubicBezTo>
                    <a:pt x="94" y="712"/>
                    <a:pt x="70" y="719"/>
                    <a:pt x="70" y="719"/>
                  </a:cubicBezTo>
                  <a:cubicBezTo>
                    <a:pt x="70" y="719"/>
                    <a:pt x="32" y="724"/>
                    <a:pt x="30" y="735"/>
                  </a:cubicBezTo>
                  <a:cubicBezTo>
                    <a:pt x="28" y="746"/>
                    <a:pt x="58" y="770"/>
                    <a:pt x="70" y="779"/>
                  </a:cubicBezTo>
                  <a:cubicBezTo>
                    <a:pt x="83" y="788"/>
                    <a:pt x="106" y="816"/>
                    <a:pt x="136" y="818"/>
                  </a:cubicBezTo>
                  <a:cubicBezTo>
                    <a:pt x="167" y="821"/>
                    <a:pt x="205" y="794"/>
                    <a:pt x="201" y="775"/>
                  </a:cubicBezTo>
                  <a:cubicBezTo>
                    <a:pt x="197" y="757"/>
                    <a:pt x="207" y="742"/>
                    <a:pt x="217" y="733"/>
                  </a:cubicBezTo>
                  <a:cubicBezTo>
                    <a:pt x="226" y="723"/>
                    <a:pt x="248" y="718"/>
                    <a:pt x="238" y="735"/>
                  </a:cubicBezTo>
                  <a:cubicBezTo>
                    <a:pt x="229" y="752"/>
                    <a:pt x="206" y="767"/>
                    <a:pt x="213" y="781"/>
                  </a:cubicBezTo>
                  <a:cubicBezTo>
                    <a:pt x="220" y="795"/>
                    <a:pt x="238" y="793"/>
                    <a:pt x="238" y="808"/>
                  </a:cubicBezTo>
                  <a:cubicBezTo>
                    <a:pt x="237" y="822"/>
                    <a:pt x="233" y="838"/>
                    <a:pt x="227" y="861"/>
                  </a:cubicBezTo>
                  <a:cubicBezTo>
                    <a:pt x="220" y="885"/>
                    <a:pt x="220" y="907"/>
                    <a:pt x="227" y="936"/>
                  </a:cubicBezTo>
                  <a:cubicBezTo>
                    <a:pt x="235" y="964"/>
                    <a:pt x="247" y="1014"/>
                    <a:pt x="258" y="1029"/>
                  </a:cubicBezTo>
                  <a:cubicBezTo>
                    <a:pt x="269" y="1045"/>
                    <a:pt x="272" y="1039"/>
                    <a:pt x="267" y="1062"/>
                  </a:cubicBezTo>
                  <a:cubicBezTo>
                    <a:pt x="262" y="1085"/>
                    <a:pt x="299" y="1092"/>
                    <a:pt x="299" y="1092"/>
                  </a:cubicBezTo>
                  <a:cubicBezTo>
                    <a:pt x="299" y="1092"/>
                    <a:pt x="304" y="1124"/>
                    <a:pt x="312" y="1135"/>
                  </a:cubicBezTo>
                  <a:cubicBezTo>
                    <a:pt x="321" y="1147"/>
                    <a:pt x="339" y="1156"/>
                    <a:pt x="339" y="1156"/>
                  </a:cubicBezTo>
                  <a:cubicBezTo>
                    <a:pt x="339" y="1156"/>
                    <a:pt x="344" y="1222"/>
                    <a:pt x="354" y="1252"/>
                  </a:cubicBezTo>
                  <a:cubicBezTo>
                    <a:pt x="365" y="1282"/>
                    <a:pt x="402" y="1323"/>
                    <a:pt x="407" y="1335"/>
                  </a:cubicBezTo>
                  <a:cubicBezTo>
                    <a:pt x="412" y="1348"/>
                    <a:pt x="414" y="1374"/>
                    <a:pt x="413" y="1386"/>
                  </a:cubicBezTo>
                  <a:cubicBezTo>
                    <a:pt x="411" y="1398"/>
                    <a:pt x="479" y="1502"/>
                    <a:pt x="479" y="1502"/>
                  </a:cubicBezTo>
                  <a:cubicBezTo>
                    <a:pt x="479" y="1502"/>
                    <a:pt x="512" y="1493"/>
                    <a:pt x="518" y="1484"/>
                  </a:cubicBezTo>
                  <a:cubicBezTo>
                    <a:pt x="523" y="1474"/>
                    <a:pt x="515" y="1452"/>
                    <a:pt x="526" y="1445"/>
                  </a:cubicBezTo>
                  <a:cubicBezTo>
                    <a:pt x="536" y="1438"/>
                    <a:pt x="540" y="1446"/>
                    <a:pt x="550" y="1443"/>
                  </a:cubicBezTo>
                  <a:cubicBezTo>
                    <a:pt x="561" y="1440"/>
                    <a:pt x="578" y="1427"/>
                    <a:pt x="578" y="1427"/>
                  </a:cubicBezTo>
                  <a:cubicBezTo>
                    <a:pt x="578" y="1427"/>
                    <a:pt x="563" y="1431"/>
                    <a:pt x="566" y="1414"/>
                  </a:cubicBezTo>
                  <a:cubicBezTo>
                    <a:pt x="568" y="1397"/>
                    <a:pt x="575" y="1394"/>
                    <a:pt x="587" y="1388"/>
                  </a:cubicBezTo>
                  <a:cubicBezTo>
                    <a:pt x="599" y="1382"/>
                    <a:pt x="613" y="1379"/>
                    <a:pt x="613" y="1371"/>
                  </a:cubicBezTo>
                  <a:cubicBezTo>
                    <a:pt x="614" y="1362"/>
                    <a:pt x="601" y="1330"/>
                    <a:pt x="601" y="1311"/>
                  </a:cubicBezTo>
                  <a:cubicBezTo>
                    <a:pt x="600" y="1293"/>
                    <a:pt x="599" y="1264"/>
                    <a:pt x="605" y="1261"/>
                  </a:cubicBezTo>
                  <a:cubicBezTo>
                    <a:pt x="612" y="1257"/>
                    <a:pt x="609" y="1249"/>
                    <a:pt x="610" y="1217"/>
                  </a:cubicBezTo>
                  <a:cubicBezTo>
                    <a:pt x="612" y="1185"/>
                    <a:pt x="592" y="1185"/>
                    <a:pt x="590" y="1172"/>
                  </a:cubicBezTo>
                  <a:cubicBezTo>
                    <a:pt x="588" y="1160"/>
                    <a:pt x="598" y="1154"/>
                    <a:pt x="599" y="1142"/>
                  </a:cubicBezTo>
                  <a:cubicBezTo>
                    <a:pt x="601" y="1130"/>
                    <a:pt x="594" y="1123"/>
                    <a:pt x="594" y="1107"/>
                  </a:cubicBezTo>
                  <a:cubicBezTo>
                    <a:pt x="595" y="1091"/>
                    <a:pt x="631" y="1089"/>
                    <a:pt x="631" y="1082"/>
                  </a:cubicBezTo>
                  <a:cubicBezTo>
                    <a:pt x="631" y="1075"/>
                    <a:pt x="631" y="1059"/>
                    <a:pt x="638" y="1054"/>
                  </a:cubicBezTo>
                  <a:cubicBezTo>
                    <a:pt x="646" y="1049"/>
                    <a:pt x="660" y="1050"/>
                    <a:pt x="660" y="1050"/>
                  </a:cubicBezTo>
                  <a:cubicBezTo>
                    <a:pt x="663" y="1044"/>
                    <a:pt x="663" y="1044"/>
                    <a:pt x="663" y="1044"/>
                  </a:cubicBezTo>
                  <a:cubicBezTo>
                    <a:pt x="663" y="1044"/>
                    <a:pt x="686" y="1055"/>
                    <a:pt x="688" y="1044"/>
                  </a:cubicBezTo>
                  <a:cubicBezTo>
                    <a:pt x="690" y="1033"/>
                    <a:pt x="709" y="998"/>
                    <a:pt x="715" y="988"/>
                  </a:cubicBezTo>
                  <a:cubicBezTo>
                    <a:pt x="722" y="979"/>
                    <a:pt x="744" y="980"/>
                    <a:pt x="751" y="966"/>
                  </a:cubicBezTo>
                  <a:cubicBezTo>
                    <a:pt x="758" y="953"/>
                    <a:pt x="769" y="925"/>
                    <a:pt x="779" y="916"/>
                  </a:cubicBezTo>
                  <a:cubicBezTo>
                    <a:pt x="788" y="906"/>
                    <a:pt x="827" y="886"/>
                    <a:pt x="827" y="886"/>
                  </a:cubicBezTo>
                  <a:cubicBezTo>
                    <a:pt x="820" y="866"/>
                    <a:pt x="820" y="866"/>
                    <a:pt x="820" y="866"/>
                  </a:cubicBezTo>
                  <a:cubicBezTo>
                    <a:pt x="826" y="861"/>
                    <a:pt x="826" y="861"/>
                    <a:pt x="826" y="861"/>
                  </a:cubicBezTo>
                  <a:cubicBezTo>
                    <a:pt x="839" y="880"/>
                    <a:pt x="839" y="880"/>
                    <a:pt x="839" y="880"/>
                  </a:cubicBezTo>
                  <a:cubicBezTo>
                    <a:pt x="880" y="841"/>
                    <a:pt x="880" y="841"/>
                    <a:pt x="880" y="841"/>
                  </a:cubicBezTo>
                  <a:cubicBezTo>
                    <a:pt x="887" y="823"/>
                    <a:pt x="887" y="823"/>
                    <a:pt x="887" y="823"/>
                  </a:cubicBezTo>
                  <a:cubicBezTo>
                    <a:pt x="887" y="823"/>
                    <a:pt x="873" y="806"/>
                    <a:pt x="873" y="795"/>
                  </a:cubicBezTo>
                  <a:cubicBezTo>
                    <a:pt x="874" y="784"/>
                    <a:pt x="897" y="788"/>
                    <a:pt x="909" y="773"/>
                  </a:cubicBezTo>
                  <a:cubicBezTo>
                    <a:pt x="921" y="757"/>
                    <a:pt x="917" y="744"/>
                    <a:pt x="917" y="744"/>
                  </a:cubicBezTo>
                  <a:cubicBezTo>
                    <a:pt x="928" y="749"/>
                    <a:pt x="928" y="749"/>
                    <a:pt x="928" y="749"/>
                  </a:cubicBezTo>
                  <a:cubicBezTo>
                    <a:pt x="934" y="767"/>
                    <a:pt x="934" y="767"/>
                    <a:pt x="934" y="767"/>
                  </a:cubicBezTo>
                  <a:cubicBezTo>
                    <a:pt x="942" y="744"/>
                    <a:pt x="942" y="744"/>
                    <a:pt x="942" y="744"/>
                  </a:cubicBezTo>
                  <a:cubicBezTo>
                    <a:pt x="942" y="744"/>
                    <a:pt x="950" y="786"/>
                    <a:pt x="957" y="789"/>
                  </a:cubicBezTo>
                  <a:cubicBezTo>
                    <a:pt x="965" y="791"/>
                    <a:pt x="968" y="763"/>
                    <a:pt x="968" y="763"/>
                  </a:cubicBezTo>
                  <a:cubicBezTo>
                    <a:pt x="970" y="745"/>
                    <a:pt x="970" y="745"/>
                    <a:pt x="970" y="745"/>
                  </a:cubicBezTo>
                  <a:cubicBezTo>
                    <a:pt x="958" y="717"/>
                    <a:pt x="958" y="717"/>
                    <a:pt x="958" y="717"/>
                  </a:cubicBezTo>
                  <a:cubicBezTo>
                    <a:pt x="959" y="697"/>
                    <a:pt x="959" y="697"/>
                    <a:pt x="959" y="697"/>
                  </a:cubicBezTo>
                  <a:cubicBezTo>
                    <a:pt x="939" y="681"/>
                    <a:pt x="939" y="681"/>
                    <a:pt x="939" y="681"/>
                  </a:cubicBezTo>
                  <a:cubicBezTo>
                    <a:pt x="930" y="661"/>
                    <a:pt x="930" y="661"/>
                    <a:pt x="930" y="661"/>
                  </a:cubicBezTo>
                  <a:cubicBezTo>
                    <a:pt x="930" y="661"/>
                    <a:pt x="939" y="653"/>
                    <a:pt x="942" y="637"/>
                  </a:cubicBezTo>
                  <a:cubicBezTo>
                    <a:pt x="945" y="621"/>
                    <a:pt x="918" y="627"/>
                    <a:pt x="908" y="617"/>
                  </a:cubicBezTo>
                  <a:cubicBezTo>
                    <a:pt x="898" y="607"/>
                    <a:pt x="917" y="604"/>
                    <a:pt x="917" y="604"/>
                  </a:cubicBezTo>
                  <a:cubicBezTo>
                    <a:pt x="917" y="585"/>
                    <a:pt x="917" y="585"/>
                    <a:pt x="917" y="585"/>
                  </a:cubicBezTo>
                  <a:cubicBezTo>
                    <a:pt x="939" y="584"/>
                    <a:pt x="939" y="584"/>
                    <a:pt x="939" y="584"/>
                  </a:cubicBezTo>
                  <a:cubicBezTo>
                    <a:pt x="938" y="576"/>
                    <a:pt x="938" y="576"/>
                    <a:pt x="938" y="576"/>
                  </a:cubicBezTo>
                  <a:cubicBezTo>
                    <a:pt x="921" y="565"/>
                    <a:pt x="921" y="565"/>
                    <a:pt x="921" y="565"/>
                  </a:cubicBezTo>
                  <a:cubicBezTo>
                    <a:pt x="921" y="565"/>
                    <a:pt x="899" y="557"/>
                    <a:pt x="897" y="546"/>
                  </a:cubicBezTo>
                  <a:cubicBezTo>
                    <a:pt x="895" y="535"/>
                    <a:pt x="906" y="523"/>
                    <a:pt x="906" y="523"/>
                  </a:cubicBezTo>
                  <a:cubicBezTo>
                    <a:pt x="901" y="511"/>
                    <a:pt x="901" y="511"/>
                    <a:pt x="901" y="511"/>
                  </a:cubicBezTo>
                  <a:cubicBezTo>
                    <a:pt x="912" y="514"/>
                    <a:pt x="912" y="514"/>
                    <a:pt x="912" y="514"/>
                  </a:cubicBezTo>
                  <a:cubicBezTo>
                    <a:pt x="928" y="522"/>
                    <a:pt x="928" y="522"/>
                    <a:pt x="928" y="522"/>
                  </a:cubicBezTo>
                  <a:cubicBezTo>
                    <a:pt x="925" y="515"/>
                    <a:pt x="925" y="515"/>
                    <a:pt x="925" y="515"/>
                  </a:cubicBezTo>
                  <a:cubicBezTo>
                    <a:pt x="936" y="514"/>
                    <a:pt x="936" y="514"/>
                    <a:pt x="936" y="514"/>
                  </a:cubicBezTo>
                  <a:cubicBezTo>
                    <a:pt x="936" y="514"/>
                    <a:pt x="939" y="526"/>
                    <a:pt x="945" y="532"/>
                  </a:cubicBezTo>
                  <a:cubicBezTo>
                    <a:pt x="951" y="538"/>
                    <a:pt x="961" y="540"/>
                    <a:pt x="961" y="540"/>
                  </a:cubicBezTo>
                  <a:cubicBezTo>
                    <a:pt x="962" y="528"/>
                    <a:pt x="962" y="528"/>
                    <a:pt x="962" y="528"/>
                  </a:cubicBezTo>
                  <a:cubicBezTo>
                    <a:pt x="962" y="528"/>
                    <a:pt x="968" y="531"/>
                    <a:pt x="972" y="534"/>
                  </a:cubicBezTo>
                  <a:cubicBezTo>
                    <a:pt x="976" y="537"/>
                    <a:pt x="976" y="555"/>
                    <a:pt x="976" y="555"/>
                  </a:cubicBezTo>
                  <a:cubicBezTo>
                    <a:pt x="980" y="557"/>
                    <a:pt x="980" y="557"/>
                    <a:pt x="980" y="557"/>
                  </a:cubicBezTo>
                  <a:cubicBezTo>
                    <a:pt x="980" y="557"/>
                    <a:pt x="981" y="577"/>
                    <a:pt x="981" y="580"/>
                  </a:cubicBezTo>
                  <a:cubicBezTo>
                    <a:pt x="981" y="583"/>
                    <a:pt x="998" y="586"/>
                    <a:pt x="1008" y="586"/>
                  </a:cubicBezTo>
                  <a:cubicBezTo>
                    <a:pt x="1018" y="586"/>
                    <a:pt x="1049" y="590"/>
                    <a:pt x="1049" y="590"/>
                  </a:cubicBezTo>
                  <a:cubicBezTo>
                    <a:pt x="1079" y="579"/>
                    <a:pt x="1079" y="579"/>
                    <a:pt x="1079" y="579"/>
                  </a:cubicBezTo>
                  <a:cubicBezTo>
                    <a:pt x="1079" y="579"/>
                    <a:pt x="1101" y="587"/>
                    <a:pt x="1101" y="597"/>
                  </a:cubicBezTo>
                  <a:cubicBezTo>
                    <a:pt x="1101" y="607"/>
                    <a:pt x="1091" y="603"/>
                    <a:pt x="1091" y="603"/>
                  </a:cubicBezTo>
                  <a:cubicBezTo>
                    <a:pt x="1091" y="603"/>
                    <a:pt x="1091" y="612"/>
                    <a:pt x="1088" y="626"/>
                  </a:cubicBezTo>
                  <a:cubicBezTo>
                    <a:pt x="1085" y="640"/>
                    <a:pt x="1071" y="638"/>
                    <a:pt x="1063" y="641"/>
                  </a:cubicBezTo>
                  <a:cubicBezTo>
                    <a:pt x="1055" y="644"/>
                    <a:pt x="1053" y="654"/>
                    <a:pt x="1053" y="670"/>
                  </a:cubicBezTo>
                  <a:cubicBezTo>
                    <a:pt x="1053" y="686"/>
                    <a:pt x="1073" y="689"/>
                    <a:pt x="1073" y="689"/>
                  </a:cubicBezTo>
                  <a:cubicBezTo>
                    <a:pt x="1082" y="704"/>
                    <a:pt x="1082" y="704"/>
                    <a:pt x="1082" y="704"/>
                  </a:cubicBezTo>
                  <a:cubicBezTo>
                    <a:pt x="1089" y="681"/>
                    <a:pt x="1089" y="681"/>
                    <a:pt x="1089" y="681"/>
                  </a:cubicBezTo>
                  <a:cubicBezTo>
                    <a:pt x="1089" y="681"/>
                    <a:pt x="1081" y="660"/>
                    <a:pt x="1099" y="664"/>
                  </a:cubicBezTo>
                  <a:cubicBezTo>
                    <a:pt x="1117" y="668"/>
                    <a:pt x="1111" y="687"/>
                    <a:pt x="1115" y="698"/>
                  </a:cubicBezTo>
                  <a:cubicBezTo>
                    <a:pt x="1119" y="709"/>
                    <a:pt x="1135" y="748"/>
                    <a:pt x="1135" y="748"/>
                  </a:cubicBezTo>
                  <a:cubicBezTo>
                    <a:pt x="1149" y="760"/>
                    <a:pt x="1149" y="760"/>
                    <a:pt x="1149" y="760"/>
                  </a:cubicBezTo>
                  <a:cubicBezTo>
                    <a:pt x="1149" y="760"/>
                    <a:pt x="1148" y="752"/>
                    <a:pt x="1148" y="746"/>
                  </a:cubicBezTo>
                  <a:cubicBezTo>
                    <a:pt x="1148" y="740"/>
                    <a:pt x="1152" y="752"/>
                    <a:pt x="1161" y="750"/>
                  </a:cubicBezTo>
                  <a:cubicBezTo>
                    <a:pt x="1170" y="748"/>
                    <a:pt x="1160" y="736"/>
                    <a:pt x="1156" y="732"/>
                  </a:cubicBezTo>
                  <a:cubicBezTo>
                    <a:pt x="1152" y="728"/>
                    <a:pt x="1152" y="714"/>
                    <a:pt x="1149" y="705"/>
                  </a:cubicBezTo>
                  <a:cubicBezTo>
                    <a:pt x="1146" y="696"/>
                    <a:pt x="1163" y="694"/>
                    <a:pt x="1163" y="694"/>
                  </a:cubicBezTo>
                  <a:cubicBezTo>
                    <a:pt x="1161" y="661"/>
                    <a:pt x="1161" y="661"/>
                    <a:pt x="1161" y="661"/>
                  </a:cubicBezTo>
                  <a:cubicBezTo>
                    <a:pt x="1161" y="661"/>
                    <a:pt x="1147" y="650"/>
                    <a:pt x="1143" y="648"/>
                  </a:cubicBezTo>
                  <a:cubicBezTo>
                    <a:pt x="1139" y="646"/>
                    <a:pt x="1164" y="647"/>
                    <a:pt x="1168" y="648"/>
                  </a:cubicBezTo>
                  <a:cubicBezTo>
                    <a:pt x="1172" y="649"/>
                    <a:pt x="1197" y="653"/>
                    <a:pt x="1197" y="653"/>
                  </a:cubicBezTo>
                  <a:cubicBezTo>
                    <a:pt x="1197" y="629"/>
                    <a:pt x="1197" y="629"/>
                    <a:pt x="1197" y="629"/>
                  </a:cubicBezTo>
                  <a:cubicBezTo>
                    <a:pt x="1209" y="594"/>
                    <a:pt x="1209" y="594"/>
                    <a:pt x="1209" y="594"/>
                  </a:cubicBezTo>
                  <a:cubicBezTo>
                    <a:pt x="1209" y="594"/>
                    <a:pt x="1199" y="586"/>
                    <a:pt x="1199" y="576"/>
                  </a:cubicBezTo>
                  <a:cubicBezTo>
                    <a:pt x="1199" y="566"/>
                    <a:pt x="1213" y="562"/>
                    <a:pt x="1213" y="562"/>
                  </a:cubicBezTo>
                  <a:cubicBezTo>
                    <a:pt x="1225" y="541"/>
                    <a:pt x="1225" y="541"/>
                    <a:pt x="1225" y="541"/>
                  </a:cubicBezTo>
                  <a:cubicBezTo>
                    <a:pt x="1225" y="541"/>
                    <a:pt x="1219" y="530"/>
                    <a:pt x="1218" y="525"/>
                  </a:cubicBezTo>
                  <a:cubicBezTo>
                    <a:pt x="1217" y="520"/>
                    <a:pt x="1215" y="506"/>
                    <a:pt x="1215" y="506"/>
                  </a:cubicBezTo>
                  <a:cubicBezTo>
                    <a:pt x="1215" y="506"/>
                    <a:pt x="1226" y="501"/>
                    <a:pt x="1238" y="497"/>
                  </a:cubicBezTo>
                  <a:cubicBezTo>
                    <a:pt x="1250" y="493"/>
                    <a:pt x="1245" y="478"/>
                    <a:pt x="1253" y="476"/>
                  </a:cubicBezTo>
                  <a:cubicBezTo>
                    <a:pt x="1261" y="474"/>
                    <a:pt x="1276" y="473"/>
                    <a:pt x="1276" y="473"/>
                  </a:cubicBezTo>
                  <a:cubicBezTo>
                    <a:pt x="1276" y="473"/>
                    <a:pt x="1299" y="481"/>
                    <a:pt x="1301" y="477"/>
                  </a:cubicBezTo>
                  <a:cubicBezTo>
                    <a:pt x="1303" y="473"/>
                    <a:pt x="1280" y="463"/>
                    <a:pt x="1280" y="45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3" name="Freeform 109">
              <a:extLst>
                <a:ext uri="{FF2B5EF4-FFF2-40B4-BE49-F238E27FC236}">
                  <a16:creationId xmlns:a16="http://schemas.microsoft.com/office/drawing/2014/main" id="{3F93F353-0E91-ED62-4CE6-ED8B096DE6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802" y="2822848"/>
              <a:ext cx="137190" cy="109752"/>
            </a:xfrm>
            <a:custGeom>
              <a:avLst/>
              <a:gdLst>
                <a:gd name="T0" fmla="*/ 2 w 240"/>
                <a:gd name="T1" fmla="*/ 6 h 194"/>
                <a:gd name="T2" fmla="*/ 2 w 240"/>
                <a:gd name="T3" fmla="*/ 6 h 194"/>
                <a:gd name="T4" fmla="*/ 1 w 240"/>
                <a:gd name="T5" fmla="*/ 6 h 194"/>
                <a:gd name="T6" fmla="*/ 0 w 240"/>
                <a:gd name="T7" fmla="*/ 6 h 194"/>
                <a:gd name="T8" fmla="*/ 1 w 240"/>
                <a:gd name="T9" fmla="*/ 7 h 194"/>
                <a:gd name="T10" fmla="*/ 3 w 240"/>
                <a:gd name="T11" fmla="*/ 8 h 194"/>
                <a:gd name="T12" fmla="*/ 3 w 240"/>
                <a:gd name="T13" fmla="*/ 8 h 194"/>
                <a:gd name="T14" fmla="*/ 3 w 240"/>
                <a:gd name="T15" fmla="*/ 7 h 194"/>
                <a:gd name="T16" fmla="*/ 2 w 240"/>
                <a:gd name="T17" fmla="*/ 6 h 194"/>
                <a:gd name="T18" fmla="*/ 12 w 240"/>
                <a:gd name="T19" fmla="*/ 4 h 194"/>
                <a:gd name="T20" fmla="*/ 11 w 240"/>
                <a:gd name="T21" fmla="*/ 4 h 194"/>
                <a:gd name="T22" fmla="*/ 10 w 240"/>
                <a:gd name="T23" fmla="*/ 3 h 194"/>
                <a:gd name="T24" fmla="*/ 9 w 240"/>
                <a:gd name="T25" fmla="*/ 2 h 194"/>
                <a:gd name="T26" fmla="*/ 9 w 240"/>
                <a:gd name="T27" fmla="*/ 1 h 194"/>
                <a:gd name="T28" fmla="*/ 8 w 240"/>
                <a:gd name="T29" fmla="*/ 0 h 194"/>
                <a:gd name="T30" fmla="*/ 8 w 240"/>
                <a:gd name="T31" fmla="*/ 1 h 194"/>
                <a:gd name="T32" fmla="*/ 7 w 240"/>
                <a:gd name="T33" fmla="*/ 1 h 194"/>
                <a:gd name="T34" fmla="*/ 6 w 240"/>
                <a:gd name="T35" fmla="*/ 2 h 194"/>
                <a:gd name="T36" fmla="*/ 4 w 240"/>
                <a:gd name="T37" fmla="*/ 0 h 194"/>
                <a:gd name="T38" fmla="*/ 2 w 240"/>
                <a:gd name="T39" fmla="*/ 0 h 194"/>
                <a:gd name="T40" fmla="*/ 3 w 240"/>
                <a:gd name="T41" fmla="*/ 1 h 194"/>
                <a:gd name="T42" fmla="*/ 4 w 240"/>
                <a:gd name="T43" fmla="*/ 2 h 194"/>
                <a:gd name="T44" fmla="*/ 3 w 240"/>
                <a:gd name="T45" fmla="*/ 2 h 194"/>
                <a:gd name="T46" fmla="*/ 2 w 240"/>
                <a:gd name="T47" fmla="*/ 2 h 194"/>
                <a:gd name="T48" fmla="*/ 2 w 240"/>
                <a:gd name="T49" fmla="*/ 1 h 194"/>
                <a:gd name="T50" fmla="*/ 1 w 240"/>
                <a:gd name="T51" fmla="*/ 1 h 194"/>
                <a:gd name="T52" fmla="*/ 0 w 240"/>
                <a:gd name="T53" fmla="*/ 1 h 194"/>
                <a:gd name="T54" fmla="*/ 0 w 240"/>
                <a:gd name="T55" fmla="*/ 2 h 194"/>
                <a:gd name="T56" fmla="*/ 0 w 240"/>
                <a:gd name="T57" fmla="*/ 2 h 194"/>
                <a:gd name="T58" fmla="*/ 1 w 240"/>
                <a:gd name="T59" fmla="*/ 3 h 194"/>
                <a:gd name="T60" fmla="*/ 1 w 240"/>
                <a:gd name="T61" fmla="*/ 4 h 194"/>
                <a:gd name="T62" fmla="*/ 3 w 240"/>
                <a:gd name="T63" fmla="*/ 5 h 194"/>
                <a:gd name="T64" fmla="*/ 2 w 240"/>
                <a:gd name="T65" fmla="*/ 5 h 194"/>
                <a:gd name="T66" fmla="*/ 2 w 240"/>
                <a:gd name="T67" fmla="*/ 6 h 194"/>
                <a:gd name="T68" fmla="*/ 3 w 240"/>
                <a:gd name="T69" fmla="*/ 6 h 194"/>
                <a:gd name="T70" fmla="*/ 4 w 240"/>
                <a:gd name="T71" fmla="*/ 6 h 194"/>
                <a:gd name="T72" fmla="*/ 4 w 240"/>
                <a:gd name="T73" fmla="*/ 7 h 194"/>
                <a:gd name="T74" fmla="*/ 4 w 240"/>
                <a:gd name="T75" fmla="*/ 7 h 194"/>
                <a:gd name="T76" fmla="*/ 4 w 240"/>
                <a:gd name="T77" fmla="*/ 8 h 194"/>
                <a:gd name="T78" fmla="*/ 5 w 240"/>
                <a:gd name="T79" fmla="*/ 8 h 194"/>
                <a:gd name="T80" fmla="*/ 5 w 240"/>
                <a:gd name="T81" fmla="*/ 7 h 194"/>
                <a:gd name="T82" fmla="*/ 8 w 240"/>
                <a:gd name="T83" fmla="*/ 6 h 194"/>
                <a:gd name="T84" fmla="*/ 8 w 240"/>
                <a:gd name="T85" fmla="*/ 7 h 194"/>
                <a:gd name="T86" fmla="*/ 8 w 240"/>
                <a:gd name="T87" fmla="*/ 7 h 194"/>
                <a:gd name="T88" fmla="*/ 9 w 240"/>
                <a:gd name="T89" fmla="*/ 8 h 194"/>
                <a:gd name="T90" fmla="*/ 8 w 240"/>
                <a:gd name="T91" fmla="*/ 9 h 194"/>
                <a:gd name="T92" fmla="*/ 9 w 240"/>
                <a:gd name="T93" fmla="*/ 9 h 194"/>
                <a:gd name="T94" fmla="*/ 9 w 240"/>
                <a:gd name="T95" fmla="*/ 10 h 194"/>
                <a:gd name="T96" fmla="*/ 10 w 240"/>
                <a:gd name="T97" fmla="*/ 10 h 194"/>
                <a:gd name="T98" fmla="*/ 10 w 240"/>
                <a:gd name="T99" fmla="*/ 10 h 194"/>
                <a:gd name="T100" fmla="*/ 10 w 240"/>
                <a:gd name="T101" fmla="*/ 9 h 194"/>
                <a:gd name="T102" fmla="*/ 9 w 240"/>
                <a:gd name="T103" fmla="*/ 9 h 194"/>
                <a:gd name="T104" fmla="*/ 10 w 240"/>
                <a:gd name="T105" fmla="*/ 8 h 194"/>
                <a:gd name="T106" fmla="*/ 10 w 240"/>
                <a:gd name="T107" fmla="*/ 7 h 194"/>
                <a:gd name="T108" fmla="*/ 11 w 240"/>
                <a:gd name="T109" fmla="*/ 7 h 194"/>
                <a:gd name="T110" fmla="*/ 11 w 240"/>
                <a:gd name="T111" fmla="*/ 7 h 194"/>
                <a:gd name="T112" fmla="*/ 11 w 240"/>
                <a:gd name="T113" fmla="*/ 6 h 194"/>
                <a:gd name="T114" fmla="*/ 11 w 240"/>
                <a:gd name="T115" fmla="*/ 5 h 194"/>
                <a:gd name="T116" fmla="*/ 11 w 240"/>
                <a:gd name="T117" fmla="*/ 5 h 194"/>
                <a:gd name="T118" fmla="*/ 12 w 240"/>
                <a:gd name="T119" fmla="*/ 4 h 194"/>
                <a:gd name="T120" fmla="*/ 13 w 240"/>
                <a:gd name="T121" fmla="*/ 4 h 194"/>
                <a:gd name="T122" fmla="*/ 12 w 240"/>
                <a:gd name="T123" fmla="*/ 4 h 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0"/>
                <a:gd name="T187" fmla="*/ 0 h 194"/>
                <a:gd name="T188" fmla="*/ 240 w 240"/>
                <a:gd name="T189" fmla="*/ 194 h 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0" h="194">
                  <a:moveTo>
                    <a:pt x="42" y="125"/>
                  </a:moveTo>
                  <a:cubicBezTo>
                    <a:pt x="33" y="124"/>
                    <a:pt x="31" y="127"/>
                    <a:pt x="31" y="127"/>
                  </a:cubicBezTo>
                  <a:cubicBezTo>
                    <a:pt x="31" y="127"/>
                    <a:pt x="21" y="126"/>
                    <a:pt x="14" y="116"/>
                  </a:cubicBezTo>
                  <a:cubicBezTo>
                    <a:pt x="13" y="116"/>
                    <a:pt x="6" y="118"/>
                    <a:pt x="4" y="119"/>
                  </a:cubicBezTo>
                  <a:cubicBezTo>
                    <a:pt x="6" y="125"/>
                    <a:pt x="7" y="135"/>
                    <a:pt x="14" y="141"/>
                  </a:cubicBezTo>
                  <a:cubicBezTo>
                    <a:pt x="24" y="149"/>
                    <a:pt x="41" y="163"/>
                    <a:pt x="56" y="163"/>
                  </a:cubicBezTo>
                  <a:cubicBezTo>
                    <a:pt x="57" y="163"/>
                    <a:pt x="58" y="163"/>
                    <a:pt x="59" y="163"/>
                  </a:cubicBezTo>
                  <a:cubicBezTo>
                    <a:pt x="57" y="156"/>
                    <a:pt x="52" y="144"/>
                    <a:pt x="50" y="141"/>
                  </a:cubicBezTo>
                  <a:cubicBezTo>
                    <a:pt x="47" y="137"/>
                    <a:pt x="51" y="126"/>
                    <a:pt x="42" y="125"/>
                  </a:cubicBezTo>
                  <a:close/>
                  <a:moveTo>
                    <a:pt x="235" y="75"/>
                  </a:moveTo>
                  <a:cubicBezTo>
                    <a:pt x="231" y="67"/>
                    <a:pt x="215" y="74"/>
                    <a:pt x="205" y="74"/>
                  </a:cubicBezTo>
                  <a:cubicBezTo>
                    <a:pt x="195" y="74"/>
                    <a:pt x="193" y="56"/>
                    <a:pt x="193" y="56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4" y="13"/>
                    <a:pt x="143" y="20"/>
                  </a:cubicBezTo>
                  <a:cubicBezTo>
                    <a:pt x="142" y="27"/>
                    <a:pt x="126" y="24"/>
                    <a:pt x="126" y="24"/>
                  </a:cubicBezTo>
                  <a:cubicBezTo>
                    <a:pt x="126" y="24"/>
                    <a:pt x="132" y="36"/>
                    <a:pt x="116" y="38"/>
                  </a:cubicBezTo>
                  <a:cubicBezTo>
                    <a:pt x="100" y="40"/>
                    <a:pt x="91" y="18"/>
                    <a:pt x="78" y="9"/>
                  </a:cubicBezTo>
                  <a:cubicBezTo>
                    <a:pt x="65" y="0"/>
                    <a:pt x="49" y="2"/>
                    <a:pt x="43" y="7"/>
                  </a:cubicBezTo>
                  <a:cubicBezTo>
                    <a:pt x="37" y="12"/>
                    <a:pt x="52" y="23"/>
                    <a:pt x="52" y="23"/>
                  </a:cubicBezTo>
                  <a:cubicBezTo>
                    <a:pt x="52" y="23"/>
                    <a:pt x="73" y="34"/>
                    <a:pt x="71" y="44"/>
                  </a:cubicBezTo>
                  <a:cubicBezTo>
                    <a:pt x="69" y="54"/>
                    <a:pt x="57" y="37"/>
                    <a:pt x="54" y="37"/>
                  </a:cubicBezTo>
                  <a:cubicBezTo>
                    <a:pt x="51" y="37"/>
                    <a:pt x="40" y="40"/>
                    <a:pt x="40" y="4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8" y="23"/>
                    <a:pt x="15" y="22"/>
                  </a:cubicBezTo>
                  <a:cubicBezTo>
                    <a:pt x="5" y="21"/>
                    <a:pt x="1" y="29"/>
                    <a:pt x="0" y="33"/>
                  </a:cubicBezTo>
                  <a:cubicBezTo>
                    <a:pt x="3" y="35"/>
                    <a:pt x="7" y="37"/>
                    <a:pt x="7" y="3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25" y="47"/>
                    <a:pt x="25" y="54"/>
                  </a:cubicBezTo>
                  <a:cubicBezTo>
                    <a:pt x="25" y="61"/>
                    <a:pt x="19" y="69"/>
                    <a:pt x="19" y="69"/>
                  </a:cubicBezTo>
                  <a:cubicBezTo>
                    <a:pt x="19" y="69"/>
                    <a:pt x="50" y="82"/>
                    <a:pt x="49" y="91"/>
                  </a:cubicBezTo>
                  <a:cubicBezTo>
                    <a:pt x="48" y="100"/>
                    <a:pt x="28" y="100"/>
                    <a:pt x="28" y="100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78" y="141"/>
                    <a:pt x="78" y="141"/>
                    <a:pt x="78" y="141"/>
                  </a:cubicBezTo>
                  <a:cubicBezTo>
                    <a:pt x="78" y="141"/>
                    <a:pt x="80" y="154"/>
                    <a:pt x="81" y="162"/>
                  </a:cubicBezTo>
                  <a:cubicBezTo>
                    <a:pt x="82" y="162"/>
                    <a:pt x="82" y="162"/>
                    <a:pt x="83" y="162"/>
                  </a:cubicBezTo>
                  <a:cubicBezTo>
                    <a:pt x="86" y="161"/>
                    <a:pt x="94" y="150"/>
                    <a:pt x="97" y="146"/>
                  </a:cubicBezTo>
                  <a:cubicBezTo>
                    <a:pt x="100" y="142"/>
                    <a:pt x="136" y="115"/>
                    <a:pt x="142" y="115"/>
                  </a:cubicBezTo>
                  <a:cubicBezTo>
                    <a:pt x="148" y="115"/>
                    <a:pt x="155" y="127"/>
                    <a:pt x="157" y="133"/>
                  </a:cubicBezTo>
                  <a:cubicBezTo>
                    <a:pt x="159" y="139"/>
                    <a:pt x="150" y="139"/>
                    <a:pt x="150" y="144"/>
                  </a:cubicBezTo>
                  <a:cubicBezTo>
                    <a:pt x="150" y="149"/>
                    <a:pt x="159" y="151"/>
                    <a:pt x="159" y="157"/>
                  </a:cubicBezTo>
                  <a:cubicBezTo>
                    <a:pt x="159" y="163"/>
                    <a:pt x="149" y="159"/>
                    <a:pt x="149" y="164"/>
                  </a:cubicBezTo>
                  <a:cubicBezTo>
                    <a:pt x="149" y="169"/>
                    <a:pt x="162" y="177"/>
                    <a:pt x="168" y="180"/>
                  </a:cubicBezTo>
                  <a:cubicBezTo>
                    <a:pt x="174" y="183"/>
                    <a:pt x="177" y="189"/>
                    <a:pt x="177" y="189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7" y="191"/>
                    <a:pt x="187" y="192"/>
                    <a:pt x="188" y="194"/>
                  </a:cubicBezTo>
                  <a:cubicBezTo>
                    <a:pt x="190" y="187"/>
                    <a:pt x="192" y="178"/>
                    <a:pt x="191" y="174"/>
                  </a:cubicBezTo>
                  <a:cubicBezTo>
                    <a:pt x="189" y="168"/>
                    <a:pt x="179" y="165"/>
                    <a:pt x="179" y="165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90" y="142"/>
                    <a:pt x="202" y="155"/>
                    <a:pt x="208" y="147"/>
                  </a:cubicBezTo>
                  <a:cubicBezTo>
                    <a:pt x="214" y="139"/>
                    <a:pt x="198" y="129"/>
                    <a:pt x="198" y="129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210" y="95"/>
                    <a:pt x="210" y="95"/>
                    <a:pt x="210" y="95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88"/>
                    <a:pt x="239" y="83"/>
                    <a:pt x="235" y="7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4" name="Freeform 110">
              <a:extLst>
                <a:ext uri="{FF2B5EF4-FFF2-40B4-BE49-F238E27FC236}">
                  <a16:creationId xmlns:a16="http://schemas.microsoft.com/office/drawing/2014/main" id="{1C600C4E-5A27-391B-FABF-0070DDE3A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900" y="3911979"/>
              <a:ext cx="76216" cy="131092"/>
            </a:xfrm>
            <a:custGeom>
              <a:avLst/>
              <a:gdLst>
                <a:gd name="T0" fmla="*/ 1 w 136"/>
                <a:gd name="T1" fmla="*/ 0 h 228"/>
                <a:gd name="T2" fmla="*/ 3 w 136"/>
                <a:gd name="T3" fmla="*/ 2 h 228"/>
                <a:gd name="T4" fmla="*/ 4 w 136"/>
                <a:gd name="T5" fmla="*/ 3 h 228"/>
                <a:gd name="T6" fmla="*/ 4 w 136"/>
                <a:gd name="T7" fmla="*/ 5 h 228"/>
                <a:gd name="T8" fmla="*/ 5 w 136"/>
                <a:gd name="T9" fmla="*/ 5 h 228"/>
                <a:gd name="T10" fmla="*/ 5 w 136"/>
                <a:gd name="T11" fmla="*/ 6 h 228"/>
                <a:gd name="T12" fmla="*/ 5 w 136"/>
                <a:gd name="T13" fmla="*/ 10 h 228"/>
                <a:gd name="T14" fmla="*/ 1 w 136"/>
                <a:gd name="T15" fmla="*/ 11 h 228"/>
                <a:gd name="T16" fmla="*/ 0 w 136"/>
                <a:gd name="T17" fmla="*/ 5 h 228"/>
                <a:gd name="T18" fmla="*/ 1 w 136"/>
                <a:gd name="T19" fmla="*/ 3 h 228"/>
                <a:gd name="T20" fmla="*/ 0 w 136"/>
                <a:gd name="T21" fmla="*/ 2 h 228"/>
                <a:gd name="T22" fmla="*/ 1 w 136"/>
                <a:gd name="T23" fmla="*/ 2 h 228"/>
                <a:gd name="T24" fmla="*/ 1 w 136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6"/>
                <a:gd name="T40" fmla="*/ 0 h 228"/>
                <a:gd name="T41" fmla="*/ 136 w 136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5" name="Freeform 111">
              <a:extLst>
                <a:ext uri="{FF2B5EF4-FFF2-40B4-BE49-F238E27FC236}">
                  <a16:creationId xmlns:a16="http://schemas.microsoft.com/office/drawing/2014/main" id="{6E65A2F6-FCC5-6656-8B59-88C936566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983" y="3167346"/>
              <a:ext cx="225601" cy="131092"/>
            </a:xfrm>
            <a:custGeom>
              <a:avLst/>
              <a:gdLst>
                <a:gd name="T0" fmla="*/ 10 w 400"/>
                <a:gd name="T1" fmla="*/ 8 h 233"/>
                <a:gd name="T2" fmla="*/ 11 w 400"/>
                <a:gd name="T3" fmla="*/ 9 h 233"/>
                <a:gd name="T4" fmla="*/ 11 w 400"/>
                <a:gd name="T5" fmla="*/ 9 h 233"/>
                <a:gd name="T6" fmla="*/ 12 w 400"/>
                <a:gd name="T7" fmla="*/ 10 h 233"/>
                <a:gd name="T8" fmla="*/ 13 w 400"/>
                <a:gd name="T9" fmla="*/ 11 h 233"/>
                <a:gd name="T10" fmla="*/ 14 w 400"/>
                <a:gd name="T11" fmla="*/ 10 h 233"/>
                <a:gd name="T12" fmla="*/ 15 w 400"/>
                <a:gd name="T13" fmla="*/ 11 h 233"/>
                <a:gd name="T14" fmla="*/ 16 w 400"/>
                <a:gd name="T15" fmla="*/ 11 h 233"/>
                <a:gd name="T16" fmla="*/ 17 w 400"/>
                <a:gd name="T17" fmla="*/ 11 h 233"/>
                <a:gd name="T18" fmla="*/ 18 w 400"/>
                <a:gd name="T19" fmla="*/ 11 h 233"/>
                <a:gd name="T20" fmla="*/ 19 w 400"/>
                <a:gd name="T21" fmla="*/ 11 h 233"/>
                <a:gd name="T22" fmla="*/ 19 w 400"/>
                <a:gd name="T23" fmla="*/ 11 h 233"/>
                <a:gd name="T24" fmla="*/ 20 w 400"/>
                <a:gd name="T25" fmla="*/ 11 h 233"/>
                <a:gd name="T26" fmla="*/ 20 w 400"/>
                <a:gd name="T27" fmla="*/ 10 h 233"/>
                <a:gd name="T28" fmla="*/ 20 w 400"/>
                <a:gd name="T29" fmla="*/ 10 h 233"/>
                <a:gd name="T30" fmla="*/ 20 w 400"/>
                <a:gd name="T31" fmla="*/ 8 h 233"/>
                <a:gd name="T32" fmla="*/ 20 w 400"/>
                <a:gd name="T33" fmla="*/ 7 h 233"/>
                <a:gd name="T34" fmla="*/ 19 w 400"/>
                <a:gd name="T35" fmla="*/ 8 h 233"/>
                <a:gd name="T36" fmla="*/ 16 w 400"/>
                <a:gd name="T37" fmla="*/ 7 h 233"/>
                <a:gd name="T38" fmla="*/ 15 w 400"/>
                <a:gd name="T39" fmla="*/ 7 h 233"/>
                <a:gd name="T40" fmla="*/ 15 w 400"/>
                <a:gd name="T41" fmla="*/ 7 h 233"/>
                <a:gd name="T42" fmla="*/ 14 w 400"/>
                <a:gd name="T43" fmla="*/ 7 h 233"/>
                <a:gd name="T44" fmla="*/ 14 w 400"/>
                <a:gd name="T45" fmla="*/ 6 h 233"/>
                <a:gd name="T46" fmla="*/ 13 w 400"/>
                <a:gd name="T47" fmla="*/ 6 h 233"/>
                <a:gd name="T48" fmla="*/ 12 w 400"/>
                <a:gd name="T49" fmla="*/ 6 h 233"/>
                <a:gd name="T50" fmla="*/ 11 w 400"/>
                <a:gd name="T51" fmla="*/ 6 h 233"/>
                <a:gd name="T52" fmla="*/ 10 w 400"/>
                <a:gd name="T53" fmla="*/ 5 h 233"/>
                <a:gd name="T54" fmla="*/ 10 w 400"/>
                <a:gd name="T55" fmla="*/ 3 h 233"/>
                <a:gd name="T56" fmla="*/ 9 w 400"/>
                <a:gd name="T57" fmla="*/ 4 h 233"/>
                <a:gd name="T58" fmla="*/ 7 w 400"/>
                <a:gd name="T59" fmla="*/ 3 h 233"/>
                <a:gd name="T60" fmla="*/ 6 w 400"/>
                <a:gd name="T61" fmla="*/ 2 h 233"/>
                <a:gd name="T62" fmla="*/ 4 w 400"/>
                <a:gd name="T63" fmla="*/ 1 h 233"/>
                <a:gd name="T64" fmla="*/ 3 w 400"/>
                <a:gd name="T65" fmla="*/ 1 h 233"/>
                <a:gd name="T66" fmla="*/ 2 w 400"/>
                <a:gd name="T67" fmla="*/ 1 h 233"/>
                <a:gd name="T68" fmla="*/ 1 w 400"/>
                <a:gd name="T69" fmla="*/ 1 h 233"/>
                <a:gd name="T70" fmla="*/ 1 w 400"/>
                <a:gd name="T71" fmla="*/ 1 h 233"/>
                <a:gd name="T72" fmla="*/ 0 w 400"/>
                <a:gd name="T73" fmla="*/ 3 h 233"/>
                <a:gd name="T74" fmla="*/ 1 w 400"/>
                <a:gd name="T75" fmla="*/ 3 h 233"/>
                <a:gd name="T76" fmla="*/ 0 w 400"/>
                <a:gd name="T77" fmla="*/ 3 h 233"/>
                <a:gd name="T78" fmla="*/ 1 w 400"/>
                <a:gd name="T79" fmla="*/ 4 h 233"/>
                <a:gd name="T80" fmla="*/ 0 w 400"/>
                <a:gd name="T81" fmla="*/ 5 h 233"/>
                <a:gd name="T82" fmla="*/ 1 w 400"/>
                <a:gd name="T83" fmla="*/ 6 h 233"/>
                <a:gd name="T84" fmla="*/ 2 w 400"/>
                <a:gd name="T85" fmla="*/ 5 h 233"/>
                <a:gd name="T86" fmla="*/ 2 w 400"/>
                <a:gd name="T87" fmla="*/ 6 h 233"/>
                <a:gd name="T88" fmla="*/ 3 w 400"/>
                <a:gd name="T89" fmla="*/ 6 h 233"/>
                <a:gd name="T90" fmla="*/ 4 w 400"/>
                <a:gd name="T91" fmla="*/ 7 h 233"/>
                <a:gd name="T92" fmla="*/ 5 w 400"/>
                <a:gd name="T93" fmla="*/ 7 h 233"/>
                <a:gd name="T94" fmla="*/ 6 w 400"/>
                <a:gd name="T95" fmla="*/ 7 h 233"/>
                <a:gd name="T96" fmla="*/ 6 w 400"/>
                <a:gd name="T97" fmla="*/ 8 h 233"/>
                <a:gd name="T98" fmla="*/ 7 w 400"/>
                <a:gd name="T99" fmla="*/ 8 h 233"/>
                <a:gd name="T100" fmla="*/ 7 w 400"/>
                <a:gd name="T101" fmla="*/ 8 h 233"/>
                <a:gd name="T102" fmla="*/ 9 w 400"/>
                <a:gd name="T103" fmla="*/ 9 h 233"/>
                <a:gd name="T104" fmla="*/ 9 w 400"/>
                <a:gd name="T105" fmla="*/ 9 h 233"/>
                <a:gd name="T106" fmla="*/ 9 w 400"/>
                <a:gd name="T107" fmla="*/ 9 h 233"/>
                <a:gd name="T108" fmla="*/ 10 w 400"/>
                <a:gd name="T109" fmla="*/ 9 h 233"/>
                <a:gd name="T110" fmla="*/ 10 w 400"/>
                <a:gd name="T111" fmla="*/ 8 h 2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0"/>
                <a:gd name="T169" fmla="*/ 0 h 233"/>
                <a:gd name="T170" fmla="*/ 400 w 400"/>
                <a:gd name="T171" fmla="*/ 233 h 2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0" h="233">
                  <a:moveTo>
                    <a:pt x="203" y="166"/>
                  </a:moveTo>
                  <a:cubicBezTo>
                    <a:pt x="212" y="171"/>
                    <a:pt x="213" y="179"/>
                    <a:pt x="213" y="179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7" y="176"/>
                    <a:pt x="235" y="186"/>
                    <a:pt x="244" y="194"/>
                  </a:cubicBezTo>
                  <a:cubicBezTo>
                    <a:pt x="253" y="202"/>
                    <a:pt x="262" y="213"/>
                    <a:pt x="262" y="213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96" y="218"/>
                    <a:pt x="296" y="218"/>
                    <a:pt x="296" y="218"/>
                  </a:cubicBezTo>
                  <a:cubicBezTo>
                    <a:pt x="296" y="218"/>
                    <a:pt x="300" y="209"/>
                    <a:pt x="313" y="213"/>
                  </a:cubicBezTo>
                  <a:cubicBezTo>
                    <a:pt x="326" y="217"/>
                    <a:pt x="337" y="230"/>
                    <a:pt x="337" y="230"/>
                  </a:cubicBezTo>
                  <a:cubicBezTo>
                    <a:pt x="337" y="230"/>
                    <a:pt x="345" y="219"/>
                    <a:pt x="351" y="219"/>
                  </a:cubicBezTo>
                  <a:cubicBezTo>
                    <a:pt x="357" y="219"/>
                    <a:pt x="352" y="229"/>
                    <a:pt x="361" y="229"/>
                  </a:cubicBezTo>
                  <a:cubicBezTo>
                    <a:pt x="370" y="229"/>
                    <a:pt x="377" y="230"/>
                    <a:pt x="377" y="230"/>
                  </a:cubicBezTo>
                  <a:cubicBezTo>
                    <a:pt x="377" y="230"/>
                    <a:pt x="398" y="233"/>
                    <a:pt x="399" y="224"/>
                  </a:cubicBezTo>
                  <a:cubicBezTo>
                    <a:pt x="400" y="215"/>
                    <a:pt x="400" y="206"/>
                    <a:pt x="400" y="206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390" y="159"/>
                    <a:pt x="390" y="159"/>
                    <a:pt x="390" y="15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76" y="148"/>
                    <a:pt x="369" y="152"/>
                    <a:pt x="363" y="153"/>
                  </a:cubicBezTo>
                  <a:cubicBezTo>
                    <a:pt x="349" y="154"/>
                    <a:pt x="316" y="134"/>
                    <a:pt x="316" y="134"/>
                  </a:cubicBezTo>
                  <a:cubicBezTo>
                    <a:pt x="316" y="134"/>
                    <a:pt x="314" y="142"/>
                    <a:pt x="304" y="143"/>
                  </a:cubicBezTo>
                  <a:cubicBezTo>
                    <a:pt x="294" y="144"/>
                    <a:pt x="295" y="130"/>
                    <a:pt x="295" y="130"/>
                  </a:cubicBezTo>
                  <a:cubicBezTo>
                    <a:pt x="295" y="130"/>
                    <a:pt x="293" y="144"/>
                    <a:pt x="284" y="143"/>
                  </a:cubicBezTo>
                  <a:cubicBezTo>
                    <a:pt x="275" y="142"/>
                    <a:pt x="275" y="124"/>
                    <a:pt x="275" y="124"/>
                  </a:cubicBezTo>
                  <a:cubicBezTo>
                    <a:pt x="275" y="124"/>
                    <a:pt x="263" y="133"/>
                    <a:pt x="247" y="126"/>
                  </a:cubicBezTo>
                  <a:cubicBezTo>
                    <a:pt x="231" y="119"/>
                    <a:pt x="248" y="116"/>
                    <a:pt x="243" y="109"/>
                  </a:cubicBezTo>
                  <a:cubicBezTo>
                    <a:pt x="238" y="102"/>
                    <a:pt x="223" y="113"/>
                    <a:pt x="223" y="113"/>
                  </a:cubicBezTo>
                  <a:cubicBezTo>
                    <a:pt x="223" y="113"/>
                    <a:pt x="209" y="101"/>
                    <a:pt x="201" y="95"/>
                  </a:cubicBezTo>
                  <a:cubicBezTo>
                    <a:pt x="193" y="89"/>
                    <a:pt x="198" y="73"/>
                    <a:pt x="187" y="66"/>
                  </a:cubicBezTo>
                  <a:cubicBezTo>
                    <a:pt x="176" y="59"/>
                    <a:pt x="172" y="84"/>
                    <a:pt x="168" y="83"/>
                  </a:cubicBezTo>
                  <a:cubicBezTo>
                    <a:pt x="164" y="82"/>
                    <a:pt x="149" y="50"/>
                    <a:pt x="149" y="50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00" y="30"/>
                    <a:pt x="86" y="15"/>
                  </a:cubicBezTo>
                  <a:cubicBezTo>
                    <a:pt x="72" y="0"/>
                    <a:pt x="59" y="17"/>
                    <a:pt x="59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6" y="61"/>
                    <a:pt x="10" y="67"/>
                  </a:cubicBezTo>
                  <a:cubicBezTo>
                    <a:pt x="14" y="73"/>
                    <a:pt x="19" y="73"/>
                    <a:pt x="19" y="73"/>
                  </a:cubicBezTo>
                  <a:cubicBezTo>
                    <a:pt x="19" y="73"/>
                    <a:pt x="0" y="83"/>
                    <a:pt x="7" y="91"/>
                  </a:cubicBezTo>
                  <a:cubicBezTo>
                    <a:pt x="14" y="99"/>
                    <a:pt x="26" y="110"/>
                    <a:pt x="26" y="110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0" y="147"/>
                    <a:pt x="100" y="147"/>
                    <a:pt x="100" y="147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16" y="160"/>
                    <a:pt x="124" y="160"/>
                  </a:cubicBezTo>
                  <a:cubicBezTo>
                    <a:pt x="132" y="160"/>
                    <a:pt x="137" y="157"/>
                    <a:pt x="142" y="159"/>
                  </a:cubicBezTo>
                  <a:cubicBezTo>
                    <a:pt x="147" y="161"/>
                    <a:pt x="135" y="166"/>
                    <a:pt x="148" y="168"/>
                  </a:cubicBezTo>
                  <a:cubicBezTo>
                    <a:pt x="161" y="170"/>
                    <a:pt x="168" y="174"/>
                    <a:pt x="168" y="174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6" y="173"/>
                    <a:pt x="185" y="173"/>
                  </a:cubicBezTo>
                  <a:cubicBezTo>
                    <a:pt x="194" y="173"/>
                    <a:pt x="195" y="180"/>
                    <a:pt x="195" y="180"/>
                  </a:cubicBezTo>
                  <a:cubicBezTo>
                    <a:pt x="195" y="180"/>
                    <a:pt x="194" y="161"/>
                    <a:pt x="203" y="16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6" name="Freeform 112">
              <a:extLst>
                <a:ext uri="{FF2B5EF4-FFF2-40B4-BE49-F238E27FC236}">
                  <a16:creationId xmlns:a16="http://schemas.microsoft.com/office/drawing/2014/main" id="{C0FFCC8F-47E5-DA2F-2697-1148365E5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206" y="3234417"/>
              <a:ext cx="99082" cy="53351"/>
            </a:xfrm>
            <a:custGeom>
              <a:avLst/>
              <a:gdLst>
                <a:gd name="T0" fmla="*/ 3 w 176"/>
                <a:gd name="T1" fmla="*/ 5 h 93"/>
                <a:gd name="T2" fmla="*/ 4 w 176"/>
                <a:gd name="T3" fmla="*/ 5 h 93"/>
                <a:gd name="T4" fmla="*/ 6 w 176"/>
                <a:gd name="T5" fmla="*/ 5 h 93"/>
                <a:gd name="T6" fmla="*/ 7 w 176"/>
                <a:gd name="T7" fmla="*/ 5 h 93"/>
                <a:gd name="T8" fmla="*/ 8 w 176"/>
                <a:gd name="T9" fmla="*/ 5 h 93"/>
                <a:gd name="T10" fmla="*/ 8 w 176"/>
                <a:gd name="T11" fmla="*/ 4 h 93"/>
                <a:gd name="T12" fmla="*/ 8 w 176"/>
                <a:gd name="T13" fmla="*/ 3 h 93"/>
                <a:gd name="T14" fmla="*/ 7 w 176"/>
                <a:gd name="T15" fmla="*/ 3 h 93"/>
                <a:gd name="T16" fmla="*/ 7 w 176"/>
                <a:gd name="T17" fmla="*/ 2 h 93"/>
                <a:gd name="T18" fmla="*/ 7 w 176"/>
                <a:gd name="T19" fmla="*/ 1 h 93"/>
                <a:gd name="T20" fmla="*/ 4 w 176"/>
                <a:gd name="T21" fmla="*/ 1 h 93"/>
                <a:gd name="T22" fmla="*/ 4 w 176"/>
                <a:gd name="T23" fmla="*/ 1 h 93"/>
                <a:gd name="T24" fmla="*/ 3 w 176"/>
                <a:gd name="T25" fmla="*/ 0 h 93"/>
                <a:gd name="T26" fmla="*/ 1 w 176"/>
                <a:gd name="T27" fmla="*/ 3 h 93"/>
                <a:gd name="T28" fmla="*/ 1 w 176"/>
                <a:gd name="T29" fmla="*/ 4 h 93"/>
                <a:gd name="T30" fmla="*/ 3 w 176"/>
                <a:gd name="T31" fmla="*/ 4 h 93"/>
                <a:gd name="T32" fmla="*/ 3 w 176"/>
                <a:gd name="T33" fmla="*/ 5 h 9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6"/>
                <a:gd name="T52" fmla="*/ 0 h 93"/>
                <a:gd name="T53" fmla="*/ 176 w 176"/>
                <a:gd name="T54" fmla="*/ 93 h 9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6" h="93">
                  <a:moveTo>
                    <a:pt x="66" y="92"/>
                  </a:moveTo>
                  <a:cubicBezTo>
                    <a:pt x="85" y="92"/>
                    <a:pt x="79" y="84"/>
                    <a:pt x="88" y="84"/>
                  </a:cubicBezTo>
                  <a:cubicBezTo>
                    <a:pt x="97" y="84"/>
                    <a:pt x="95" y="90"/>
                    <a:pt x="113" y="90"/>
                  </a:cubicBezTo>
                  <a:cubicBezTo>
                    <a:pt x="131" y="90"/>
                    <a:pt x="139" y="86"/>
                    <a:pt x="139" y="86"/>
                  </a:cubicBezTo>
                  <a:cubicBezTo>
                    <a:pt x="139" y="86"/>
                    <a:pt x="148" y="93"/>
                    <a:pt x="162" y="86"/>
                  </a:cubicBezTo>
                  <a:cubicBezTo>
                    <a:pt x="176" y="79"/>
                    <a:pt x="161" y="68"/>
                    <a:pt x="161" y="68"/>
                  </a:cubicBezTo>
                  <a:cubicBezTo>
                    <a:pt x="161" y="54"/>
                    <a:pt x="161" y="54"/>
                    <a:pt x="161" y="54"/>
                  </a:cubicBezTo>
                  <a:cubicBezTo>
                    <a:pt x="161" y="54"/>
                    <a:pt x="144" y="55"/>
                    <a:pt x="140" y="48"/>
                  </a:cubicBezTo>
                  <a:cubicBezTo>
                    <a:pt x="136" y="41"/>
                    <a:pt x="142" y="39"/>
                    <a:pt x="142" y="39"/>
                  </a:cubicBezTo>
                  <a:cubicBezTo>
                    <a:pt x="142" y="39"/>
                    <a:pt x="142" y="29"/>
                    <a:pt x="129" y="18"/>
                  </a:cubicBezTo>
                  <a:cubicBezTo>
                    <a:pt x="116" y="7"/>
                    <a:pt x="80" y="25"/>
                    <a:pt x="80" y="25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70" y="10"/>
                    <a:pt x="56" y="5"/>
                  </a:cubicBezTo>
                  <a:cubicBezTo>
                    <a:pt x="42" y="0"/>
                    <a:pt x="18" y="56"/>
                    <a:pt x="18" y="56"/>
                  </a:cubicBezTo>
                  <a:cubicBezTo>
                    <a:pt x="18" y="56"/>
                    <a:pt x="0" y="60"/>
                    <a:pt x="23" y="76"/>
                  </a:cubicBezTo>
                  <a:cubicBezTo>
                    <a:pt x="46" y="92"/>
                    <a:pt x="50" y="81"/>
                    <a:pt x="50" y="81"/>
                  </a:cubicBezTo>
                  <a:cubicBezTo>
                    <a:pt x="50" y="81"/>
                    <a:pt x="47" y="92"/>
                    <a:pt x="66" y="9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7" name="Freeform 113">
              <a:extLst>
                <a:ext uri="{FF2B5EF4-FFF2-40B4-BE49-F238E27FC236}">
                  <a16:creationId xmlns:a16="http://schemas.microsoft.com/office/drawing/2014/main" id="{91B2EC25-7FA9-084F-DFEE-3AC42B7BD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7632" y="3290816"/>
              <a:ext cx="140238" cy="163103"/>
            </a:xfrm>
            <a:custGeom>
              <a:avLst/>
              <a:gdLst>
                <a:gd name="T0" fmla="*/ 5 w 247"/>
                <a:gd name="T1" fmla="*/ 15 h 284"/>
                <a:gd name="T2" fmla="*/ 5 w 247"/>
                <a:gd name="T3" fmla="*/ 13 h 284"/>
                <a:gd name="T4" fmla="*/ 7 w 247"/>
                <a:gd name="T5" fmla="*/ 13 h 284"/>
                <a:gd name="T6" fmla="*/ 7 w 247"/>
                <a:gd name="T7" fmla="*/ 12 h 284"/>
                <a:gd name="T8" fmla="*/ 9 w 247"/>
                <a:gd name="T9" fmla="*/ 13 h 284"/>
                <a:gd name="T10" fmla="*/ 10 w 247"/>
                <a:gd name="T11" fmla="*/ 12 h 284"/>
                <a:gd name="T12" fmla="*/ 9 w 247"/>
                <a:gd name="T13" fmla="*/ 11 h 284"/>
                <a:gd name="T14" fmla="*/ 11 w 247"/>
                <a:gd name="T15" fmla="*/ 13 h 284"/>
                <a:gd name="T16" fmla="*/ 11 w 247"/>
                <a:gd name="T17" fmla="*/ 15 h 284"/>
                <a:gd name="T18" fmla="*/ 12 w 247"/>
                <a:gd name="T19" fmla="*/ 15 h 284"/>
                <a:gd name="T20" fmla="*/ 12 w 247"/>
                <a:gd name="T21" fmla="*/ 15 h 284"/>
                <a:gd name="T22" fmla="*/ 13 w 247"/>
                <a:gd name="T23" fmla="*/ 15 h 284"/>
                <a:gd name="T24" fmla="*/ 12 w 247"/>
                <a:gd name="T25" fmla="*/ 13 h 284"/>
                <a:gd name="T26" fmla="*/ 12 w 247"/>
                <a:gd name="T27" fmla="*/ 10 h 284"/>
                <a:gd name="T28" fmla="*/ 10 w 247"/>
                <a:gd name="T29" fmla="*/ 8 h 284"/>
                <a:gd name="T30" fmla="*/ 10 w 247"/>
                <a:gd name="T31" fmla="*/ 9 h 284"/>
                <a:gd name="T32" fmla="*/ 10 w 247"/>
                <a:gd name="T33" fmla="*/ 11 h 284"/>
                <a:gd name="T34" fmla="*/ 9 w 247"/>
                <a:gd name="T35" fmla="*/ 9 h 284"/>
                <a:gd name="T36" fmla="*/ 8 w 247"/>
                <a:gd name="T37" fmla="*/ 9 h 284"/>
                <a:gd name="T38" fmla="*/ 9 w 247"/>
                <a:gd name="T39" fmla="*/ 7 h 284"/>
                <a:gd name="T40" fmla="*/ 10 w 247"/>
                <a:gd name="T41" fmla="*/ 6 h 284"/>
                <a:gd name="T42" fmla="*/ 10 w 247"/>
                <a:gd name="T43" fmla="*/ 5 h 284"/>
                <a:gd name="T44" fmla="*/ 11 w 247"/>
                <a:gd name="T45" fmla="*/ 5 h 284"/>
                <a:gd name="T46" fmla="*/ 10 w 247"/>
                <a:gd name="T47" fmla="*/ 4 h 284"/>
                <a:gd name="T48" fmla="*/ 8 w 247"/>
                <a:gd name="T49" fmla="*/ 4 h 284"/>
                <a:gd name="T50" fmla="*/ 6 w 247"/>
                <a:gd name="T51" fmla="*/ 4 h 284"/>
                <a:gd name="T52" fmla="*/ 4 w 247"/>
                <a:gd name="T53" fmla="*/ 4 h 284"/>
                <a:gd name="T54" fmla="*/ 4 w 247"/>
                <a:gd name="T55" fmla="*/ 2 h 284"/>
                <a:gd name="T56" fmla="*/ 4 w 247"/>
                <a:gd name="T57" fmla="*/ 2 h 284"/>
                <a:gd name="T58" fmla="*/ 4 w 247"/>
                <a:gd name="T59" fmla="*/ 1 h 284"/>
                <a:gd name="T60" fmla="*/ 3 w 247"/>
                <a:gd name="T61" fmla="*/ 1 h 284"/>
                <a:gd name="T62" fmla="*/ 3 w 247"/>
                <a:gd name="T63" fmla="*/ 2 h 284"/>
                <a:gd name="T64" fmla="*/ 3 w 247"/>
                <a:gd name="T65" fmla="*/ 1 h 284"/>
                <a:gd name="T66" fmla="*/ 2 w 247"/>
                <a:gd name="T67" fmla="*/ 0 h 284"/>
                <a:gd name="T68" fmla="*/ 1 w 247"/>
                <a:gd name="T69" fmla="*/ 0 h 284"/>
                <a:gd name="T70" fmla="*/ 1 w 247"/>
                <a:gd name="T71" fmla="*/ 1 h 284"/>
                <a:gd name="T72" fmla="*/ 1 w 247"/>
                <a:gd name="T73" fmla="*/ 0 h 284"/>
                <a:gd name="T74" fmla="*/ 0 w 247"/>
                <a:gd name="T75" fmla="*/ 0 h 284"/>
                <a:gd name="T76" fmla="*/ 0 w 247"/>
                <a:gd name="T77" fmla="*/ 1 h 284"/>
                <a:gd name="T78" fmla="*/ 0 w 247"/>
                <a:gd name="T79" fmla="*/ 2 h 284"/>
                <a:gd name="T80" fmla="*/ 1 w 247"/>
                <a:gd name="T81" fmla="*/ 3 h 284"/>
                <a:gd name="T82" fmla="*/ 2 w 247"/>
                <a:gd name="T83" fmla="*/ 3 h 284"/>
                <a:gd name="T84" fmla="*/ 2 w 247"/>
                <a:gd name="T85" fmla="*/ 4 h 284"/>
                <a:gd name="T86" fmla="*/ 1 w 247"/>
                <a:gd name="T87" fmla="*/ 4 h 284"/>
                <a:gd name="T88" fmla="*/ 1 w 247"/>
                <a:gd name="T89" fmla="*/ 5 h 284"/>
                <a:gd name="T90" fmla="*/ 1 w 247"/>
                <a:gd name="T91" fmla="*/ 6 h 284"/>
                <a:gd name="T92" fmla="*/ 3 w 247"/>
                <a:gd name="T93" fmla="*/ 7 h 284"/>
                <a:gd name="T94" fmla="*/ 2 w 247"/>
                <a:gd name="T95" fmla="*/ 8 h 284"/>
                <a:gd name="T96" fmla="*/ 2 w 247"/>
                <a:gd name="T97" fmla="*/ 9 h 284"/>
                <a:gd name="T98" fmla="*/ 3 w 247"/>
                <a:gd name="T99" fmla="*/ 10 h 284"/>
                <a:gd name="T100" fmla="*/ 3 w 247"/>
                <a:gd name="T101" fmla="*/ 11 h 284"/>
                <a:gd name="T102" fmla="*/ 4 w 247"/>
                <a:gd name="T103" fmla="*/ 12 h 284"/>
                <a:gd name="T104" fmla="*/ 4 w 247"/>
                <a:gd name="T105" fmla="*/ 14 h 284"/>
                <a:gd name="T106" fmla="*/ 5 w 247"/>
                <a:gd name="T107" fmla="*/ 15 h 2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7"/>
                <a:gd name="T163" fmla="*/ 0 h 284"/>
                <a:gd name="T164" fmla="*/ 247 w 247"/>
                <a:gd name="T165" fmla="*/ 284 h 2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7" h="284">
                  <a:moveTo>
                    <a:pt x="90" y="275"/>
                  </a:moveTo>
                  <a:cubicBezTo>
                    <a:pt x="92" y="236"/>
                    <a:pt x="92" y="236"/>
                    <a:pt x="92" y="236"/>
                  </a:cubicBezTo>
                  <a:cubicBezTo>
                    <a:pt x="92" y="236"/>
                    <a:pt x="134" y="252"/>
                    <a:pt x="142" y="250"/>
                  </a:cubicBezTo>
                  <a:cubicBezTo>
                    <a:pt x="150" y="247"/>
                    <a:pt x="134" y="229"/>
                    <a:pt x="143" y="227"/>
                  </a:cubicBezTo>
                  <a:cubicBezTo>
                    <a:pt x="152" y="225"/>
                    <a:pt x="169" y="245"/>
                    <a:pt x="182" y="240"/>
                  </a:cubicBezTo>
                  <a:cubicBezTo>
                    <a:pt x="195" y="236"/>
                    <a:pt x="190" y="223"/>
                    <a:pt x="190" y="223"/>
                  </a:cubicBezTo>
                  <a:cubicBezTo>
                    <a:pt x="182" y="202"/>
                    <a:pt x="182" y="202"/>
                    <a:pt x="182" y="202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235"/>
                    <a:pt x="201" y="274"/>
                    <a:pt x="210" y="280"/>
                  </a:cubicBezTo>
                  <a:cubicBezTo>
                    <a:pt x="213" y="282"/>
                    <a:pt x="218" y="283"/>
                    <a:pt x="222" y="284"/>
                  </a:cubicBezTo>
                  <a:cubicBezTo>
                    <a:pt x="224" y="277"/>
                    <a:pt x="226" y="273"/>
                    <a:pt x="226" y="273"/>
                  </a:cubicBezTo>
                  <a:cubicBezTo>
                    <a:pt x="247" y="276"/>
                    <a:pt x="247" y="276"/>
                    <a:pt x="247" y="276"/>
                  </a:cubicBezTo>
                  <a:cubicBezTo>
                    <a:pt x="240" y="237"/>
                    <a:pt x="240" y="237"/>
                    <a:pt x="240" y="237"/>
                  </a:cubicBezTo>
                  <a:cubicBezTo>
                    <a:pt x="240" y="237"/>
                    <a:pt x="224" y="198"/>
                    <a:pt x="220" y="187"/>
                  </a:cubicBezTo>
                  <a:cubicBezTo>
                    <a:pt x="216" y="176"/>
                    <a:pt x="222" y="157"/>
                    <a:pt x="204" y="153"/>
                  </a:cubicBezTo>
                  <a:cubicBezTo>
                    <a:pt x="186" y="149"/>
                    <a:pt x="194" y="170"/>
                    <a:pt x="194" y="170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58" y="175"/>
                    <a:pt x="158" y="159"/>
                  </a:cubicBezTo>
                  <a:cubicBezTo>
                    <a:pt x="158" y="143"/>
                    <a:pt x="160" y="133"/>
                    <a:pt x="168" y="130"/>
                  </a:cubicBezTo>
                  <a:cubicBezTo>
                    <a:pt x="176" y="127"/>
                    <a:pt x="190" y="129"/>
                    <a:pt x="193" y="115"/>
                  </a:cubicBezTo>
                  <a:cubicBezTo>
                    <a:pt x="196" y="101"/>
                    <a:pt x="196" y="92"/>
                    <a:pt x="196" y="92"/>
                  </a:cubicBezTo>
                  <a:cubicBezTo>
                    <a:pt x="196" y="92"/>
                    <a:pt x="206" y="96"/>
                    <a:pt x="206" y="86"/>
                  </a:cubicBezTo>
                  <a:cubicBezTo>
                    <a:pt x="206" y="76"/>
                    <a:pt x="184" y="68"/>
                    <a:pt x="184" y="68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23" y="75"/>
                    <a:pt x="113" y="75"/>
                  </a:cubicBezTo>
                  <a:cubicBezTo>
                    <a:pt x="103" y="75"/>
                    <a:pt x="86" y="72"/>
                    <a:pt x="86" y="69"/>
                  </a:cubicBezTo>
                  <a:cubicBezTo>
                    <a:pt x="86" y="66"/>
                    <a:pt x="85" y="46"/>
                    <a:pt x="85" y="46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26"/>
                    <a:pt x="77" y="23"/>
                  </a:cubicBezTo>
                  <a:cubicBezTo>
                    <a:pt x="73" y="20"/>
                    <a:pt x="67" y="17"/>
                    <a:pt x="67" y="1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56" y="27"/>
                    <a:pt x="50" y="21"/>
                  </a:cubicBezTo>
                  <a:cubicBezTo>
                    <a:pt x="44" y="15"/>
                    <a:pt x="41" y="3"/>
                    <a:pt x="41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0" y="24"/>
                    <a:pt x="2" y="35"/>
                  </a:cubicBezTo>
                  <a:cubicBezTo>
                    <a:pt x="4" y="46"/>
                    <a:pt x="26" y="54"/>
                    <a:pt x="26" y="5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3" y="96"/>
                    <a:pt x="13" y="106"/>
                  </a:cubicBezTo>
                  <a:cubicBezTo>
                    <a:pt x="23" y="116"/>
                    <a:pt x="50" y="110"/>
                    <a:pt x="47" y="126"/>
                  </a:cubicBezTo>
                  <a:cubicBezTo>
                    <a:pt x="44" y="142"/>
                    <a:pt x="35" y="150"/>
                    <a:pt x="35" y="15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75" y="234"/>
                    <a:pt x="75" y="234"/>
                    <a:pt x="75" y="234"/>
                  </a:cubicBezTo>
                  <a:cubicBezTo>
                    <a:pt x="73" y="252"/>
                    <a:pt x="73" y="252"/>
                    <a:pt x="73" y="252"/>
                  </a:cubicBezTo>
                  <a:lnTo>
                    <a:pt x="90" y="275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8" name="Freeform 114">
              <a:extLst>
                <a:ext uri="{FF2B5EF4-FFF2-40B4-BE49-F238E27FC236}">
                  <a16:creationId xmlns:a16="http://schemas.microsoft.com/office/drawing/2014/main" id="{59309FAC-B727-B32F-32CE-C55812131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052" y="2970707"/>
              <a:ext cx="399374" cy="402423"/>
            </a:xfrm>
            <a:custGeom>
              <a:avLst/>
              <a:gdLst>
                <a:gd name="T0" fmla="*/ 33 w 701"/>
                <a:gd name="T1" fmla="*/ 3 h 705"/>
                <a:gd name="T2" fmla="*/ 30 w 701"/>
                <a:gd name="T3" fmla="*/ 1 h 705"/>
                <a:gd name="T4" fmla="*/ 28 w 701"/>
                <a:gd name="T5" fmla="*/ 0 h 705"/>
                <a:gd name="T6" fmla="*/ 25 w 701"/>
                <a:gd name="T7" fmla="*/ 0 h 705"/>
                <a:gd name="T8" fmla="*/ 21 w 701"/>
                <a:gd name="T9" fmla="*/ 2 h 705"/>
                <a:gd name="T10" fmla="*/ 23 w 701"/>
                <a:gd name="T11" fmla="*/ 6 h 705"/>
                <a:gd name="T12" fmla="*/ 22 w 701"/>
                <a:gd name="T13" fmla="*/ 8 h 705"/>
                <a:gd name="T14" fmla="*/ 21 w 701"/>
                <a:gd name="T15" fmla="*/ 9 h 705"/>
                <a:gd name="T16" fmla="*/ 19 w 701"/>
                <a:gd name="T17" fmla="*/ 9 h 705"/>
                <a:gd name="T18" fmla="*/ 21 w 701"/>
                <a:gd name="T19" fmla="*/ 10 h 705"/>
                <a:gd name="T20" fmla="*/ 19 w 701"/>
                <a:gd name="T21" fmla="*/ 12 h 705"/>
                <a:gd name="T22" fmla="*/ 18 w 701"/>
                <a:gd name="T23" fmla="*/ 15 h 705"/>
                <a:gd name="T24" fmla="*/ 16 w 701"/>
                <a:gd name="T25" fmla="*/ 15 h 705"/>
                <a:gd name="T26" fmla="*/ 14 w 701"/>
                <a:gd name="T27" fmla="*/ 16 h 705"/>
                <a:gd name="T28" fmla="*/ 13 w 701"/>
                <a:gd name="T29" fmla="*/ 19 h 705"/>
                <a:gd name="T30" fmla="*/ 8 w 701"/>
                <a:gd name="T31" fmla="*/ 21 h 705"/>
                <a:gd name="T32" fmla="*/ 5 w 701"/>
                <a:gd name="T33" fmla="*/ 21 h 705"/>
                <a:gd name="T34" fmla="*/ 0 w 701"/>
                <a:gd name="T35" fmla="*/ 21 h 705"/>
                <a:gd name="T36" fmla="*/ 4 w 701"/>
                <a:gd name="T37" fmla="*/ 24 h 705"/>
                <a:gd name="T38" fmla="*/ 5 w 701"/>
                <a:gd name="T39" fmla="*/ 26 h 705"/>
                <a:gd name="T40" fmla="*/ 6 w 701"/>
                <a:gd name="T41" fmla="*/ 28 h 705"/>
                <a:gd name="T42" fmla="*/ 4 w 701"/>
                <a:gd name="T43" fmla="*/ 30 h 705"/>
                <a:gd name="T44" fmla="*/ 3 w 701"/>
                <a:gd name="T45" fmla="*/ 31 h 705"/>
                <a:gd name="T46" fmla="*/ 6 w 701"/>
                <a:gd name="T47" fmla="*/ 33 h 705"/>
                <a:gd name="T48" fmla="*/ 11 w 701"/>
                <a:gd name="T49" fmla="*/ 32 h 705"/>
                <a:gd name="T50" fmla="*/ 16 w 701"/>
                <a:gd name="T51" fmla="*/ 35 h 705"/>
                <a:gd name="T52" fmla="*/ 20 w 701"/>
                <a:gd name="T53" fmla="*/ 37 h 705"/>
                <a:gd name="T54" fmla="*/ 22 w 701"/>
                <a:gd name="T55" fmla="*/ 36 h 705"/>
                <a:gd name="T56" fmla="*/ 24 w 701"/>
                <a:gd name="T57" fmla="*/ 36 h 705"/>
                <a:gd name="T58" fmla="*/ 26 w 701"/>
                <a:gd name="T59" fmla="*/ 34 h 705"/>
                <a:gd name="T60" fmla="*/ 24 w 701"/>
                <a:gd name="T61" fmla="*/ 32 h 705"/>
                <a:gd name="T62" fmla="*/ 23 w 701"/>
                <a:gd name="T63" fmla="*/ 29 h 705"/>
                <a:gd name="T64" fmla="*/ 22 w 701"/>
                <a:gd name="T65" fmla="*/ 27 h 705"/>
                <a:gd name="T66" fmla="*/ 25 w 701"/>
                <a:gd name="T67" fmla="*/ 26 h 705"/>
                <a:gd name="T68" fmla="*/ 27 w 701"/>
                <a:gd name="T69" fmla="*/ 25 h 705"/>
                <a:gd name="T70" fmla="*/ 29 w 701"/>
                <a:gd name="T71" fmla="*/ 22 h 705"/>
                <a:gd name="T72" fmla="*/ 30 w 701"/>
                <a:gd name="T73" fmla="*/ 19 h 705"/>
                <a:gd name="T74" fmla="*/ 31 w 701"/>
                <a:gd name="T75" fmla="*/ 16 h 705"/>
                <a:gd name="T76" fmla="*/ 33 w 701"/>
                <a:gd name="T77" fmla="*/ 13 h 705"/>
                <a:gd name="T78" fmla="*/ 30 w 701"/>
                <a:gd name="T79" fmla="*/ 12 h 705"/>
                <a:gd name="T80" fmla="*/ 30 w 701"/>
                <a:gd name="T81" fmla="*/ 10 h 705"/>
                <a:gd name="T82" fmla="*/ 29 w 701"/>
                <a:gd name="T83" fmla="*/ 8 h 705"/>
                <a:gd name="T84" fmla="*/ 29 w 701"/>
                <a:gd name="T85" fmla="*/ 6 h 705"/>
                <a:gd name="T86" fmla="*/ 34 w 701"/>
                <a:gd name="T87" fmla="*/ 6 h 705"/>
                <a:gd name="T88" fmla="*/ 35 w 701"/>
                <a:gd name="T89" fmla="*/ 6 h 705"/>
                <a:gd name="T90" fmla="*/ 37 w 701"/>
                <a:gd name="T91" fmla="*/ 4 h 7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1"/>
                <a:gd name="T139" fmla="*/ 0 h 705"/>
                <a:gd name="T140" fmla="*/ 701 w 701"/>
                <a:gd name="T141" fmla="*/ 705 h 7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1" h="705">
                  <a:moveTo>
                    <a:pt x="671" y="81"/>
                  </a:moveTo>
                  <a:cubicBezTo>
                    <a:pt x="652" y="80"/>
                    <a:pt x="647" y="60"/>
                    <a:pt x="647" y="60"/>
                  </a:cubicBezTo>
                  <a:cubicBezTo>
                    <a:pt x="639" y="64"/>
                    <a:pt x="639" y="64"/>
                    <a:pt x="639" y="64"/>
                  </a:cubicBezTo>
                  <a:cubicBezTo>
                    <a:pt x="618" y="56"/>
                    <a:pt x="618" y="56"/>
                    <a:pt x="618" y="56"/>
                  </a:cubicBezTo>
                  <a:cubicBezTo>
                    <a:pt x="618" y="56"/>
                    <a:pt x="617" y="35"/>
                    <a:pt x="608" y="25"/>
                  </a:cubicBezTo>
                  <a:cubicBezTo>
                    <a:pt x="599" y="15"/>
                    <a:pt x="584" y="14"/>
                    <a:pt x="584" y="14"/>
                  </a:cubicBezTo>
                  <a:cubicBezTo>
                    <a:pt x="581" y="5"/>
                    <a:pt x="581" y="5"/>
                    <a:pt x="581" y="5"/>
                  </a:cubicBezTo>
                  <a:cubicBezTo>
                    <a:pt x="560" y="5"/>
                    <a:pt x="560" y="5"/>
                    <a:pt x="560" y="5"/>
                  </a:cubicBezTo>
                  <a:cubicBezTo>
                    <a:pt x="560" y="5"/>
                    <a:pt x="549" y="4"/>
                    <a:pt x="541" y="0"/>
                  </a:cubicBezTo>
                  <a:cubicBezTo>
                    <a:pt x="535" y="4"/>
                    <a:pt x="526" y="9"/>
                    <a:pt x="523" y="10"/>
                  </a:cubicBezTo>
                  <a:cubicBezTo>
                    <a:pt x="518" y="11"/>
                    <a:pt x="508" y="5"/>
                    <a:pt x="505" y="5"/>
                  </a:cubicBezTo>
                  <a:cubicBezTo>
                    <a:pt x="502" y="5"/>
                    <a:pt x="479" y="10"/>
                    <a:pt x="479" y="10"/>
                  </a:cubicBezTo>
                  <a:cubicBezTo>
                    <a:pt x="479" y="10"/>
                    <a:pt x="462" y="9"/>
                    <a:pt x="455" y="12"/>
                  </a:cubicBezTo>
                  <a:cubicBezTo>
                    <a:pt x="448" y="15"/>
                    <a:pt x="425" y="31"/>
                    <a:pt x="425" y="31"/>
                  </a:cubicBezTo>
                  <a:cubicBezTo>
                    <a:pt x="425" y="31"/>
                    <a:pt x="414" y="34"/>
                    <a:pt x="408" y="46"/>
                  </a:cubicBezTo>
                  <a:cubicBezTo>
                    <a:pt x="402" y="58"/>
                    <a:pt x="407" y="54"/>
                    <a:pt x="418" y="66"/>
                  </a:cubicBezTo>
                  <a:cubicBezTo>
                    <a:pt x="429" y="78"/>
                    <a:pt x="426" y="95"/>
                    <a:pt x="426" y="95"/>
                  </a:cubicBezTo>
                  <a:cubicBezTo>
                    <a:pt x="426" y="95"/>
                    <a:pt x="436" y="103"/>
                    <a:pt x="433" y="110"/>
                  </a:cubicBezTo>
                  <a:cubicBezTo>
                    <a:pt x="430" y="117"/>
                    <a:pt x="413" y="125"/>
                    <a:pt x="412" y="134"/>
                  </a:cubicBezTo>
                  <a:cubicBezTo>
                    <a:pt x="411" y="143"/>
                    <a:pt x="418" y="144"/>
                    <a:pt x="418" y="144"/>
                  </a:cubicBezTo>
                  <a:cubicBezTo>
                    <a:pt x="418" y="144"/>
                    <a:pt x="419" y="153"/>
                    <a:pt x="418" y="160"/>
                  </a:cubicBezTo>
                  <a:cubicBezTo>
                    <a:pt x="417" y="167"/>
                    <a:pt x="406" y="164"/>
                    <a:pt x="406" y="164"/>
                  </a:cubicBezTo>
                  <a:cubicBezTo>
                    <a:pt x="402" y="171"/>
                    <a:pt x="402" y="171"/>
                    <a:pt x="402" y="171"/>
                  </a:cubicBezTo>
                  <a:cubicBezTo>
                    <a:pt x="395" y="168"/>
                    <a:pt x="395" y="168"/>
                    <a:pt x="395" y="168"/>
                  </a:cubicBezTo>
                  <a:cubicBezTo>
                    <a:pt x="384" y="167"/>
                    <a:pt x="384" y="167"/>
                    <a:pt x="384" y="167"/>
                  </a:cubicBezTo>
                  <a:cubicBezTo>
                    <a:pt x="384" y="167"/>
                    <a:pt x="377" y="159"/>
                    <a:pt x="373" y="160"/>
                  </a:cubicBezTo>
                  <a:cubicBezTo>
                    <a:pt x="369" y="161"/>
                    <a:pt x="369" y="166"/>
                    <a:pt x="370" y="171"/>
                  </a:cubicBezTo>
                  <a:cubicBezTo>
                    <a:pt x="371" y="176"/>
                    <a:pt x="386" y="180"/>
                    <a:pt x="386" y="180"/>
                  </a:cubicBezTo>
                  <a:cubicBezTo>
                    <a:pt x="386" y="180"/>
                    <a:pt x="386" y="184"/>
                    <a:pt x="388" y="191"/>
                  </a:cubicBezTo>
                  <a:cubicBezTo>
                    <a:pt x="390" y="198"/>
                    <a:pt x="401" y="197"/>
                    <a:pt x="401" y="197"/>
                  </a:cubicBezTo>
                  <a:cubicBezTo>
                    <a:pt x="381" y="211"/>
                    <a:pt x="381" y="211"/>
                    <a:pt x="381" y="211"/>
                  </a:cubicBezTo>
                  <a:cubicBezTo>
                    <a:pt x="381" y="211"/>
                    <a:pt x="368" y="210"/>
                    <a:pt x="364" y="213"/>
                  </a:cubicBezTo>
                  <a:cubicBezTo>
                    <a:pt x="360" y="216"/>
                    <a:pt x="363" y="238"/>
                    <a:pt x="363" y="238"/>
                  </a:cubicBezTo>
                  <a:cubicBezTo>
                    <a:pt x="363" y="238"/>
                    <a:pt x="357" y="235"/>
                    <a:pt x="356" y="247"/>
                  </a:cubicBezTo>
                  <a:cubicBezTo>
                    <a:pt x="355" y="259"/>
                    <a:pt x="364" y="277"/>
                    <a:pt x="364" y="277"/>
                  </a:cubicBezTo>
                  <a:cubicBezTo>
                    <a:pt x="364" y="277"/>
                    <a:pt x="361" y="286"/>
                    <a:pt x="348" y="293"/>
                  </a:cubicBezTo>
                  <a:cubicBezTo>
                    <a:pt x="335" y="300"/>
                    <a:pt x="338" y="281"/>
                    <a:pt x="338" y="281"/>
                  </a:cubicBezTo>
                  <a:cubicBezTo>
                    <a:pt x="338" y="281"/>
                    <a:pt x="328" y="283"/>
                    <a:pt x="320" y="283"/>
                  </a:cubicBezTo>
                  <a:cubicBezTo>
                    <a:pt x="312" y="283"/>
                    <a:pt x="305" y="289"/>
                    <a:pt x="305" y="289"/>
                  </a:cubicBezTo>
                  <a:cubicBezTo>
                    <a:pt x="305" y="289"/>
                    <a:pt x="291" y="293"/>
                    <a:pt x="287" y="298"/>
                  </a:cubicBezTo>
                  <a:cubicBezTo>
                    <a:pt x="283" y="303"/>
                    <a:pt x="300" y="305"/>
                    <a:pt x="298" y="311"/>
                  </a:cubicBezTo>
                  <a:cubicBezTo>
                    <a:pt x="296" y="317"/>
                    <a:pt x="266" y="312"/>
                    <a:pt x="266" y="312"/>
                  </a:cubicBezTo>
                  <a:cubicBezTo>
                    <a:pt x="266" y="312"/>
                    <a:pt x="270" y="306"/>
                    <a:pt x="262" y="306"/>
                  </a:cubicBezTo>
                  <a:cubicBezTo>
                    <a:pt x="254" y="306"/>
                    <a:pt x="239" y="319"/>
                    <a:pt x="237" y="325"/>
                  </a:cubicBezTo>
                  <a:cubicBezTo>
                    <a:pt x="235" y="331"/>
                    <a:pt x="242" y="355"/>
                    <a:pt x="242" y="355"/>
                  </a:cubicBezTo>
                  <a:cubicBezTo>
                    <a:pt x="242" y="355"/>
                    <a:pt x="248" y="375"/>
                    <a:pt x="246" y="381"/>
                  </a:cubicBezTo>
                  <a:cubicBezTo>
                    <a:pt x="244" y="387"/>
                    <a:pt x="205" y="400"/>
                    <a:pt x="202" y="401"/>
                  </a:cubicBezTo>
                  <a:cubicBezTo>
                    <a:pt x="199" y="402"/>
                    <a:pt x="157" y="404"/>
                    <a:pt x="157" y="404"/>
                  </a:cubicBezTo>
                  <a:cubicBezTo>
                    <a:pt x="157" y="404"/>
                    <a:pt x="156" y="410"/>
                    <a:pt x="144" y="410"/>
                  </a:cubicBezTo>
                  <a:cubicBezTo>
                    <a:pt x="132" y="410"/>
                    <a:pt x="135" y="406"/>
                    <a:pt x="135" y="406"/>
                  </a:cubicBezTo>
                  <a:cubicBezTo>
                    <a:pt x="100" y="405"/>
                    <a:pt x="100" y="405"/>
                    <a:pt x="100" y="405"/>
                  </a:cubicBezTo>
                  <a:cubicBezTo>
                    <a:pt x="100" y="405"/>
                    <a:pt x="102" y="410"/>
                    <a:pt x="81" y="412"/>
                  </a:cubicBezTo>
                  <a:cubicBezTo>
                    <a:pt x="60" y="414"/>
                    <a:pt x="30" y="396"/>
                    <a:pt x="21" y="391"/>
                  </a:cubicBezTo>
                  <a:cubicBezTo>
                    <a:pt x="12" y="386"/>
                    <a:pt x="0" y="389"/>
                    <a:pt x="0" y="389"/>
                  </a:cubicBezTo>
                  <a:cubicBezTo>
                    <a:pt x="0" y="389"/>
                    <a:pt x="20" y="408"/>
                    <a:pt x="26" y="419"/>
                  </a:cubicBezTo>
                  <a:cubicBezTo>
                    <a:pt x="32" y="430"/>
                    <a:pt x="46" y="450"/>
                    <a:pt x="54" y="460"/>
                  </a:cubicBezTo>
                  <a:cubicBezTo>
                    <a:pt x="62" y="470"/>
                    <a:pt x="77" y="462"/>
                    <a:pt x="77" y="462"/>
                  </a:cubicBezTo>
                  <a:cubicBezTo>
                    <a:pt x="86" y="473"/>
                    <a:pt x="86" y="473"/>
                    <a:pt x="86" y="473"/>
                  </a:cubicBezTo>
                  <a:cubicBezTo>
                    <a:pt x="99" y="472"/>
                    <a:pt x="99" y="472"/>
                    <a:pt x="99" y="472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101" y="494"/>
                    <a:pt x="101" y="494"/>
                    <a:pt x="101" y="494"/>
                  </a:cubicBezTo>
                  <a:cubicBezTo>
                    <a:pt x="101" y="494"/>
                    <a:pt x="100" y="517"/>
                    <a:pt x="103" y="524"/>
                  </a:cubicBezTo>
                  <a:cubicBezTo>
                    <a:pt x="106" y="531"/>
                    <a:pt x="112" y="518"/>
                    <a:pt x="120" y="529"/>
                  </a:cubicBezTo>
                  <a:cubicBezTo>
                    <a:pt x="128" y="540"/>
                    <a:pt x="129" y="556"/>
                    <a:pt x="125" y="561"/>
                  </a:cubicBezTo>
                  <a:cubicBezTo>
                    <a:pt x="121" y="566"/>
                    <a:pt x="119" y="553"/>
                    <a:pt x="101" y="559"/>
                  </a:cubicBezTo>
                  <a:cubicBezTo>
                    <a:pt x="83" y="565"/>
                    <a:pt x="89" y="569"/>
                    <a:pt x="85" y="575"/>
                  </a:cubicBezTo>
                  <a:cubicBezTo>
                    <a:pt x="81" y="581"/>
                    <a:pt x="72" y="579"/>
                    <a:pt x="72" y="579"/>
                  </a:cubicBezTo>
                  <a:cubicBezTo>
                    <a:pt x="70" y="590"/>
                    <a:pt x="70" y="590"/>
                    <a:pt x="70" y="590"/>
                  </a:cubicBezTo>
                  <a:cubicBezTo>
                    <a:pt x="70" y="590"/>
                    <a:pt x="66" y="597"/>
                    <a:pt x="60" y="600"/>
                  </a:cubicBezTo>
                  <a:cubicBezTo>
                    <a:pt x="55" y="602"/>
                    <a:pt x="59" y="630"/>
                    <a:pt x="60" y="637"/>
                  </a:cubicBezTo>
                  <a:cubicBezTo>
                    <a:pt x="70" y="633"/>
                    <a:pt x="78" y="628"/>
                    <a:pt x="78" y="628"/>
                  </a:cubicBezTo>
                  <a:cubicBezTo>
                    <a:pt x="78" y="628"/>
                    <a:pt x="100" y="635"/>
                    <a:pt x="110" y="635"/>
                  </a:cubicBezTo>
                  <a:cubicBezTo>
                    <a:pt x="120" y="636"/>
                    <a:pt x="149" y="620"/>
                    <a:pt x="149" y="620"/>
                  </a:cubicBezTo>
                  <a:cubicBezTo>
                    <a:pt x="149" y="620"/>
                    <a:pt x="165" y="628"/>
                    <a:pt x="175" y="626"/>
                  </a:cubicBezTo>
                  <a:cubicBezTo>
                    <a:pt x="186" y="624"/>
                    <a:pt x="208" y="615"/>
                    <a:pt x="208" y="615"/>
                  </a:cubicBezTo>
                  <a:cubicBezTo>
                    <a:pt x="234" y="622"/>
                    <a:pt x="234" y="622"/>
                    <a:pt x="234" y="622"/>
                  </a:cubicBezTo>
                  <a:cubicBezTo>
                    <a:pt x="234" y="622"/>
                    <a:pt x="249" y="601"/>
                    <a:pt x="267" y="613"/>
                  </a:cubicBezTo>
                  <a:cubicBezTo>
                    <a:pt x="284" y="624"/>
                    <a:pt x="285" y="659"/>
                    <a:pt x="299" y="662"/>
                  </a:cubicBezTo>
                  <a:cubicBezTo>
                    <a:pt x="313" y="665"/>
                    <a:pt x="339" y="665"/>
                    <a:pt x="348" y="674"/>
                  </a:cubicBezTo>
                  <a:cubicBezTo>
                    <a:pt x="358" y="683"/>
                    <a:pt x="359" y="704"/>
                    <a:pt x="370" y="705"/>
                  </a:cubicBezTo>
                  <a:cubicBezTo>
                    <a:pt x="373" y="705"/>
                    <a:pt x="377" y="705"/>
                    <a:pt x="381" y="705"/>
                  </a:cubicBezTo>
                  <a:cubicBezTo>
                    <a:pt x="394" y="700"/>
                    <a:pt x="394" y="700"/>
                    <a:pt x="394" y="700"/>
                  </a:cubicBezTo>
                  <a:cubicBezTo>
                    <a:pt x="394" y="700"/>
                    <a:pt x="385" y="684"/>
                    <a:pt x="396" y="683"/>
                  </a:cubicBezTo>
                  <a:cubicBezTo>
                    <a:pt x="407" y="682"/>
                    <a:pt x="416" y="689"/>
                    <a:pt x="416" y="689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33" y="683"/>
                    <a:pt x="430" y="691"/>
                    <a:pt x="444" y="691"/>
                  </a:cubicBezTo>
                  <a:cubicBezTo>
                    <a:pt x="458" y="691"/>
                    <a:pt x="456" y="681"/>
                    <a:pt x="467" y="679"/>
                  </a:cubicBezTo>
                  <a:cubicBezTo>
                    <a:pt x="478" y="677"/>
                    <a:pt x="468" y="688"/>
                    <a:pt x="479" y="688"/>
                  </a:cubicBezTo>
                  <a:cubicBezTo>
                    <a:pt x="490" y="688"/>
                    <a:pt x="499" y="687"/>
                    <a:pt x="501" y="678"/>
                  </a:cubicBezTo>
                  <a:cubicBezTo>
                    <a:pt x="503" y="669"/>
                    <a:pt x="492" y="654"/>
                    <a:pt x="492" y="654"/>
                  </a:cubicBezTo>
                  <a:cubicBezTo>
                    <a:pt x="478" y="626"/>
                    <a:pt x="478" y="626"/>
                    <a:pt x="478" y="626"/>
                  </a:cubicBezTo>
                  <a:cubicBezTo>
                    <a:pt x="478" y="611"/>
                    <a:pt x="478" y="611"/>
                    <a:pt x="478" y="611"/>
                  </a:cubicBezTo>
                  <a:cubicBezTo>
                    <a:pt x="478" y="611"/>
                    <a:pt x="462" y="611"/>
                    <a:pt x="455" y="604"/>
                  </a:cubicBezTo>
                  <a:cubicBezTo>
                    <a:pt x="448" y="597"/>
                    <a:pt x="446" y="589"/>
                    <a:pt x="446" y="589"/>
                  </a:cubicBezTo>
                  <a:cubicBezTo>
                    <a:pt x="448" y="569"/>
                    <a:pt x="448" y="569"/>
                    <a:pt x="448" y="569"/>
                  </a:cubicBezTo>
                  <a:cubicBezTo>
                    <a:pt x="447" y="559"/>
                    <a:pt x="447" y="559"/>
                    <a:pt x="447" y="55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29" y="561"/>
                    <a:pt x="414" y="563"/>
                    <a:pt x="414" y="546"/>
                  </a:cubicBezTo>
                  <a:cubicBezTo>
                    <a:pt x="414" y="529"/>
                    <a:pt x="415" y="529"/>
                    <a:pt x="423" y="522"/>
                  </a:cubicBezTo>
                  <a:cubicBezTo>
                    <a:pt x="431" y="515"/>
                    <a:pt x="438" y="503"/>
                    <a:pt x="438" y="503"/>
                  </a:cubicBezTo>
                  <a:cubicBezTo>
                    <a:pt x="438" y="503"/>
                    <a:pt x="437" y="489"/>
                    <a:pt x="451" y="487"/>
                  </a:cubicBezTo>
                  <a:cubicBezTo>
                    <a:pt x="465" y="485"/>
                    <a:pt x="457" y="502"/>
                    <a:pt x="470" y="500"/>
                  </a:cubicBezTo>
                  <a:cubicBezTo>
                    <a:pt x="483" y="498"/>
                    <a:pt x="488" y="490"/>
                    <a:pt x="488" y="490"/>
                  </a:cubicBezTo>
                  <a:cubicBezTo>
                    <a:pt x="488" y="490"/>
                    <a:pt x="503" y="498"/>
                    <a:pt x="510" y="490"/>
                  </a:cubicBezTo>
                  <a:cubicBezTo>
                    <a:pt x="517" y="482"/>
                    <a:pt x="518" y="472"/>
                    <a:pt x="518" y="472"/>
                  </a:cubicBezTo>
                  <a:cubicBezTo>
                    <a:pt x="527" y="467"/>
                    <a:pt x="527" y="467"/>
                    <a:pt x="527" y="467"/>
                  </a:cubicBezTo>
                  <a:cubicBezTo>
                    <a:pt x="527" y="467"/>
                    <a:pt x="528" y="447"/>
                    <a:pt x="532" y="444"/>
                  </a:cubicBezTo>
                  <a:cubicBezTo>
                    <a:pt x="536" y="441"/>
                    <a:pt x="552" y="438"/>
                    <a:pt x="560" y="425"/>
                  </a:cubicBezTo>
                  <a:cubicBezTo>
                    <a:pt x="568" y="412"/>
                    <a:pt x="565" y="394"/>
                    <a:pt x="569" y="385"/>
                  </a:cubicBezTo>
                  <a:cubicBezTo>
                    <a:pt x="573" y="376"/>
                    <a:pt x="592" y="375"/>
                    <a:pt x="592" y="375"/>
                  </a:cubicBezTo>
                  <a:cubicBezTo>
                    <a:pt x="581" y="358"/>
                    <a:pt x="581" y="358"/>
                    <a:pt x="581" y="358"/>
                  </a:cubicBezTo>
                  <a:cubicBezTo>
                    <a:pt x="598" y="334"/>
                    <a:pt x="598" y="334"/>
                    <a:pt x="598" y="334"/>
                  </a:cubicBezTo>
                  <a:cubicBezTo>
                    <a:pt x="616" y="321"/>
                    <a:pt x="616" y="321"/>
                    <a:pt x="616" y="321"/>
                  </a:cubicBezTo>
                  <a:cubicBezTo>
                    <a:pt x="616" y="321"/>
                    <a:pt x="604" y="301"/>
                    <a:pt x="604" y="297"/>
                  </a:cubicBezTo>
                  <a:cubicBezTo>
                    <a:pt x="604" y="293"/>
                    <a:pt x="601" y="279"/>
                    <a:pt x="605" y="277"/>
                  </a:cubicBezTo>
                  <a:cubicBezTo>
                    <a:pt x="609" y="275"/>
                    <a:pt x="638" y="271"/>
                    <a:pt x="637" y="262"/>
                  </a:cubicBezTo>
                  <a:cubicBezTo>
                    <a:pt x="636" y="253"/>
                    <a:pt x="624" y="248"/>
                    <a:pt x="624" y="248"/>
                  </a:cubicBezTo>
                  <a:cubicBezTo>
                    <a:pt x="600" y="249"/>
                    <a:pt x="600" y="249"/>
                    <a:pt x="600" y="249"/>
                  </a:cubicBezTo>
                  <a:cubicBezTo>
                    <a:pt x="597" y="226"/>
                    <a:pt x="597" y="226"/>
                    <a:pt x="597" y="226"/>
                  </a:cubicBezTo>
                  <a:cubicBezTo>
                    <a:pt x="583" y="225"/>
                    <a:pt x="583" y="225"/>
                    <a:pt x="583" y="225"/>
                  </a:cubicBezTo>
                  <a:cubicBezTo>
                    <a:pt x="575" y="215"/>
                    <a:pt x="575" y="215"/>
                    <a:pt x="575" y="215"/>
                  </a:cubicBezTo>
                  <a:cubicBezTo>
                    <a:pt x="575" y="215"/>
                    <a:pt x="564" y="218"/>
                    <a:pt x="565" y="210"/>
                  </a:cubicBezTo>
                  <a:cubicBezTo>
                    <a:pt x="566" y="202"/>
                    <a:pt x="567" y="194"/>
                    <a:pt x="567" y="194"/>
                  </a:cubicBezTo>
                  <a:cubicBezTo>
                    <a:pt x="567" y="194"/>
                    <a:pt x="553" y="193"/>
                    <a:pt x="556" y="183"/>
                  </a:cubicBezTo>
                  <a:cubicBezTo>
                    <a:pt x="559" y="173"/>
                    <a:pt x="568" y="165"/>
                    <a:pt x="568" y="165"/>
                  </a:cubicBezTo>
                  <a:cubicBezTo>
                    <a:pt x="548" y="161"/>
                    <a:pt x="548" y="161"/>
                    <a:pt x="548" y="161"/>
                  </a:cubicBezTo>
                  <a:cubicBezTo>
                    <a:pt x="552" y="152"/>
                    <a:pt x="552" y="152"/>
                    <a:pt x="552" y="152"/>
                  </a:cubicBezTo>
                  <a:cubicBezTo>
                    <a:pt x="537" y="142"/>
                    <a:pt x="537" y="142"/>
                    <a:pt x="537" y="142"/>
                  </a:cubicBezTo>
                  <a:cubicBezTo>
                    <a:pt x="537" y="142"/>
                    <a:pt x="535" y="126"/>
                    <a:pt x="557" y="123"/>
                  </a:cubicBezTo>
                  <a:cubicBezTo>
                    <a:pt x="579" y="120"/>
                    <a:pt x="608" y="126"/>
                    <a:pt x="608" y="126"/>
                  </a:cubicBezTo>
                  <a:cubicBezTo>
                    <a:pt x="608" y="126"/>
                    <a:pt x="611" y="138"/>
                    <a:pt x="618" y="137"/>
                  </a:cubicBezTo>
                  <a:cubicBezTo>
                    <a:pt x="625" y="136"/>
                    <a:pt x="643" y="123"/>
                    <a:pt x="643" y="123"/>
                  </a:cubicBezTo>
                  <a:cubicBezTo>
                    <a:pt x="647" y="127"/>
                    <a:pt x="647" y="127"/>
                    <a:pt x="647" y="127"/>
                  </a:cubicBezTo>
                  <a:cubicBezTo>
                    <a:pt x="653" y="122"/>
                    <a:pt x="653" y="122"/>
                    <a:pt x="653" y="122"/>
                  </a:cubicBezTo>
                  <a:cubicBezTo>
                    <a:pt x="653" y="122"/>
                    <a:pt x="664" y="123"/>
                    <a:pt x="667" y="122"/>
                  </a:cubicBezTo>
                  <a:cubicBezTo>
                    <a:pt x="670" y="121"/>
                    <a:pt x="670" y="110"/>
                    <a:pt x="670" y="110"/>
                  </a:cubicBezTo>
                  <a:cubicBezTo>
                    <a:pt x="685" y="104"/>
                    <a:pt x="685" y="104"/>
                    <a:pt x="685" y="104"/>
                  </a:cubicBezTo>
                  <a:cubicBezTo>
                    <a:pt x="700" y="82"/>
                    <a:pt x="700" y="82"/>
                    <a:pt x="700" y="82"/>
                  </a:cubicBezTo>
                  <a:cubicBezTo>
                    <a:pt x="701" y="82"/>
                    <a:pt x="701" y="82"/>
                    <a:pt x="701" y="82"/>
                  </a:cubicBezTo>
                  <a:cubicBezTo>
                    <a:pt x="692" y="82"/>
                    <a:pt x="680" y="81"/>
                    <a:pt x="671" y="8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09" name="Freeform 115">
              <a:extLst>
                <a:ext uri="{FF2B5EF4-FFF2-40B4-BE49-F238E27FC236}">
                  <a16:creationId xmlns:a16="http://schemas.microsoft.com/office/drawing/2014/main" id="{D2760624-5B9E-F289-1307-06623160C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9510" y="2886870"/>
              <a:ext cx="545710" cy="448152"/>
            </a:xfrm>
            <a:custGeom>
              <a:avLst/>
              <a:gdLst>
                <a:gd name="T0" fmla="*/ 47 w 959"/>
                <a:gd name="T1" fmla="*/ 38 h 789"/>
                <a:gd name="T2" fmla="*/ 49 w 959"/>
                <a:gd name="T3" fmla="*/ 37 h 789"/>
                <a:gd name="T4" fmla="*/ 49 w 959"/>
                <a:gd name="T5" fmla="*/ 35 h 789"/>
                <a:gd name="T6" fmla="*/ 49 w 959"/>
                <a:gd name="T7" fmla="*/ 32 h 789"/>
                <a:gd name="T8" fmla="*/ 46 w 959"/>
                <a:gd name="T9" fmla="*/ 32 h 789"/>
                <a:gd name="T10" fmla="*/ 43 w 959"/>
                <a:gd name="T11" fmla="*/ 28 h 789"/>
                <a:gd name="T12" fmla="*/ 44 w 959"/>
                <a:gd name="T13" fmla="*/ 23 h 789"/>
                <a:gd name="T14" fmla="*/ 41 w 959"/>
                <a:gd name="T15" fmla="*/ 19 h 789"/>
                <a:gd name="T16" fmla="*/ 41 w 959"/>
                <a:gd name="T17" fmla="*/ 16 h 789"/>
                <a:gd name="T18" fmla="*/ 41 w 959"/>
                <a:gd name="T19" fmla="*/ 15 h 789"/>
                <a:gd name="T20" fmla="*/ 41 w 959"/>
                <a:gd name="T21" fmla="*/ 12 h 789"/>
                <a:gd name="T22" fmla="*/ 41 w 959"/>
                <a:gd name="T23" fmla="*/ 10 h 789"/>
                <a:gd name="T24" fmla="*/ 38 w 959"/>
                <a:gd name="T25" fmla="*/ 8 h 789"/>
                <a:gd name="T26" fmla="*/ 34 w 959"/>
                <a:gd name="T27" fmla="*/ 6 h 789"/>
                <a:gd name="T28" fmla="*/ 31 w 959"/>
                <a:gd name="T29" fmla="*/ 5 h 789"/>
                <a:gd name="T30" fmla="*/ 29 w 959"/>
                <a:gd name="T31" fmla="*/ 4 h 789"/>
                <a:gd name="T32" fmla="*/ 25 w 959"/>
                <a:gd name="T33" fmla="*/ 6 h 789"/>
                <a:gd name="T34" fmla="*/ 24 w 959"/>
                <a:gd name="T35" fmla="*/ 7 h 789"/>
                <a:gd name="T36" fmla="*/ 21 w 959"/>
                <a:gd name="T37" fmla="*/ 9 h 789"/>
                <a:gd name="T38" fmla="*/ 16 w 959"/>
                <a:gd name="T39" fmla="*/ 8 h 789"/>
                <a:gd name="T40" fmla="*/ 12 w 959"/>
                <a:gd name="T41" fmla="*/ 6 h 789"/>
                <a:gd name="T42" fmla="*/ 10 w 959"/>
                <a:gd name="T43" fmla="*/ 4 h 789"/>
                <a:gd name="T44" fmla="*/ 9 w 959"/>
                <a:gd name="T45" fmla="*/ 1 h 789"/>
                <a:gd name="T46" fmla="*/ 7 w 959"/>
                <a:gd name="T47" fmla="*/ 2 h 789"/>
                <a:gd name="T48" fmla="*/ 2 w 959"/>
                <a:gd name="T49" fmla="*/ 1 h 789"/>
                <a:gd name="T50" fmla="*/ 0 w 959"/>
                <a:gd name="T51" fmla="*/ 1 h 789"/>
                <a:gd name="T52" fmla="*/ 1 w 959"/>
                <a:gd name="T53" fmla="*/ 4 h 789"/>
                <a:gd name="T54" fmla="*/ 2 w 959"/>
                <a:gd name="T55" fmla="*/ 7 h 789"/>
                <a:gd name="T56" fmla="*/ 4 w 959"/>
                <a:gd name="T57" fmla="*/ 10 h 789"/>
                <a:gd name="T58" fmla="*/ 6 w 959"/>
                <a:gd name="T59" fmla="*/ 11 h 789"/>
                <a:gd name="T60" fmla="*/ 6 w 959"/>
                <a:gd name="T61" fmla="*/ 13 h 789"/>
                <a:gd name="T62" fmla="*/ 5 w 959"/>
                <a:gd name="T63" fmla="*/ 15 h 789"/>
                <a:gd name="T64" fmla="*/ 7 w 959"/>
                <a:gd name="T65" fmla="*/ 18 h 789"/>
                <a:gd name="T66" fmla="*/ 10 w 959"/>
                <a:gd name="T67" fmla="*/ 20 h 789"/>
                <a:gd name="T68" fmla="*/ 12 w 959"/>
                <a:gd name="T69" fmla="*/ 25 h 789"/>
                <a:gd name="T70" fmla="*/ 13 w 959"/>
                <a:gd name="T71" fmla="*/ 26 h 789"/>
                <a:gd name="T72" fmla="*/ 15 w 959"/>
                <a:gd name="T73" fmla="*/ 27 h 789"/>
                <a:gd name="T74" fmla="*/ 16 w 959"/>
                <a:gd name="T75" fmla="*/ 27 h 789"/>
                <a:gd name="T76" fmla="*/ 18 w 959"/>
                <a:gd name="T77" fmla="*/ 28 h 789"/>
                <a:gd name="T78" fmla="*/ 19 w 959"/>
                <a:gd name="T79" fmla="*/ 30 h 789"/>
                <a:gd name="T80" fmla="*/ 20 w 959"/>
                <a:gd name="T81" fmla="*/ 31 h 789"/>
                <a:gd name="T82" fmla="*/ 22 w 959"/>
                <a:gd name="T83" fmla="*/ 33 h 789"/>
                <a:gd name="T84" fmla="*/ 27 w 959"/>
                <a:gd name="T85" fmla="*/ 37 h 789"/>
                <a:gd name="T86" fmla="*/ 29 w 959"/>
                <a:gd name="T87" fmla="*/ 37 h 789"/>
                <a:gd name="T88" fmla="*/ 31 w 959"/>
                <a:gd name="T89" fmla="*/ 36 h 789"/>
                <a:gd name="T90" fmla="*/ 33 w 959"/>
                <a:gd name="T91" fmla="*/ 35 h 789"/>
                <a:gd name="T92" fmla="*/ 37 w 959"/>
                <a:gd name="T93" fmla="*/ 39 h 789"/>
                <a:gd name="T94" fmla="*/ 42 w 959"/>
                <a:gd name="T95" fmla="*/ 40 h 789"/>
                <a:gd name="T96" fmla="*/ 46 w 959"/>
                <a:gd name="T97" fmla="*/ 41 h 7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59"/>
                <a:gd name="T148" fmla="*/ 0 h 789"/>
                <a:gd name="T149" fmla="*/ 959 w 959"/>
                <a:gd name="T150" fmla="*/ 789 h 7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59" h="789">
                  <a:moveTo>
                    <a:pt x="890" y="786"/>
                  </a:moveTo>
                  <a:cubicBezTo>
                    <a:pt x="889" y="779"/>
                    <a:pt x="885" y="751"/>
                    <a:pt x="890" y="749"/>
                  </a:cubicBezTo>
                  <a:cubicBezTo>
                    <a:pt x="896" y="746"/>
                    <a:pt x="900" y="739"/>
                    <a:pt x="900" y="739"/>
                  </a:cubicBezTo>
                  <a:cubicBezTo>
                    <a:pt x="902" y="728"/>
                    <a:pt x="902" y="728"/>
                    <a:pt x="902" y="728"/>
                  </a:cubicBezTo>
                  <a:cubicBezTo>
                    <a:pt x="902" y="728"/>
                    <a:pt x="911" y="730"/>
                    <a:pt x="915" y="724"/>
                  </a:cubicBezTo>
                  <a:cubicBezTo>
                    <a:pt x="919" y="718"/>
                    <a:pt x="913" y="714"/>
                    <a:pt x="931" y="708"/>
                  </a:cubicBezTo>
                  <a:cubicBezTo>
                    <a:pt x="949" y="702"/>
                    <a:pt x="951" y="715"/>
                    <a:pt x="955" y="710"/>
                  </a:cubicBezTo>
                  <a:cubicBezTo>
                    <a:pt x="959" y="705"/>
                    <a:pt x="958" y="689"/>
                    <a:pt x="950" y="678"/>
                  </a:cubicBezTo>
                  <a:cubicBezTo>
                    <a:pt x="942" y="667"/>
                    <a:pt x="936" y="680"/>
                    <a:pt x="933" y="673"/>
                  </a:cubicBezTo>
                  <a:cubicBezTo>
                    <a:pt x="930" y="666"/>
                    <a:pt x="931" y="643"/>
                    <a:pt x="931" y="643"/>
                  </a:cubicBezTo>
                  <a:cubicBezTo>
                    <a:pt x="928" y="641"/>
                    <a:pt x="928" y="641"/>
                    <a:pt x="928" y="641"/>
                  </a:cubicBezTo>
                  <a:cubicBezTo>
                    <a:pt x="929" y="621"/>
                    <a:pt x="929" y="621"/>
                    <a:pt x="929" y="621"/>
                  </a:cubicBezTo>
                  <a:cubicBezTo>
                    <a:pt x="916" y="622"/>
                    <a:pt x="916" y="622"/>
                    <a:pt x="916" y="622"/>
                  </a:cubicBezTo>
                  <a:cubicBezTo>
                    <a:pt x="907" y="611"/>
                    <a:pt x="907" y="611"/>
                    <a:pt x="907" y="611"/>
                  </a:cubicBezTo>
                  <a:cubicBezTo>
                    <a:pt x="907" y="611"/>
                    <a:pt x="892" y="619"/>
                    <a:pt x="884" y="609"/>
                  </a:cubicBezTo>
                  <a:cubicBezTo>
                    <a:pt x="876" y="599"/>
                    <a:pt x="862" y="579"/>
                    <a:pt x="856" y="568"/>
                  </a:cubicBezTo>
                  <a:cubicBezTo>
                    <a:pt x="850" y="557"/>
                    <a:pt x="830" y="538"/>
                    <a:pt x="830" y="538"/>
                  </a:cubicBezTo>
                  <a:cubicBezTo>
                    <a:pt x="830" y="538"/>
                    <a:pt x="825" y="537"/>
                    <a:pt x="825" y="533"/>
                  </a:cubicBezTo>
                  <a:cubicBezTo>
                    <a:pt x="825" y="529"/>
                    <a:pt x="841" y="515"/>
                    <a:pt x="848" y="505"/>
                  </a:cubicBezTo>
                  <a:cubicBezTo>
                    <a:pt x="855" y="495"/>
                    <a:pt x="866" y="482"/>
                    <a:pt x="860" y="465"/>
                  </a:cubicBezTo>
                  <a:cubicBezTo>
                    <a:pt x="854" y="448"/>
                    <a:pt x="839" y="453"/>
                    <a:pt x="839" y="453"/>
                  </a:cubicBezTo>
                  <a:cubicBezTo>
                    <a:pt x="839" y="453"/>
                    <a:pt x="809" y="453"/>
                    <a:pt x="809" y="445"/>
                  </a:cubicBezTo>
                  <a:cubicBezTo>
                    <a:pt x="809" y="437"/>
                    <a:pt x="809" y="423"/>
                    <a:pt x="809" y="412"/>
                  </a:cubicBezTo>
                  <a:cubicBezTo>
                    <a:pt x="809" y="401"/>
                    <a:pt x="782" y="377"/>
                    <a:pt x="784" y="364"/>
                  </a:cubicBezTo>
                  <a:cubicBezTo>
                    <a:pt x="786" y="351"/>
                    <a:pt x="801" y="343"/>
                    <a:pt x="800" y="337"/>
                  </a:cubicBezTo>
                  <a:cubicBezTo>
                    <a:pt x="799" y="331"/>
                    <a:pt x="778" y="334"/>
                    <a:pt x="778" y="334"/>
                  </a:cubicBezTo>
                  <a:cubicBezTo>
                    <a:pt x="780" y="315"/>
                    <a:pt x="780" y="315"/>
                    <a:pt x="780" y="315"/>
                  </a:cubicBezTo>
                  <a:cubicBezTo>
                    <a:pt x="780" y="315"/>
                    <a:pt x="769" y="306"/>
                    <a:pt x="772" y="301"/>
                  </a:cubicBezTo>
                  <a:cubicBezTo>
                    <a:pt x="775" y="296"/>
                    <a:pt x="789" y="291"/>
                    <a:pt x="789" y="291"/>
                  </a:cubicBezTo>
                  <a:cubicBezTo>
                    <a:pt x="784" y="280"/>
                    <a:pt x="784" y="280"/>
                    <a:pt x="784" y="280"/>
                  </a:cubicBezTo>
                  <a:cubicBezTo>
                    <a:pt x="798" y="276"/>
                    <a:pt x="798" y="276"/>
                    <a:pt x="798" y="276"/>
                  </a:cubicBezTo>
                  <a:cubicBezTo>
                    <a:pt x="798" y="276"/>
                    <a:pt x="791" y="246"/>
                    <a:pt x="792" y="239"/>
                  </a:cubicBezTo>
                  <a:cubicBezTo>
                    <a:pt x="793" y="232"/>
                    <a:pt x="799" y="225"/>
                    <a:pt x="799" y="225"/>
                  </a:cubicBezTo>
                  <a:cubicBezTo>
                    <a:pt x="792" y="207"/>
                    <a:pt x="792" y="207"/>
                    <a:pt x="792" y="207"/>
                  </a:cubicBezTo>
                  <a:cubicBezTo>
                    <a:pt x="793" y="192"/>
                    <a:pt x="793" y="192"/>
                    <a:pt x="793" y="192"/>
                  </a:cubicBezTo>
                  <a:cubicBezTo>
                    <a:pt x="786" y="189"/>
                    <a:pt x="786" y="189"/>
                    <a:pt x="786" y="189"/>
                  </a:cubicBezTo>
                  <a:cubicBezTo>
                    <a:pt x="785" y="167"/>
                    <a:pt x="785" y="167"/>
                    <a:pt x="785" y="167"/>
                  </a:cubicBezTo>
                  <a:cubicBezTo>
                    <a:pt x="743" y="169"/>
                    <a:pt x="743" y="169"/>
                    <a:pt x="743" y="169"/>
                  </a:cubicBezTo>
                  <a:cubicBezTo>
                    <a:pt x="743" y="169"/>
                    <a:pt x="729" y="153"/>
                    <a:pt x="723" y="149"/>
                  </a:cubicBezTo>
                  <a:cubicBezTo>
                    <a:pt x="717" y="145"/>
                    <a:pt x="704" y="143"/>
                    <a:pt x="704" y="143"/>
                  </a:cubicBezTo>
                  <a:cubicBezTo>
                    <a:pt x="704" y="143"/>
                    <a:pt x="696" y="125"/>
                    <a:pt x="691" y="121"/>
                  </a:cubicBezTo>
                  <a:cubicBezTo>
                    <a:pt x="686" y="117"/>
                    <a:pt x="648" y="116"/>
                    <a:pt x="648" y="116"/>
                  </a:cubicBezTo>
                  <a:cubicBezTo>
                    <a:pt x="645" y="120"/>
                    <a:pt x="645" y="120"/>
                    <a:pt x="645" y="120"/>
                  </a:cubicBezTo>
                  <a:cubicBezTo>
                    <a:pt x="645" y="120"/>
                    <a:pt x="624" y="103"/>
                    <a:pt x="619" y="103"/>
                  </a:cubicBezTo>
                  <a:cubicBezTo>
                    <a:pt x="614" y="103"/>
                    <a:pt x="602" y="103"/>
                    <a:pt x="602" y="103"/>
                  </a:cubicBezTo>
                  <a:cubicBezTo>
                    <a:pt x="602" y="103"/>
                    <a:pt x="601" y="89"/>
                    <a:pt x="595" y="85"/>
                  </a:cubicBezTo>
                  <a:cubicBezTo>
                    <a:pt x="589" y="81"/>
                    <a:pt x="580" y="86"/>
                    <a:pt x="580" y="86"/>
                  </a:cubicBezTo>
                  <a:cubicBezTo>
                    <a:pt x="580" y="86"/>
                    <a:pt x="559" y="83"/>
                    <a:pt x="556" y="85"/>
                  </a:cubicBezTo>
                  <a:cubicBezTo>
                    <a:pt x="553" y="87"/>
                    <a:pt x="551" y="93"/>
                    <a:pt x="551" y="93"/>
                  </a:cubicBezTo>
                  <a:cubicBezTo>
                    <a:pt x="551" y="93"/>
                    <a:pt x="535" y="88"/>
                    <a:pt x="524" y="90"/>
                  </a:cubicBezTo>
                  <a:cubicBezTo>
                    <a:pt x="513" y="92"/>
                    <a:pt x="487" y="115"/>
                    <a:pt x="487" y="115"/>
                  </a:cubicBezTo>
                  <a:cubicBezTo>
                    <a:pt x="487" y="123"/>
                    <a:pt x="487" y="123"/>
                    <a:pt x="487" y="123"/>
                  </a:cubicBezTo>
                  <a:cubicBezTo>
                    <a:pt x="487" y="123"/>
                    <a:pt x="476" y="132"/>
                    <a:pt x="472" y="133"/>
                  </a:cubicBezTo>
                  <a:cubicBezTo>
                    <a:pt x="468" y="134"/>
                    <a:pt x="452" y="133"/>
                    <a:pt x="452" y="133"/>
                  </a:cubicBezTo>
                  <a:cubicBezTo>
                    <a:pt x="452" y="133"/>
                    <a:pt x="472" y="159"/>
                    <a:pt x="460" y="161"/>
                  </a:cubicBezTo>
                  <a:cubicBezTo>
                    <a:pt x="448" y="163"/>
                    <a:pt x="437" y="156"/>
                    <a:pt x="437" y="156"/>
                  </a:cubicBezTo>
                  <a:cubicBezTo>
                    <a:pt x="437" y="156"/>
                    <a:pt x="412" y="161"/>
                    <a:pt x="399" y="164"/>
                  </a:cubicBezTo>
                  <a:cubicBezTo>
                    <a:pt x="386" y="167"/>
                    <a:pt x="379" y="176"/>
                    <a:pt x="371" y="175"/>
                  </a:cubicBezTo>
                  <a:cubicBezTo>
                    <a:pt x="363" y="174"/>
                    <a:pt x="355" y="165"/>
                    <a:pt x="345" y="165"/>
                  </a:cubicBezTo>
                  <a:cubicBezTo>
                    <a:pt x="335" y="165"/>
                    <a:pt x="323" y="165"/>
                    <a:pt x="309" y="155"/>
                  </a:cubicBezTo>
                  <a:cubicBezTo>
                    <a:pt x="295" y="145"/>
                    <a:pt x="287" y="128"/>
                    <a:pt x="287" y="128"/>
                  </a:cubicBezTo>
                  <a:cubicBezTo>
                    <a:pt x="287" y="128"/>
                    <a:pt x="258" y="125"/>
                    <a:pt x="255" y="125"/>
                  </a:cubicBezTo>
                  <a:cubicBezTo>
                    <a:pt x="252" y="125"/>
                    <a:pt x="240" y="118"/>
                    <a:pt x="233" y="110"/>
                  </a:cubicBezTo>
                  <a:cubicBezTo>
                    <a:pt x="226" y="102"/>
                    <a:pt x="218" y="80"/>
                    <a:pt x="218" y="80"/>
                  </a:cubicBezTo>
                  <a:cubicBezTo>
                    <a:pt x="208" y="78"/>
                    <a:pt x="208" y="78"/>
                    <a:pt x="208" y="78"/>
                  </a:cubicBezTo>
                  <a:cubicBezTo>
                    <a:pt x="208" y="78"/>
                    <a:pt x="205" y="72"/>
                    <a:pt x="199" y="69"/>
                  </a:cubicBezTo>
                  <a:cubicBezTo>
                    <a:pt x="193" y="66"/>
                    <a:pt x="180" y="58"/>
                    <a:pt x="180" y="53"/>
                  </a:cubicBezTo>
                  <a:cubicBezTo>
                    <a:pt x="180" y="48"/>
                    <a:pt x="190" y="52"/>
                    <a:pt x="190" y="46"/>
                  </a:cubicBezTo>
                  <a:cubicBezTo>
                    <a:pt x="190" y="40"/>
                    <a:pt x="181" y="38"/>
                    <a:pt x="181" y="33"/>
                  </a:cubicBezTo>
                  <a:cubicBezTo>
                    <a:pt x="181" y="28"/>
                    <a:pt x="190" y="28"/>
                    <a:pt x="188" y="22"/>
                  </a:cubicBezTo>
                  <a:cubicBezTo>
                    <a:pt x="186" y="16"/>
                    <a:pt x="179" y="4"/>
                    <a:pt x="173" y="4"/>
                  </a:cubicBezTo>
                  <a:cubicBezTo>
                    <a:pt x="167" y="4"/>
                    <a:pt x="131" y="31"/>
                    <a:pt x="128" y="35"/>
                  </a:cubicBezTo>
                  <a:cubicBezTo>
                    <a:pt x="125" y="39"/>
                    <a:pt x="117" y="50"/>
                    <a:pt x="114" y="51"/>
                  </a:cubicBezTo>
                  <a:cubicBezTo>
                    <a:pt x="111" y="52"/>
                    <a:pt x="102" y="52"/>
                    <a:pt x="87" y="52"/>
                  </a:cubicBezTo>
                  <a:cubicBezTo>
                    <a:pt x="72" y="52"/>
                    <a:pt x="55" y="38"/>
                    <a:pt x="45" y="30"/>
                  </a:cubicBezTo>
                  <a:cubicBezTo>
                    <a:pt x="35" y="22"/>
                    <a:pt x="38" y="4"/>
                    <a:pt x="29" y="2"/>
                  </a:cubicBezTo>
                  <a:cubicBezTo>
                    <a:pt x="20" y="0"/>
                    <a:pt x="16" y="22"/>
                    <a:pt x="16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9" y="76"/>
                    <a:pt x="24" y="78"/>
                  </a:cubicBezTo>
                  <a:cubicBezTo>
                    <a:pt x="29" y="80"/>
                    <a:pt x="16" y="99"/>
                    <a:pt x="16" y="99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53" y="134"/>
                    <a:pt x="53" y="134"/>
                    <a:pt x="53" y="134"/>
                  </a:cubicBezTo>
                  <a:cubicBezTo>
                    <a:pt x="53" y="134"/>
                    <a:pt x="58" y="171"/>
                    <a:pt x="70" y="182"/>
                  </a:cubicBezTo>
                  <a:cubicBezTo>
                    <a:pt x="82" y="193"/>
                    <a:pt x="79" y="203"/>
                    <a:pt x="79" y="203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104" y="217"/>
                    <a:pt x="104" y="217"/>
                    <a:pt x="104" y="217"/>
                  </a:cubicBezTo>
                  <a:cubicBezTo>
                    <a:pt x="104" y="217"/>
                    <a:pt x="118" y="208"/>
                    <a:pt x="123" y="212"/>
                  </a:cubicBezTo>
                  <a:cubicBezTo>
                    <a:pt x="128" y="216"/>
                    <a:pt x="112" y="225"/>
                    <a:pt x="112" y="229"/>
                  </a:cubicBezTo>
                  <a:cubicBezTo>
                    <a:pt x="112" y="233"/>
                    <a:pt x="126" y="242"/>
                    <a:pt x="123" y="250"/>
                  </a:cubicBezTo>
                  <a:cubicBezTo>
                    <a:pt x="120" y="258"/>
                    <a:pt x="110" y="258"/>
                    <a:pt x="110" y="258"/>
                  </a:cubicBezTo>
                  <a:cubicBezTo>
                    <a:pt x="109" y="267"/>
                    <a:pt x="109" y="267"/>
                    <a:pt x="109" y="267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10" y="280"/>
                    <a:pt x="97" y="279"/>
                    <a:pt x="96" y="286"/>
                  </a:cubicBezTo>
                  <a:cubicBezTo>
                    <a:pt x="95" y="293"/>
                    <a:pt x="104" y="300"/>
                    <a:pt x="104" y="300"/>
                  </a:cubicBezTo>
                  <a:cubicBezTo>
                    <a:pt x="104" y="300"/>
                    <a:pt x="94" y="305"/>
                    <a:pt x="96" y="314"/>
                  </a:cubicBezTo>
                  <a:cubicBezTo>
                    <a:pt x="98" y="323"/>
                    <a:pt x="140" y="344"/>
                    <a:pt x="140" y="344"/>
                  </a:cubicBezTo>
                  <a:cubicBezTo>
                    <a:pt x="140" y="371"/>
                    <a:pt x="140" y="371"/>
                    <a:pt x="140" y="371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3" y="372"/>
                    <a:pt x="174" y="390"/>
                    <a:pt x="185" y="390"/>
                  </a:cubicBezTo>
                  <a:cubicBezTo>
                    <a:pt x="196" y="390"/>
                    <a:pt x="198" y="402"/>
                    <a:pt x="198" y="402"/>
                  </a:cubicBezTo>
                  <a:cubicBezTo>
                    <a:pt x="220" y="427"/>
                    <a:pt x="220" y="427"/>
                    <a:pt x="220" y="427"/>
                  </a:cubicBezTo>
                  <a:cubicBezTo>
                    <a:pt x="220" y="427"/>
                    <a:pt x="212" y="466"/>
                    <a:pt x="220" y="472"/>
                  </a:cubicBezTo>
                  <a:cubicBezTo>
                    <a:pt x="228" y="478"/>
                    <a:pt x="233" y="478"/>
                    <a:pt x="233" y="478"/>
                  </a:cubicBezTo>
                  <a:cubicBezTo>
                    <a:pt x="237" y="497"/>
                    <a:pt x="237" y="497"/>
                    <a:pt x="237" y="497"/>
                  </a:cubicBezTo>
                  <a:cubicBezTo>
                    <a:pt x="237" y="497"/>
                    <a:pt x="252" y="501"/>
                    <a:pt x="253" y="510"/>
                  </a:cubicBezTo>
                  <a:cubicBezTo>
                    <a:pt x="254" y="519"/>
                    <a:pt x="275" y="533"/>
                    <a:pt x="282" y="528"/>
                  </a:cubicBezTo>
                  <a:cubicBezTo>
                    <a:pt x="289" y="523"/>
                    <a:pt x="267" y="512"/>
                    <a:pt x="283" y="505"/>
                  </a:cubicBezTo>
                  <a:cubicBezTo>
                    <a:pt x="299" y="498"/>
                    <a:pt x="298" y="516"/>
                    <a:pt x="298" y="516"/>
                  </a:cubicBezTo>
                  <a:cubicBezTo>
                    <a:pt x="305" y="522"/>
                    <a:pt x="305" y="522"/>
                    <a:pt x="305" y="522"/>
                  </a:cubicBezTo>
                  <a:cubicBezTo>
                    <a:pt x="306" y="521"/>
                    <a:pt x="308" y="521"/>
                    <a:pt x="311" y="522"/>
                  </a:cubicBezTo>
                  <a:cubicBezTo>
                    <a:pt x="313" y="523"/>
                    <a:pt x="314" y="523"/>
                    <a:pt x="316" y="524"/>
                  </a:cubicBezTo>
                  <a:cubicBezTo>
                    <a:pt x="317" y="523"/>
                    <a:pt x="318" y="521"/>
                    <a:pt x="318" y="520"/>
                  </a:cubicBezTo>
                  <a:cubicBezTo>
                    <a:pt x="319" y="516"/>
                    <a:pt x="330" y="513"/>
                    <a:pt x="333" y="515"/>
                  </a:cubicBezTo>
                  <a:cubicBezTo>
                    <a:pt x="336" y="517"/>
                    <a:pt x="331" y="538"/>
                    <a:pt x="338" y="541"/>
                  </a:cubicBezTo>
                  <a:cubicBezTo>
                    <a:pt x="345" y="544"/>
                    <a:pt x="360" y="555"/>
                    <a:pt x="360" y="555"/>
                  </a:cubicBezTo>
                  <a:cubicBezTo>
                    <a:pt x="360" y="555"/>
                    <a:pt x="358" y="560"/>
                    <a:pt x="358" y="565"/>
                  </a:cubicBezTo>
                  <a:cubicBezTo>
                    <a:pt x="363" y="571"/>
                    <a:pt x="368" y="577"/>
                    <a:pt x="371" y="583"/>
                  </a:cubicBezTo>
                  <a:cubicBezTo>
                    <a:pt x="371" y="583"/>
                    <a:pt x="371" y="583"/>
                    <a:pt x="371" y="583"/>
                  </a:cubicBezTo>
                  <a:cubicBezTo>
                    <a:pt x="375" y="585"/>
                    <a:pt x="378" y="587"/>
                    <a:pt x="378" y="587"/>
                  </a:cubicBezTo>
                  <a:cubicBezTo>
                    <a:pt x="387" y="600"/>
                    <a:pt x="387" y="600"/>
                    <a:pt x="387" y="600"/>
                  </a:cubicBezTo>
                  <a:cubicBezTo>
                    <a:pt x="387" y="600"/>
                    <a:pt x="389" y="624"/>
                    <a:pt x="399" y="626"/>
                  </a:cubicBezTo>
                  <a:cubicBezTo>
                    <a:pt x="409" y="628"/>
                    <a:pt x="409" y="644"/>
                    <a:pt x="409" y="644"/>
                  </a:cubicBezTo>
                  <a:cubicBezTo>
                    <a:pt x="431" y="644"/>
                    <a:pt x="431" y="644"/>
                    <a:pt x="431" y="644"/>
                  </a:cubicBezTo>
                  <a:cubicBezTo>
                    <a:pt x="443" y="656"/>
                    <a:pt x="443" y="656"/>
                    <a:pt x="443" y="656"/>
                  </a:cubicBezTo>
                  <a:cubicBezTo>
                    <a:pt x="451" y="654"/>
                    <a:pt x="458" y="652"/>
                    <a:pt x="465" y="656"/>
                  </a:cubicBezTo>
                  <a:cubicBezTo>
                    <a:pt x="475" y="661"/>
                    <a:pt x="504" y="686"/>
                    <a:pt x="526" y="703"/>
                  </a:cubicBezTo>
                  <a:cubicBezTo>
                    <a:pt x="527" y="704"/>
                    <a:pt x="528" y="704"/>
                    <a:pt x="529" y="704"/>
                  </a:cubicBezTo>
                  <a:cubicBezTo>
                    <a:pt x="535" y="704"/>
                    <a:pt x="546" y="706"/>
                    <a:pt x="546" y="706"/>
                  </a:cubicBezTo>
                  <a:cubicBezTo>
                    <a:pt x="546" y="706"/>
                    <a:pt x="549" y="720"/>
                    <a:pt x="565" y="715"/>
                  </a:cubicBezTo>
                  <a:cubicBezTo>
                    <a:pt x="581" y="710"/>
                    <a:pt x="584" y="703"/>
                    <a:pt x="584" y="703"/>
                  </a:cubicBezTo>
                  <a:cubicBezTo>
                    <a:pt x="600" y="705"/>
                    <a:pt x="600" y="705"/>
                    <a:pt x="600" y="705"/>
                  </a:cubicBezTo>
                  <a:cubicBezTo>
                    <a:pt x="606" y="691"/>
                    <a:pt x="606" y="691"/>
                    <a:pt x="606" y="691"/>
                  </a:cubicBezTo>
                  <a:cubicBezTo>
                    <a:pt x="620" y="689"/>
                    <a:pt x="620" y="689"/>
                    <a:pt x="620" y="689"/>
                  </a:cubicBezTo>
                  <a:cubicBezTo>
                    <a:pt x="636" y="674"/>
                    <a:pt x="636" y="674"/>
                    <a:pt x="636" y="674"/>
                  </a:cubicBezTo>
                  <a:cubicBezTo>
                    <a:pt x="641" y="682"/>
                    <a:pt x="641" y="682"/>
                    <a:pt x="641" y="682"/>
                  </a:cubicBezTo>
                  <a:cubicBezTo>
                    <a:pt x="649" y="680"/>
                    <a:pt x="656" y="679"/>
                    <a:pt x="659" y="683"/>
                  </a:cubicBezTo>
                  <a:cubicBezTo>
                    <a:pt x="672" y="694"/>
                    <a:pt x="686" y="717"/>
                    <a:pt x="688" y="735"/>
                  </a:cubicBezTo>
                  <a:cubicBezTo>
                    <a:pt x="690" y="754"/>
                    <a:pt x="718" y="752"/>
                    <a:pt x="718" y="752"/>
                  </a:cubicBezTo>
                  <a:cubicBezTo>
                    <a:pt x="718" y="752"/>
                    <a:pt x="717" y="759"/>
                    <a:pt x="730" y="762"/>
                  </a:cubicBezTo>
                  <a:cubicBezTo>
                    <a:pt x="743" y="765"/>
                    <a:pt x="774" y="761"/>
                    <a:pt x="774" y="761"/>
                  </a:cubicBezTo>
                  <a:cubicBezTo>
                    <a:pt x="774" y="761"/>
                    <a:pt x="800" y="781"/>
                    <a:pt x="805" y="781"/>
                  </a:cubicBezTo>
                  <a:cubicBezTo>
                    <a:pt x="810" y="781"/>
                    <a:pt x="828" y="772"/>
                    <a:pt x="828" y="772"/>
                  </a:cubicBezTo>
                  <a:cubicBezTo>
                    <a:pt x="828" y="772"/>
                    <a:pt x="854" y="788"/>
                    <a:pt x="872" y="789"/>
                  </a:cubicBezTo>
                  <a:cubicBezTo>
                    <a:pt x="878" y="789"/>
                    <a:pt x="884" y="788"/>
                    <a:pt x="889" y="786"/>
                  </a:cubicBezTo>
                  <a:lnTo>
                    <a:pt x="890" y="786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0" name="Freeform 116">
              <a:extLst>
                <a:ext uri="{FF2B5EF4-FFF2-40B4-BE49-F238E27FC236}">
                  <a16:creationId xmlns:a16="http://schemas.microsoft.com/office/drawing/2014/main" id="{C7F1803F-E3E3-12F9-36DF-007AFE1DB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3329" y="2850286"/>
              <a:ext cx="211882" cy="135665"/>
            </a:xfrm>
            <a:custGeom>
              <a:avLst/>
              <a:gdLst>
                <a:gd name="T0" fmla="*/ 18 w 372"/>
                <a:gd name="T1" fmla="*/ 7 h 238"/>
                <a:gd name="T2" fmla="*/ 15 w 372"/>
                <a:gd name="T3" fmla="*/ 7 h 238"/>
                <a:gd name="T4" fmla="*/ 14 w 372"/>
                <a:gd name="T5" fmla="*/ 5 h 238"/>
                <a:gd name="T6" fmla="*/ 14 w 372"/>
                <a:gd name="T7" fmla="*/ 4 h 238"/>
                <a:gd name="T8" fmla="*/ 12 w 372"/>
                <a:gd name="T9" fmla="*/ 4 h 238"/>
                <a:gd name="T10" fmla="*/ 11 w 372"/>
                <a:gd name="T11" fmla="*/ 5 h 238"/>
                <a:gd name="T12" fmla="*/ 9 w 372"/>
                <a:gd name="T13" fmla="*/ 4 h 238"/>
                <a:gd name="T14" fmla="*/ 7 w 372"/>
                <a:gd name="T15" fmla="*/ 4 h 238"/>
                <a:gd name="T16" fmla="*/ 6 w 372"/>
                <a:gd name="T17" fmla="*/ 4 h 238"/>
                <a:gd name="T18" fmla="*/ 4 w 372"/>
                <a:gd name="T19" fmla="*/ 3 h 238"/>
                <a:gd name="T20" fmla="*/ 5 w 372"/>
                <a:gd name="T21" fmla="*/ 2 h 238"/>
                <a:gd name="T22" fmla="*/ 7 w 372"/>
                <a:gd name="T23" fmla="*/ 2 h 238"/>
                <a:gd name="T24" fmla="*/ 7 w 372"/>
                <a:gd name="T25" fmla="*/ 0 h 238"/>
                <a:gd name="T26" fmla="*/ 5 w 372"/>
                <a:gd name="T27" fmla="*/ 1 h 238"/>
                <a:gd name="T28" fmla="*/ 3 w 372"/>
                <a:gd name="T29" fmla="*/ 1 h 238"/>
                <a:gd name="T30" fmla="*/ 2 w 372"/>
                <a:gd name="T31" fmla="*/ 2 h 238"/>
                <a:gd name="T32" fmla="*/ 3 w 372"/>
                <a:gd name="T33" fmla="*/ 3 h 238"/>
                <a:gd name="T34" fmla="*/ 0 w 372"/>
                <a:gd name="T35" fmla="*/ 4 h 238"/>
                <a:gd name="T36" fmla="*/ 1 w 372"/>
                <a:gd name="T37" fmla="*/ 5 h 238"/>
                <a:gd name="T38" fmla="*/ 2 w 372"/>
                <a:gd name="T39" fmla="*/ 6 h 238"/>
                <a:gd name="T40" fmla="*/ 3 w 372"/>
                <a:gd name="T41" fmla="*/ 8 h 238"/>
                <a:gd name="T42" fmla="*/ 2 w 372"/>
                <a:gd name="T43" fmla="*/ 11 h 238"/>
                <a:gd name="T44" fmla="*/ 4 w 372"/>
                <a:gd name="T45" fmla="*/ 10 h 238"/>
                <a:gd name="T46" fmla="*/ 6 w 372"/>
                <a:gd name="T47" fmla="*/ 10 h 238"/>
                <a:gd name="T48" fmla="*/ 7 w 372"/>
                <a:gd name="T49" fmla="*/ 10 h 238"/>
                <a:gd name="T50" fmla="*/ 7 w 372"/>
                <a:gd name="T51" fmla="*/ 9 h 238"/>
                <a:gd name="T52" fmla="*/ 9 w 372"/>
                <a:gd name="T53" fmla="*/ 7 h 238"/>
                <a:gd name="T54" fmla="*/ 10 w 372"/>
                <a:gd name="T55" fmla="*/ 9 h 238"/>
                <a:gd name="T56" fmla="*/ 11 w 372"/>
                <a:gd name="T57" fmla="*/ 11 h 238"/>
                <a:gd name="T58" fmla="*/ 13 w 372"/>
                <a:gd name="T59" fmla="*/ 11 h 238"/>
                <a:gd name="T60" fmla="*/ 14 w 372"/>
                <a:gd name="T61" fmla="*/ 10 h 238"/>
                <a:gd name="T62" fmla="*/ 16 w 372"/>
                <a:gd name="T63" fmla="*/ 10 h 238"/>
                <a:gd name="T64" fmla="*/ 18 w 372"/>
                <a:gd name="T65" fmla="*/ 10 h 238"/>
                <a:gd name="T66" fmla="*/ 19 w 372"/>
                <a:gd name="T67" fmla="*/ 10 h 23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72"/>
                <a:gd name="T103" fmla="*/ 0 h 238"/>
                <a:gd name="T104" fmla="*/ 372 w 372"/>
                <a:gd name="T105" fmla="*/ 238 h 23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72" h="238">
                  <a:moveTo>
                    <a:pt x="353" y="181"/>
                  </a:moveTo>
                  <a:cubicBezTo>
                    <a:pt x="346" y="174"/>
                    <a:pt x="345" y="152"/>
                    <a:pt x="345" y="142"/>
                  </a:cubicBezTo>
                  <a:cubicBezTo>
                    <a:pt x="345" y="132"/>
                    <a:pt x="333" y="129"/>
                    <a:pt x="319" y="125"/>
                  </a:cubicBezTo>
                  <a:cubicBezTo>
                    <a:pt x="305" y="121"/>
                    <a:pt x="301" y="136"/>
                    <a:pt x="291" y="132"/>
                  </a:cubicBezTo>
                  <a:cubicBezTo>
                    <a:pt x="281" y="128"/>
                    <a:pt x="289" y="110"/>
                    <a:pt x="289" y="103"/>
                  </a:cubicBezTo>
                  <a:cubicBezTo>
                    <a:pt x="289" y="96"/>
                    <a:pt x="275" y="99"/>
                    <a:pt x="275" y="99"/>
                  </a:cubicBezTo>
                  <a:cubicBezTo>
                    <a:pt x="275" y="82"/>
                    <a:pt x="275" y="82"/>
                    <a:pt x="275" y="82"/>
                  </a:cubicBezTo>
                  <a:cubicBezTo>
                    <a:pt x="266" y="79"/>
                    <a:pt x="266" y="79"/>
                    <a:pt x="266" y="79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26" y="90"/>
                    <a:pt x="216" y="93"/>
                  </a:cubicBezTo>
                  <a:cubicBezTo>
                    <a:pt x="206" y="96"/>
                    <a:pt x="210" y="90"/>
                    <a:pt x="210" y="90"/>
                  </a:cubicBezTo>
                  <a:cubicBezTo>
                    <a:pt x="210" y="90"/>
                    <a:pt x="198" y="93"/>
                    <a:pt x="195" y="93"/>
                  </a:cubicBezTo>
                  <a:cubicBezTo>
                    <a:pt x="192" y="93"/>
                    <a:pt x="181" y="75"/>
                    <a:pt x="176" y="76"/>
                  </a:cubicBezTo>
                  <a:cubicBezTo>
                    <a:pt x="171" y="77"/>
                    <a:pt x="160" y="85"/>
                    <a:pt x="154" y="86"/>
                  </a:cubicBezTo>
                  <a:cubicBezTo>
                    <a:pt x="148" y="87"/>
                    <a:pt x="142" y="77"/>
                    <a:pt x="142" y="77"/>
                  </a:cubicBezTo>
                  <a:cubicBezTo>
                    <a:pt x="142" y="77"/>
                    <a:pt x="135" y="76"/>
                    <a:pt x="130" y="78"/>
                  </a:cubicBezTo>
                  <a:cubicBezTo>
                    <a:pt x="125" y="80"/>
                    <a:pt x="108" y="75"/>
                    <a:pt x="108" y="75"/>
                  </a:cubicBezTo>
                  <a:cubicBezTo>
                    <a:pt x="108" y="75"/>
                    <a:pt x="93" y="80"/>
                    <a:pt x="86" y="81"/>
                  </a:cubicBezTo>
                  <a:cubicBezTo>
                    <a:pt x="79" y="82"/>
                    <a:pt x="76" y="62"/>
                    <a:pt x="76" y="62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8" y="44"/>
                    <a:pt x="101" y="43"/>
                  </a:cubicBezTo>
                  <a:cubicBezTo>
                    <a:pt x="114" y="42"/>
                    <a:pt x="124" y="52"/>
                    <a:pt x="131" y="56"/>
                  </a:cubicBezTo>
                  <a:cubicBezTo>
                    <a:pt x="138" y="60"/>
                    <a:pt x="140" y="49"/>
                    <a:pt x="141" y="45"/>
                  </a:cubicBezTo>
                  <a:cubicBezTo>
                    <a:pt x="142" y="41"/>
                    <a:pt x="117" y="33"/>
                    <a:pt x="117" y="3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18" y="0"/>
                    <a:pt x="114" y="2"/>
                  </a:cubicBezTo>
                  <a:cubicBezTo>
                    <a:pt x="110" y="4"/>
                    <a:pt x="99" y="16"/>
                    <a:pt x="91" y="21"/>
                  </a:cubicBezTo>
                  <a:cubicBezTo>
                    <a:pt x="83" y="26"/>
                    <a:pt x="80" y="12"/>
                    <a:pt x="74" y="12"/>
                  </a:cubicBezTo>
                  <a:cubicBezTo>
                    <a:pt x="68" y="12"/>
                    <a:pt x="66" y="21"/>
                    <a:pt x="65" y="25"/>
                  </a:cubicBezTo>
                  <a:cubicBezTo>
                    <a:pt x="64" y="29"/>
                    <a:pt x="77" y="36"/>
                    <a:pt x="71" y="42"/>
                  </a:cubicBezTo>
                  <a:cubicBezTo>
                    <a:pt x="65" y="48"/>
                    <a:pt x="46" y="43"/>
                    <a:pt x="46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61" y="71"/>
                    <a:pt x="46" y="80"/>
                  </a:cubicBezTo>
                  <a:cubicBezTo>
                    <a:pt x="31" y="89"/>
                    <a:pt x="12" y="77"/>
                    <a:pt x="6" y="82"/>
                  </a:cubicBezTo>
                  <a:cubicBezTo>
                    <a:pt x="0" y="87"/>
                    <a:pt x="0" y="97"/>
                    <a:pt x="0" y="97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37" y="109"/>
                    <a:pt x="42" y="114"/>
                  </a:cubicBezTo>
                  <a:cubicBezTo>
                    <a:pt x="47" y="119"/>
                    <a:pt x="36" y="128"/>
                    <a:pt x="42" y="138"/>
                  </a:cubicBezTo>
                  <a:cubicBezTo>
                    <a:pt x="48" y="148"/>
                    <a:pt x="61" y="147"/>
                    <a:pt x="61" y="158"/>
                  </a:cubicBezTo>
                  <a:cubicBezTo>
                    <a:pt x="61" y="169"/>
                    <a:pt x="51" y="179"/>
                    <a:pt x="44" y="187"/>
                  </a:cubicBezTo>
                  <a:cubicBezTo>
                    <a:pt x="40" y="191"/>
                    <a:pt x="41" y="200"/>
                    <a:pt x="42" y="206"/>
                  </a:cubicBezTo>
                  <a:cubicBezTo>
                    <a:pt x="48" y="211"/>
                    <a:pt x="56" y="217"/>
                    <a:pt x="58" y="218"/>
                  </a:cubicBezTo>
                  <a:cubicBezTo>
                    <a:pt x="61" y="219"/>
                    <a:pt x="86" y="199"/>
                    <a:pt x="89" y="199"/>
                  </a:cubicBezTo>
                  <a:cubicBezTo>
                    <a:pt x="92" y="199"/>
                    <a:pt x="103" y="216"/>
                    <a:pt x="107" y="214"/>
                  </a:cubicBezTo>
                  <a:cubicBezTo>
                    <a:pt x="111" y="212"/>
                    <a:pt x="106" y="194"/>
                    <a:pt x="111" y="189"/>
                  </a:cubicBezTo>
                  <a:cubicBezTo>
                    <a:pt x="116" y="184"/>
                    <a:pt x="138" y="183"/>
                    <a:pt x="138" y="183"/>
                  </a:cubicBezTo>
                  <a:cubicBezTo>
                    <a:pt x="145" y="189"/>
                    <a:pt x="145" y="189"/>
                    <a:pt x="145" y="18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50" y="175"/>
                    <a:pt x="142" y="175"/>
                    <a:pt x="142" y="168"/>
                  </a:cubicBezTo>
                  <a:cubicBezTo>
                    <a:pt x="142" y="161"/>
                    <a:pt x="156" y="158"/>
                    <a:pt x="156" y="154"/>
                  </a:cubicBezTo>
                  <a:cubicBezTo>
                    <a:pt x="156" y="150"/>
                    <a:pt x="155" y="135"/>
                    <a:pt x="164" y="135"/>
                  </a:cubicBezTo>
                  <a:cubicBezTo>
                    <a:pt x="173" y="135"/>
                    <a:pt x="184" y="144"/>
                    <a:pt x="184" y="149"/>
                  </a:cubicBezTo>
                  <a:cubicBezTo>
                    <a:pt x="184" y="154"/>
                    <a:pt x="184" y="168"/>
                    <a:pt x="184" y="168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21" y="238"/>
                    <a:pt x="228" y="235"/>
                  </a:cubicBezTo>
                  <a:cubicBezTo>
                    <a:pt x="235" y="232"/>
                    <a:pt x="249" y="216"/>
                    <a:pt x="249" y="216"/>
                  </a:cubicBezTo>
                  <a:cubicBezTo>
                    <a:pt x="259" y="216"/>
                    <a:pt x="259" y="216"/>
                    <a:pt x="259" y="216"/>
                  </a:cubicBezTo>
                  <a:cubicBezTo>
                    <a:pt x="259" y="216"/>
                    <a:pt x="266" y="205"/>
                    <a:pt x="273" y="197"/>
                  </a:cubicBezTo>
                  <a:cubicBezTo>
                    <a:pt x="280" y="189"/>
                    <a:pt x="304" y="192"/>
                    <a:pt x="304" y="192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30" y="194"/>
                    <a:pt x="330" y="194"/>
                    <a:pt x="330" y="194"/>
                  </a:cubicBezTo>
                  <a:cubicBezTo>
                    <a:pt x="343" y="194"/>
                    <a:pt x="343" y="194"/>
                    <a:pt x="343" y="194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55" y="199"/>
                    <a:pt x="361" y="199"/>
                    <a:pt x="364" y="197"/>
                  </a:cubicBezTo>
                  <a:cubicBezTo>
                    <a:pt x="372" y="191"/>
                    <a:pt x="360" y="188"/>
                    <a:pt x="353" y="18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1" name="Freeform 117">
              <a:extLst>
                <a:ext uri="{FF2B5EF4-FFF2-40B4-BE49-F238E27FC236}">
                  <a16:creationId xmlns:a16="http://schemas.microsoft.com/office/drawing/2014/main" id="{AC3E09EE-D638-237C-1FEE-EA3EAA619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6010" y="2784739"/>
              <a:ext cx="256087" cy="118898"/>
            </a:xfrm>
            <a:custGeom>
              <a:avLst/>
              <a:gdLst>
                <a:gd name="T0" fmla="*/ 2 w 449"/>
                <a:gd name="T1" fmla="*/ 5 h 211"/>
                <a:gd name="T2" fmla="*/ 4 w 449"/>
                <a:gd name="T3" fmla="*/ 6 h 211"/>
                <a:gd name="T4" fmla="*/ 4 w 449"/>
                <a:gd name="T5" fmla="*/ 5 h 211"/>
                <a:gd name="T6" fmla="*/ 5 w 449"/>
                <a:gd name="T7" fmla="*/ 5 h 211"/>
                <a:gd name="T8" fmla="*/ 6 w 449"/>
                <a:gd name="T9" fmla="*/ 6 h 211"/>
                <a:gd name="T10" fmla="*/ 7 w 449"/>
                <a:gd name="T11" fmla="*/ 6 h 211"/>
                <a:gd name="T12" fmla="*/ 7 w 449"/>
                <a:gd name="T13" fmla="*/ 7 h 211"/>
                <a:gd name="T14" fmla="*/ 6 w 449"/>
                <a:gd name="T15" fmla="*/ 7 h 211"/>
                <a:gd name="T16" fmla="*/ 4 w 449"/>
                <a:gd name="T17" fmla="*/ 8 h 211"/>
                <a:gd name="T18" fmla="*/ 3 w 449"/>
                <a:gd name="T19" fmla="*/ 8 h 211"/>
                <a:gd name="T20" fmla="*/ 1 w 449"/>
                <a:gd name="T21" fmla="*/ 8 h 211"/>
                <a:gd name="T22" fmla="*/ 0 w 449"/>
                <a:gd name="T23" fmla="*/ 9 h 211"/>
                <a:gd name="T24" fmla="*/ 1 w 449"/>
                <a:gd name="T25" fmla="*/ 10 h 211"/>
                <a:gd name="T26" fmla="*/ 3 w 449"/>
                <a:gd name="T27" fmla="*/ 10 h 211"/>
                <a:gd name="T28" fmla="*/ 5 w 449"/>
                <a:gd name="T29" fmla="*/ 10 h 211"/>
                <a:gd name="T30" fmla="*/ 7 w 449"/>
                <a:gd name="T31" fmla="*/ 10 h 211"/>
                <a:gd name="T32" fmla="*/ 8 w 449"/>
                <a:gd name="T33" fmla="*/ 10 h 211"/>
                <a:gd name="T34" fmla="*/ 10 w 449"/>
                <a:gd name="T35" fmla="*/ 10 h 211"/>
                <a:gd name="T36" fmla="*/ 11 w 449"/>
                <a:gd name="T37" fmla="*/ 10 h 211"/>
                <a:gd name="T38" fmla="*/ 12 w 449"/>
                <a:gd name="T39" fmla="*/ 8 h 211"/>
                <a:gd name="T40" fmla="*/ 13 w 449"/>
                <a:gd name="T41" fmla="*/ 7 h 211"/>
                <a:gd name="T42" fmla="*/ 15 w 449"/>
                <a:gd name="T43" fmla="*/ 8 h 211"/>
                <a:gd name="T44" fmla="*/ 16 w 449"/>
                <a:gd name="T45" fmla="*/ 8 h 211"/>
                <a:gd name="T46" fmla="*/ 17 w 449"/>
                <a:gd name="T47" fmla="*/ 6 h 211"/>
                <a:gd name="T48" fmla="*/ 20 w 449"/>
                <a:gd name="T49" fmla="*/ 5 h 211"/>
                <a:gd name="T50" fmla="*/ 22 w 449"/>
                <a:gd name="T51" fmla="*/ 3 h 211"/>
                <a:gd name="T52" fmla="*/ 23 w 449"/>
                <a:gd name="T53" fmla="*/ 2 h 211"/>
                <a:gd name="T54" fmla="*/ 21 w 449"/>
                <a:gd name="T55" fmla="*/ 2 h 211"/>
                <a:gd name="T56" fmla="*/ 19 w 449"/>
                <a:gd name="T57" fmla="*/ 1 h 211"/>
                <a:gd name="T58" fmla="*/ 17 w 449"/>
                <a:gd name="T59" fmla="*/ 1 h 211"/>
                <a:gd name="T60" fmla="*/ 12 w 449"/>
                <a:gd name="T61" fmla="*/ 1 h 211"/>
                <a:gd name="T62" fmla="*/ 10 w 449"/>
                <a:gd name="T63" fmla="*/ 0 h 211"/>
                <a:gd name="T64" fmla="*/ 7 w 449"/>
                <a:gd name="T65" fmla="*/ 0 h 211"/>
                <a:gd name="T66" fmla="*/ 7 w 449"/>
                <a:gd name="T67" fmla="*/ 2 h 211"/>
                <a:gd name="T68" fmla="*/ 3 w 449"/>
                <a:gd name="T69" fmla="*/ 1 h 211"/>
                <a:gd name="T70" fmla="*/ 3 w 449"/>
                <a:gd name="T71" fmla="*/ 3 h 2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49"/>
                <a:gd name="T109" fmla="*/ 0 h 211"/>
                <a:gd name="T110" fmla="*/ 449 w 449"/>
                <a:gd name="T111" fmla="*/ 211 h 2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49" h="211">
                  <a:moveTo>
                    <a:pt x="23" y="88"/>
                  </a:moveTo>
                  <a:cubicBezTo>
                    <a:pt x="46" y="96"/>
                    <a:pt x="46" y="96"/>
                    <a:pt x="46" y="96"/>
                  </a:cubicBezTo>
                  <a:cubicBezTo>
                    <a:pt x="46" y="96"/>
                    <a:pt x="47" y="101"/>
                    <a:pt x="52" y="105"/>
                  </a:cubicBezTo>
                  <a:cubicBezTo>
                    <a:pt x="57" y="109"/>
                    <a:pt x="76" y="107"/>
                    <a:pt x="76" y="107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2" y="124"/>
                    <a:pt x="161" y="118"/>
                    <a:pt x="151" y="130"/>
                  </a:cubicBezTo>
                  <a:cubicBezTo>
                    <a:pt x="141" y="142"/>
                    <a:pt x="129" y="141"/>
                    <a:pt x="129" y="141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3" y="158"/>
                    <a:pt x="104" y="162"/>
                  </a:cubicBezTo>
                  <a:cubicBezTo>
                    <a:pt x="95" y="166"/>
                    <a:pt x="91" y="150"/>
                    <a:pt x="84" y="152"/>
                  </a:cubicBezTo>
                  <a:cubicBezTo>
                    <a:pt x="80" y="153"/>
                    <a:pt x="71" y="156"/>
                    <a:pt x="64" y="159"/>
                  </a:cubicBezTo>
                  <a:cubicBezTo>
                    <a:pt x="65" y="159"/>
                    <a:pt x="65" y="159"/>
                    <a:pt x="65" y="160"/>
                  </a:cubicBezTo>
                  <a:cubicBezTo>
                    <a:pt x="64" y="164"/>
                    <a:pt x="62" y="175"/>
                    <a:pt x="55" y="171"/>
                  </a:cubicBezTo>
                  <a:cubicBezTo>
                    <a:pt x="48" y="167"/>
                    <a:pt x="38" y="157"/>
                    <a:pt x="25" y="158"/>
                  </a:cubicBezTo>
                  <a:cubicBezTo>
                    <a:pt x="12" y="159"/>
                    <a:pt x="9" y="174"/>
                    <a:pt x="9" y="174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3" y="197"/>
                    <a:pt x="10" y="196"/>
                  </a:cubicBezTo>
                  <a:cubicBezTo>
                    <a:pt x="17" y="195"/>
                    <a:pt x="32" y="190"/>
                    <a:pt x="32" y="190"/>
                  </a:cubicBezTo>
                  <a:cubicBezTo>
                    <a:pt x="32" y="190"/>
                    <a:pt x="49" y="195"/>
                    <a:pt x="54" y="193"/>
                  </a:cubicBezTo>
                  <a:cubicBezTo>
                    <a:pt x="59" y="191"/>
                    <a:pt x="66" y="192"/>
                    <a:pt x="66" y="192"/>
                  </a:cubicBezTo>
                  <a:cubicBezTo>
                    <a:pt x="66" y="192"/>
                    <a:pt x="72" y="202"/>
                    <a:pt x="78" y="201"/>
                  </a:cubicBezTo>
                  <a:cubicBezTo>
                    <a:pt x="84" y="200"/>
                    <a:pt x="95" y="192"/>
                    <a:pt x="100" y="191"/>
                  </a:cubicBezTo>
                  <a:cubicBezTo>
                    <a:pt x="105" y="190"/>
                    <a:pt x="116" y="208"/>
                    <a:pt x="119" y="208"/>
                  </a:cubicBezTo>
                  <a:cubicBezTo>
                    <a:pt x="122" y="208"/>
                    <a:pt x="134" y="205"/>
                    <a:pt x="134" y="205"/>
                  </a:cubicBezTo>
                  <a:cubicBezTo>
                    <a:pt x="134" y="205"/>
                    <a:pt x="130" y="211"/>
                    <a:pt x="140" y="208"/>
                  </a:cubicBezTo>
                  <a:cubicBezTo>
                    <a:pt x="150" y="205"/>
                    <a:pt x="154" y="202"/>
                    <a:pt x="154" y="202"/>
                  </a:cubicBezTo>
                  <a:cubicBezTo>
                    <a:pt x="182" y="203"/>
                    <a:pt x="182" y="203"/>
                    <a:pt x="182" y="203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199" y="197"/>
                    <a:pt x="211" y="199"/>
                    <a:pt x="211" y="195"/>
                  </a:cubicBezTo>
                  <a:cubicBezTo>
                    <a:pt x="211" y="191"/>
                    <a:pt x="200" y="178"/>
                    <a:pt x="199" y="175"/>
                  </a:cubicBezTo>
                  <a:cubicBezTo>
                    <a:pt x="198" y="172"/>
                    <a:pt x="231" y="157"/>
                    <a:pt x="231" y="157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50" y="145"/>
                    <a:pt x="255" y="136"/>
                    <a:pt x="261" y="136"/>
                  </a:cubicBezTo>
                  <a:cubicBezTo>
                    <a:pt x="267" y="136"/>
                    <a:pt x="278" y="155"/>
                    <a:pt x="278" y="155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4" y="153"/>
                    <a:pt x="304" y="153"/>
                    <a:pt x="304" y="153"/>
                  </a:cubicBezTo>
                  <a:cubicBezTo>
                    <a:pt x="304" y="153"/>
                    <a:pt x="309" y="144"/>
                    <a:pt x="310" y="135"/>
                  </a:cubicBezTo>
                  <a:cubicBezTo>
                    <a:pt x="311" y="126"/>
                    <a:pt x="319" y="113"/>
                    <a:pt x="327" y="112"/>
                  </a:cubicBezTo>
                  <a:cubicBezTo>
                    <a:pt x="335" y="111"/>
                    <a:pt x="354" y="119"/>
                    <a:pt x="366" y="119"/>
                  </a:cubicBezTo>
                  <a:cubicBezTo>
                    <a:pt x="378" y="119"/>
                    <a:pt x="378" y="101"/>
                    <a:pt x="378" y="98"/>
                  </a:cubicBezTo>
                  <a:cubicBezTo>
                    <a:pt x="378" y="95"/>
                    <a:pt x="397" y="78"/>
                    <a:pt x="397" y="78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5"/>
                    <a:pt x="443" y="65"/>
                    <a:pt x="446" y="64"/>
                  </a:cubicBezTo>
                  <a:cubicBezTo>
                    <a:pt x="449" y="63"/>
                    <a:pt x="447" y="51"/>
                    <a:pt x="443" y="46"/>
                  </a:cubicBezTo>
                  <a:cubicBezTo>
                    <a:pt x="429" y="41"/>
                    <a:pt x="429" y="41"/>
                    <a:pt x="429" y="4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384" y="23"/>
                    <a:pt x="384" y="23"/>
                    <a:pt x="384" y="23"/>
                  </a:cubicBezTo>
                  <a:cubicBezTo>
                    <a:pt x="372" y="23"/>
                    <a:pt x="372" y="23"/>
                    <a:pt x="372" y="2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02" y="12"/>
                    <a:pt x="294" y="13"/>
                  </a:cubicBezTo>
                  <a:cubicBezTo>
                    <a:pt x="286" y="14"/>
                    <a:pt x="238" y="14"/>
                    <a:pt x="238" y="14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8"/>
                    <a:pt x="198" y="12"/>
                    <a:pt x="194" y="12"/>
                  </a:cubicBezTo>
                  <a:cubicBezTo>
                    <a:pt x="190" y="12"/>
                    <a:pt x="180" y="0"/>
                    <a:pt x="170" y="0"/>
                  </a:cubicBezTo>
                  <a:cubicBezTo>
                    <a:pt x="160" y="0"/>
                    <a:pt x="147" y="2"/>
                    <a:pt x="144" y="5"/>
                  </a:cubicBezTo>
                  <a:cubicBezTo>
                    <a:pt x="141" y="8"/>
                    <a:pt x="149" y="43"/>
                    <a:pt x="149" y="43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84" y="17"/>
                    <a:pt x="61" y="18"/>
                  </a:cubicBezTo>
                  <a:cubicBezTo>
                    <a:pt x="38" y="19"/>
                    <a:pt x="37" y="48"/>
                    <a:pt x="37" y="48"/>
                  </a:cubicBezTo>
                  <a:cubicBezTo>
                    <a:pt x="37" y="48"/>
                    <a:pt x="55" y="49"/>
                    <a:pt x="57" y="54"/>
                  </a:cubicBezTo>
                  <a:cubicBezTo>
                    <a:pt x="59" y="59"/>
                    <a:pt x="23" y="88"/>
                    <a:pt x="23" y="8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2" name="Freeform 118">
              <a:extLst>
                <a:ext uri="{FF2B5EF4-FFF2-40B4-BE49-F238E27FC236}">
                  <a16:creationId xmlns:a16="http://schemas.microsoft.com/office/drawing/2014/main" id="{4FD6E4DA-E518-6E35-8894-9860CC824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149" y="2796934"/>
              <a:ext cx="384131" cy="230173"/>
            </a:xfrm>
            <a:custGeom>
              <a:avLst/>
              <a:gdLst>
                <a:gd name="T0" fmla="*/ 1 w 674"/>
                <a:gd name="T1" fmla="*/ 6 h 406"/>
                <a:gd name="T2" fmla="*/ 3 w 674"/>
                <a:gd name="T3" fmla="*/ 7 h 406"/>
                <a:gd name="T4" fmla="*/ 4 w 674"/>
                <a:gd name="T5" fmla="*/ 9 h 406"/>
                <a:gd name="T6" fmla="*/ 4 w 674"/>
                <a:gd name="T7" fmla="*/ 10 h 406"/>
                <a:gd name="T8" fmla="*/ 5 w 674"/>
                <a:gd name="T9" fmla="*/ 12 h 406"/>
                <a:gd name="T10" fmla="*/ 5 w 674"/>
                <a:gd name="T11" fmla="*/ 13 h 406"/>
                <a:gd name="T12" fmla="*/ 7 w 674"/>
                <a:gd name="T13" fmla="*/ 15 h 406"/>
                <a:gd name="T14" fmla="*/ 7 w 674"/>
                <a:gd name="T15" fmla="*/ 14 h 406"/>
                <a:gd name="T16" fmla="*/ 11 w 674"/>
                <a:gd name="T17" fmla="*/ 13 h 406"/>
                <a:gd name="T18" fmla="*/ 12 w 674"/>
                <a:gd name="T19" fmla="*/ 13 h 406"/>
                <a:gd name="T20" fmla="*/ 13 w 674"/>
                <a:gd name="T21" fmla="*/ 13 h 406"/>
                <a:gd name="T22" fmla="*/ 16 w 674"/>
                <a:gd name="T23" fmla="*/ 14 h 406"/>
                <a:gd name="T24" fmla="*/ 18 w 674"/>
                <a:gd name="T25" fmla="*/ 15 h 406"/>
                <a:gd name="T26" fmla="*/ 20 w 674"/>
                <a:gd name="T27" fmla="*/ 16 h 406"/>
                <a:gd name="T28" fmla="*/ 23 w 674"/>
                <a:gd name="T29" fmla="*/ 17 h 406"/>
                <a:gd name="T30" fmla="*/ 23 w 674"/>
                <a:gd name="T31" fmla="*/ 18 h 406"/>
                <a:gd name="T32" fmla="*/ 24 w 674"/>
                <a:gd name="T33" fmla="*/ 20 h 406"/>
                <a:gd name="T34" fmla="*/ 25 w 674"/>
                <a:gd name="T35" fmla="*/ 20 h 406"/>
                <a:gd name="T36" fmla="*/ 28 w 674"/>
                <a:gd name="T37" fmla="*/ 20 h 406"/>
                <a:gd name="T38" fmla="*/ 29 w 674"/>
                <a:gd name="T39" fmla="*/ 19 h 406"/>
                <a:gd name="T40" fmla="*/ 31 w 674"/>
                <a:gd name="T41" fmla="*/ 18 h 406"/>
                <a:gd name="T42" fmla="*/ 33 w 674"/>
                <a:gd name="T43" fmla="*/ 15 h 406"/>
                <a:gd name="T44" fmla="*/ 34 w 674"/>
                <a:gd name="T45" fmla="*/ 15 h 406"/>
                <a:gd name="T46" fmla="*/ 35 w 674"/>
                <a:gd name="T47" fmla="*/ 15 h 406"/>
                <a:gd name="T48" fmla="*/ 33 w 674"/>
                <a:gd name="T49" fmla="*/ 12 h 406"/>
                <a:gd name="T50" fmla="*/ 31 w 674"/>
                <a:gd name="T51" fmla="*/ 12 h 406"/>
                <a:gd name="T52" fmla="*/ 30 w 674"/>
                <a:gd name="T53" fmla="*/ 11 h 406"/>
                <a:gd name="T54" fmla="*/ 28 w 674"/>
                <a:gd name="T55" fmla="*/ 10 h 406"/>
                <a:gd name="T56" fmla="*/ 26 w 674"/>
                <a:gd name="T57" fmla="*/ 9 h 406"/>
                <a:gd name="T58" fmla="*/ 24 w 674"/>
                <a:gd name="T59" fmla="*/ 7 h 406"/>
                <a:gd name="T60" fmla="*/ 22 w 674"/>
                <a:gd name="T61" fmla="*/ 6 h 406"/>
                <a:gd name="T62" fmla="*/ 21 w 674"/>
                <a:gd name="T63" fmla="*/ 4 h 406"/>
                <a:gd name="T64" fmla="*/ 19 w 674"/>
                <a:gd name="T65" fmla="*/ 4 h 406"/>
                <a:gd name="T66" fmla="*/ 18 w 674"/>
                <a:gd name="T67" fmla="*/ 3 h 406"/>
                <a:gd name="T68" fmla="*/ 17 w 674"/>
                <a:gd name="T69" fmla="*/ 1 h 406"/>
                <a:gd name="T70" fmla="*/ 15 w 674"/>
                <a:gd name="T71" fmla="*/ 1 h 406"/>
                <a:gd name="T72" fmla="*/ 14 w 674"/>
                <a:gd name="T73" fmla="*/ 1 h 406"/>
                <a:gd name="T74" fmla="*/ 13 w 674"/>
                <a:gd name="T75" fmla="*/ 0 h 406"/>
                <a:gd name="T76" fmla="*/ 13 w 674"/>
                <a:gd name="T77" fmla="*/ 1 h 406"/>
                <a:gd name="T78" fmla="*/ 12 w 674"/>
                <a:gd name="T79" fmla="*/ 1 h 406"/>
                <a:gd name="T80" fmla="*/ 11 w 674"/>
                <a:gd name="T81" fmla="*/ 4 h 406"/>
                <a:gd name="T82" fmla="*/ 8 w 674"/>
                <a:gd name="T83" fmla="*/ 4 h 406"/>
                <a:gd name="T84" fmla="*/ 6 w 674"/>
                <a:gd name="T85" fmla="*/ 3 h 406"/>
                <a:gd name="T86" fmla="*/ 3 w 674"/>
                <a:gd name="T87" fmla="*/ 1 h 406"/>
                <a:gd name="T88" fmla="*/ 3 w 674"/>
                <a:gd name="T89" fmla="*/ 2 h 406"/>
                <a:gd name="T90" fmla="*/ 6 w 674"/>
                <a:gd name="T91" fmla="*/ 4 h 406"/>
                <a:gd name="T92" fmla="*/ 4 w 674"/>
                <a:gd name="T93" fmla="*/ 5 h 406"/>
                <a:gd name="T94" fmla="*/ 3 w 674"/>
                <a:gd name="T95" fmla="*/ 6 h 406"/>
                <a:gd name="T96" fmla="*/ 2 w 674"/>
                <a:gd name="T97" fmla="*/ 5 h 406"/>
                <a:gd name="T98" fmla="*/ 1 w 674"/>
                <a:gd name="T99" fmla="*/ 3 h 406"/>
                <a:gd name="T100" fmla="*/ 1 w 674"/>
                <a:gd name="T101" fmla="*/ 4 h 40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4"/>
                <a:gd name="T154" fmla="*/ 0 h 406"/>
                <a:gd name="T155" fmla="*/ 674 w 674"/>
                <a:gd name="T156" fmla="*/ 406 h 40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4" h="406">
                  <a:moveTo>
                    <a:pt x="34" y="100"/>
                  </a:moveTo>
                  <a:cubicBezTo>
                    <a:pt x="34" y="104"/>
                    <a:pt x="24" y="115"/>
                    <a:pt x="24" y="120"/>
                  </a:cubicBezTo>
                  <a:cubicBezTo>
                    <a:pt x="24" y="126"/>
                    <a:pt x="40" y="151"/>
                    <a:pt x="40" y="151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5" y="172"/>
                    <a:pt x="46" y="171"/>
                    <a:pt x="50" y="180"/>
                  </a:cubicBezTo>
                  <a:cubicBezTo>
                    <a:pt x="54" y="190"/>
                    <a:pt x="64" y="184"/>
                    <a:pt x="71" y="187"/>
                  </a:cubicBezTo>
                  <a:cubicBezTo>
                    <a:pt x="78" y="190"/>
                    <a:pt x="90" y="203"/>
                    <a:pt x="90" y="203"/>
                  </a:cubicBezTo>
                  <a:cubicBezTo>
                    <a:pt x="94" y="238"/>
                    <a:pt x="94" y="238"/>
                    <a:pt x="94" y="238"/>
                  </a:cubicBezTo>
                  <a:cubicBezTo>
                    <a:pt x="99" y="240"/>
                    <a:pt x="99" y="240"/>
                    <a:pt x="99" y="240"/>
                  </a:cubicBezTo>
                  <a:cubicBezTo>
                    <a:pt x="99" y="240"/>
                    <a:pt x="96" y="254"/>
                    <a:pt x="96" y="262"/>
                  </a:cubicBezTo>
                  <a:cubicBezTo>
                    <a:pt x="96" y="270"/>
                    <a:pt x="106" y="291"/>
                    <a:pt x="106" y="291"/>
                  </a:cubicBezTo>
                  <a:cubicBezTo>
                    <a:pt x="106" y="291"/>
                    <a:pt x="122" y="292"/>
                    <a:pt x="126" y="291"/>
                  </a:cubicBezTo>
                  <a:cubicBezTo>
                    <a:pt x="130" y="290"/>
                    <a:pt x="141" y="281"/>
                    <a:pt x="141" y="281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1" y="273"/>
                    <a:pt x="167" y="250"/>
                    <a:pt x="178" y="248"/>
                  </a:cubicBezTo>
                  <a:cubicBezTo>
                    <a:pt x="189" y="246"/>
                    <a:pt x="205" y="251"/>
                    <a:pt x="205" y="251"/>
                  </a:cubicBezTo>
                  <a:cubicBezTo>
                    <a:pt x="205" y="251"/>
                    <a:pt x="207" y="245"/>
                    <a:pt x="210" y="243"/>
                  </a:cubicBezTo>
                  <a:cubicBezTo>
                    <a:pt x="213" y="241"/>
                    <a:pt x="234" y="244"/>
                    <a:pt x="234" y="244"/>
                  </a:cubicBezTo>
                  <a:cubicBezTo>
                    <a:pt x="234" y="244"/>
                    <a:pt x="243" y="239"/>
                    <a:pt x="249" y="243"/>
                  </a:cubicBezTo>
                  <a:cubicBezTo>
                    <a:pt x="255" y="247"/>
                    <a:pt x="256" y="261"/>
                    <a:pt x="256" y="261"/>
                  </a:cubicBezTo>
                  <a:cubicBezTo>
                    <a:pt x="256" y="261"/>
                    <a:pt x="268" y="261"/>
                    <a:pt x="273" y="261"/>
                  </a:cubicBezTo>
                  <a:cubicBezTo>
                    <a:pt x="278" y="261"/>
                    <a:pt x="299" y="278"/>
                    <a:pt x="299" y="278"/>
                  </a:cubicBezTo>
                  <a:cubicBezTo>
                    <a:pt x="302" y="274"/>
                    <a:pt x="302" y="274"/>
                    <a:pt x="302" y="274"/>
                  </a:cubicBezTo>
                  <a:cubicBezTo>
                    <a:pt x="302" y="274"/>
                    <a:pt x="340" y="275"/>
                    <a:pt x="345" y="279"/>
                  </a:cubicBezTo>
                  <a:cubicBezTo>
                    <a:pt x="350" y="283"/>
                    <a:pt x="358" y="301"/>
                    <a:pt x="358" y="301"/>
                  </a:cubicBezTo>
                  <a:cubicBezTo>
                    <a:pt x="358" y="301"/>
                    <a:pt x="371" y="303"/>
                    <a:pt x="377" y="307"/>
                  </a:cubicBezTo>
                  <a:cubicBezTo>
                    <a:pt x="383" y="311"/>
                    <a:pt x="397" y="327"/>
                    <a:pt x="397" y="327"/>
                  </a:cubicBezTo>
                  <a:cubicBezTo>
                    <a:pt x="439" y="325"/>
                    <a:pt x="439" y="325"/>
                    <a:pt x="439" y="325"/>
                  </a:cubicBezTo>
                  <a:cubicBezTo>
                    <a:pt x="440" y="347"/>
                    <a:pt x="440" y="347"/>
                    <a:pt x="440" y="347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46" y="365"/>
                    <a:pt x="446" y="365"/>
                    <a:pt x="446" y="365"/>
                  </a:cubicBezTo>
                  <a:cubicBezTo>
                    <a:pt x="453" y="383"/>
                    <a:pt x="453" y="383"/>
                    <a:pt x="453" y="383"/>
                  </a:cubicBezTo>
                  <a:cubicBezTo>
                    <a:pt x="453" y="383"/>
                    <a:pt x="467" y="393"/>
                    <a:pt x="472" y="393"/>
                  </a:cubicBezTo>
                  <a:cubicBezTo>
                    <a:pt x="477" y="393"/>
                    <a:pt x="484" y="390"/>
                    <a:pt x="484" y="390"/>
                  </a:cubicBezTo>
                  <a:cubicBezTo>
                    <a:pt x="500" y="406"/>
                    <a:pt x="500" y="406"/>
                    <a:pt x="500" y="406"/>
                  </a:cubicBezTo>
                  <a:cubicBezTo>
                    <a:pt x="500" y="406"/>
                    <a:pt x="525" y="405"/>
                    <a:pt x="530" y="396"/>
                  </a:cubicBezTo>
                  <a:cubicBezTo>
                    <a:pt x="535" y="387"/>
                    <a:pt x="535" y="371"/>
                    <a:pt x="535" y="371"/>
                  </a:cubicBezTo>
                  <a:cubicBezTo>
                    <a:pt x="535" y="371"/>
                    <a:pt x="553" y="372"/>
                    <a:pt x="560" y="365"/>
                  </a:cubicBezTo>
                  <a:cubicBezTo>
                    <a:pt x="567" y="358"/>
                    <a:pt x="580" y="349"/>
                    <a:pt x="580" y="349"/>
                  </a:cubicBezTo>
                  <a:cubicBezTo>
                    <a:pt x="580" y="349"/>
                    <a:pt x="589" y="351"/>
                    <a:pt x="589" y="345"/>
                  </a:cubicBezTo>
                  <a:cubicBezTo>
                    <a:pt x="589" y="339"/>
                    <a:pt x="584" y="311"/>
                    <a:pt x="594" y="301"/>
                  </a:cubicBezTo>
                  <a:cubicBezTo>
                    <a:pt x="604" y="291"/>
                    <a:pt x="623" y="296"/>
                    <a:pt x="623" y="296"/>
                  </a:cubicBezTo>
                  <a:cubicBezTo>
                    <a:pt x="623" y="296"/>
                    <a:pt x="622" y="279"/>
                    <a:pt x="630" y="279"/>
                  </a:cubicBezTo>
                  <a:cubicBezTo>
                    <a:pt x="638" y="279"/>
                    <a:pt x="652" y="292"/>
                    <a:pt x="652" y="292"/>
                  </a:cubicBezTo>
                  <a:cubicBezTo>
                    <a:pt x="674" y="292"/>
                    <a:pt x="674" y="292"/>
                    <a:pt x="674" y="292"/>
                  </a:cubicBezTo>
                  <a:cubicBezTo>
                    <a:pt x="674" y="289"/>
                    <a:pt x="673" y="285"/>
                    <a:pt x="667" y="280"/>
                  </a:cubicBezTo>
                  <a:cubicBezTo>
                    <a:pt x="656" y="272"/>
                    <a:pt x="668" y="260"/>
                    <a:pt x="668" y="260"/>
                  </a:cubicBezTo>
                  <a:cubicBezTo>
                    <a:pt x="635" y="242"/>
                    <a:pt x="635" y="242"/>
                    <a:pt x="635" y="242"/>
                  </a:cubicBezTo>
                  <a:cubicBezTo>
                    <a:pt x="620" y="244"/>
                    <a:pt x="620" y="244"/>
                    <a:pt x="620" y="244"/>
                  </a:cubicBezTo>
                  <a:cubicBezTo>
                    <a:pt x="620" y="244"/>
                    <a:pt x="602" y="236"/>
                    <a:pt x="595" y="231"/>
                  </a:cubicBezTo>
                  <a:cubicBezTo>
                    <a:pt x="588" y="226"/>
                    <a:pt x="574" y="215"/>
                    <a:pt x="574" y="215"/>
                  </a:cubicBezTo>
                  <a:cubicBezTo>
                    <a:pt x="563" y="212"/>
                    <a:pt x="563" y="212"/>
                    <a:pt x="563" y="212"/>
                  </a:cubicBezTo>
                  <a:cubicBezTo>
                    <a:pt x="554" y="204"/>
                    <a:pt x="554" y="204"/>
                    <a:pt x="554" y="204"/>
                  </a:cubicBezTo>
                  <a:cubicBezTo>
                    <a:pt x="536" y="203"/>
                    <a:pt x="536" y="203"/>
                    <a:pt x="536" y="203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191"/>
                    <a:pt x="504" y="175"/>
                    <a:pt x="500" y="174"/>
                  </a:cubicBezTo>
                  <a:cubicBezTo>
                    <a:pt x="496" y="172"/>
                    <a:pt x="483" y="170"/>
                    <a:pt x="476" y="167"/>
                  </a:cubicBezTo>
                  <a:cubicBezTo>
                    <a:pt x="470" y="164"/>
                    <a:pt x="458" y="159"/>
                    <a:pt x="455" y="148"/>
                  </a:cubicBezTo>
                  <a:cubicBezTo>
                    <a:pt x="452" y="138"/>
                    <a:pt x="444" y="126"/>
                    <a:pt x="444" y="126"/>
                  </a:cubicBezTo>
                  <a:cubicBezTo>
                    <a:pt x="431" y="111"/>
                    <a:pt x="431" y="111"/>
                    <a:pt x="431" y="111"/>
                  </a:cubicBezTo>
                  <a:cubicBezTo>
                    <a:pt x="422" y="92"/>
                    <a:pt x="422" y="92"/>
                    <a:pt x="422" y="92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8" y="86"/>
                    <a:pt x="398" y="86"/>
                    <a:pt x="398" y="86"/>
                  </a:cubicBezTo>
                  <a:cubicBezTo>
                    <a:pt x="362" y="82"/>
                    <a:pt x="362" y="82"/>
                    <a:pt x="362" y="82"/>
                  </a:cubicBezTo>
                  <a:cubicBezTo>
                    <a:pt x="362" y="82"/>
                    <a:pt x="336" y="83"/>
                    <a:pt x="331" y="74"/>
                  </a:cubicBezTo>
                  <a:cubicBezTo>
                    <a:pt x="326" y="64"/>
                    <a:pt x="338" y="52"/>
                    <a:pt x="338" y="52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328" y="47"/>
                    <a:pt x="330" y="32"/>
                    <a:pt x="320" y="28"/>
                  </a:cubicBezTo>
                  <a:cubicBezTo>
                    <a:pt x="311" y="24"/>
                    <a:pt x="298" y="27"/>
                    <a:pt x="298" y="27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90" y="15"/>
                    <a:pt x="290" y="15"/>
                    <a:pt x="290" y="15"/>
                  </a:cubicBezTo>
                  <a:cubicBezTo>
                    <a:pt x="274" y="16"/>
                    <a:pt x="274" y="16"/>
                    <a:pt x="274" y="16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8" y="7"/>
                    <a:pt x="258" y="7"/>
                    <a:pt x="258" y="7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39" y="16"/>
                    <a:pt x="235" y="18"/>
                  </a:cubicBezTo>
                  <a:cubicBezTo>
                    <a:pt x="231" y="19"/>
                    <a:pt x="231" y="30"/>
                    <a:pt x="231" y="30"/>
                  </a:cubicBezTo>
                  <a:cubicBezTo>
                    <a:pt x="231" y="30"/>
                    <a:pt x="199" y="36"/>
                    <a:pt x="198" y="50"/>
                  </a:cubicBezTo>
                  <a:cubicBezTo>
                    <a:pt x="196" y="63"/>
                    <a:pt x="211" y="79"/>
                    <a:pt x="211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3" y="72"/>
                    <a:pt x="156" y="72"/>
                  </a:cubicBezTo>
                  <a:cubicBezTo>
                    <a:pt x="150" y="72"/>
                    <a:pt x="151" y="87"/>
                    <a:pt x="140" y="82"/>
                  </a:cubicBezTo>
                  <a:cubicBezTo>
                    <a:pt x="130" y="76"/>
                    <a:pt x="112" y="51"/>
                    <a:pt x="112" y="51"/>
                  </a:cubicBezTo>
                  <a:cubicBezTo>
                    <a:pt x="112" y="51"/>
                    <a:pt x="102" y="38"/>
                    <a:pt x="94" y="34"/>
                  </a:cubicBezTo>
                  <a:cubicBezTo>
                    <a:pt x="86" y="30"/>
                    <a:pt x="54" y="18"/>
                    <a:pt x="51" y="22"/>
                  </a:cubicBezTo>
                  <a:cubicBezTo>
                    <a:pt x="48" y="26"/>
                    <a:pt x="50" y="32"/>
                    <a:pt x="50" y="32"/>
                  </a:cubicBezTo>
                  <a:cubicBezTo>
                    <a:pt x="50" y="32"/>
                    <a:pt x="60" y="38"/>
                    <a:pt x="60" y="42"/>
                  </a:cubicBezTo>
                  <a:cubicBezTo>
                    <a:pt x="60" y="46"/>
                    <a:pt x="63" y="46"/>
                    <a:pt x="70" y="58"/>
                  </a:cubicBezTo>
                  <a:cubicBezTo>
                    <a:pt x="76" y="70"/>
                    <a:pt x="112" y="79"/>
                    <a:pt x="110" y="90"/>
                  </a:cubicBezTo>
                  <a:cubicBezTo>
                    <a:pt x="107" y="100"/>
                    <a:pt x="107" y="106"/>
                    <a:pt x="100" y="104"/>
                  </a:cubicBezTo>
                  <a:cubicBezTo>
                    <a:pt x="94" y="103"/>
                    <a:pt x="79" y="90"/>
                    <a:pt x="82" y="94"/>
                  </a:cubicBezTo>
                  <a:cubicBezTo>
                    <a:pt x="84" y="98"/>
                    <a:pt x="79" y="107"/>
                    <a:pt x="79" y="107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0"/>
                    <a:pt x="30" y="90"/>
                    <a:pt x="24" y="80"/>
                  </a:cubicBezTo>
                  <a:cubicBezTo>
                    <a:pt x="19" y="71"/>
                    <a:pt x="23" y="56"/>
                    <a:pt x="19" y="55"/>
                  </a:cubicBezTo>
                  <a:cubicBezTo>
                    <a:pt x="15" y="54"/>
                    <a:pt x="3" y="47"/>
                    <a:pt x="2" y="52"/>
                  </a:cubicBezTo>
                  <a:cubicBezTo>
                    <a:pt x="0" y="58"/>
                    <a:pt x="14" y="72"/>
                    <a:pt x="14" y="72"/>
                  </a:cubicBezTo>
                  <a:cubicBezTo>
                    <a:pt x="14" y="72"/>
                    <a:pt x="34" y="96"/>
                    <a:pt x="34" y="10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3" name="Freeform 119">
              <a:extLst>
                <a:ext uri="{FF2B5EF4-FFF2-40B4-BE49-F238E27FC236}">
                  <a16:creationId xmlns:a16="http://schemas.microsoft.com/office/drawing/2014/main" id="{1F3A8D13-3833-33EF-C527-F5BB20E7B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993" y="2926502"/>
              <a:ext cx="346023" cy="278952"/>
            </a:xfrm>
            <a:custGeom>
              <a:avLst/>
              <a:gdLst>
                <a:gd name="T0" fmla="*/ 32 w 607"/>
                <a:gd name="T1" fmla="*/ 3 h 492"/>
                <a:gd name="T2" fmla="*/ 31 w 607"/>
                <a:gd name="T3" fmla="*/ 3 h 492"/>
                <a:gd name="T4" fmla="*/ 30 w 607"/>
                <a:gd name="T5" fmla="*/ 3 h 492"/>
                <a:gd name="T6" fmla="*/ 27 w 607"/>
                <a:gd name="T7" fmla="*/ 4 h 492"/>
                <a:gd name="T8" fmla="*/ 25 w 607"/>
                <a:gd name="T9" fmla="*/ 5 h 492"/>
                <a:gd name="T10" fmla="*/ 24 w 607"/>
                <a:gd name="T11" fmla="*/ 1 h 492"/>
                <a:gd name="T12" fmla="*/ 23 w 607"/>
                <a:gd name="T13" fmla="*/ 1 h 492"/>
                <a:gd name="T14" fmla="*/ 22 w 607"/>
                <a:gd name="T15" fmla="*/ 1 h 492"/>
                <a:gd name="T16" fmla="*/ 21 w 607"/>
                <a:gd name="T17" fmla="*/ 2 h 492"/>
                <a:gd name="T18" fmla="*/ 21 w 607"/>
                <a:gd name="T19" fmla="*/ 3 h 492"/>
                <a:gd name="T20" fmla="*/ 19 w 607"/>
                <a:gd name="T21" fmla="*/ 4 h 492"/>
                <a:gd name="T22" fmla="*/ 16 w 607"/>
                <a:gd name="T23" fmla="*/ 4 h 492"/>
                <a:gd name="T24" fmla="*/ 15 w 607"/>
                <a:gd name="T25" fmla="*/ 3 h 492"/>
                <a:gd name="T26" fmla="*/ 14 w 607"/>
                <a:gd name="T27" fmla="*/ 3 h 492"/>
                <a:gd name="T28" fmla="*/ 12 w 607"/>
                <a:gd name="T29" fmla="*/ 3 h 492"/>
                <a:gd name="T30" fmla="*/ 10 w 607"/>
                <a:gd name="T31" fmla="*/ 3 h 492"/>
                <a:gd name="T32" fmla="*/ 9 w 607"/>
                <a:gd name="T33" fmla="*/ 6 h 492"/>
                <a:gd name="T34" fmla="*/ 7 w 607"/>
                <a:gd name="T35" fmla="*/ 7 h 492"/>
                <a:gd name="T36" fmla="*/ 6 w 607"/>
                <a:gd name="T37" fmla="*/ 9 h 492"/>
                <a:gd name="T38" fmla="*/ 3 w 607"/>
                <a:gd name="T39" fmla="*/ 8 h 492"/>
                <a:gd name="T40" fmla="*/ 1 w 607"/>
                <a:gd name="T41" fmla="*/ 8 h 492"/>
                <a:gd name="T42" fmla="*/ 1 w 607"/>
                <a:gd name="T43" fmla="*/ 10 h 492"/>
                <a:gd name="T44" fmla="*/ 1 w 607"/>
                <a:gd name="T45" fmla="*/ 12 h 492"/>
                <a:gd name="T46" fmla="*/ 0 w 607"/>
                <a:gd name="T47" fmla="*/ 13 h 492"/>
                <a:gd name="T48" fmla="*/ 1 w 607"/>
                <a:gd name="T49" fmla="*/ 14 h 492"/>
                <a:gd name="T50" fmla="*/ 2 w 607"/>
                <a:gd name="T51" fmla="*/ 17 h 492"/>
                <a:gd name="T52" fmla="*/ 4 w 607"/>
                <a:gd name="T53" fmla="*/ 20 h 492"/>
                <a:gd name="T54" fmla="*/ 4 w 607"/>
                <a:gd name="T55" fmla="*/ 22 h 492"/>
                <a:gd name="T56" fmla="*/ 3 w 607"/>
                <a:gd name="T57" fmla="*/ 24 h 492"/>
                <a:gd name="T58" fmla="*/ 7 w 607"/>
                <a:gd name="T59" fmla="*/ 25 h 492"/>
                <a:gd name="T60" fmla="*/ 10 w 607"/>
                <a:gd name="T61" fmla="*/ 25 h 492"/>
                <a:gd name="T62" fmla="*/ 12 w 607"/>
                <a:gd name="T63" fmla="*/ 25 h 492"/>
                <a:gd name="T64" fmla="*/ 16 w 607"/>
                <a:gd name="T65" fmla="*/ 24 h 492"/>
                <a:gd name="T66" fmla="*/ 16 w 607"/>
                <a:gd name="T67" fmla="*/ 21 h 492"/>
                <a:gd name="T68" fmla="*/ 17 w 607"/>
                <a:gd name="T69" fmla="*/ 20 h 492"/>
                <a:gd name="T70" fmla="*/ 18 w 607"/>
                <a:gd name="T71" fmla="*/ 19 h 492"/>
                <a:gd name="T72" fmla="*/ 20 w 607"/>
                <a:gd name="T73" fmla="*/ 19 h 492"/>
                <a:gd name="T74" fmla="*/ 21 w 607"/>
                <a:gd name="T75" fmla="*/ 19 h 492"/>
                <a:gd name="T76" fmla="*/ 22 w 607"/>
                <a:gd name="T77" fmla="*/ 17 h 492"/>
                <a:gd name="T78" fmla="*/ 22 w 607"/>
                <a:gd name="T79" fmla="*/ 15 h 492"/>
                <a:gd name="T80" fmla="*/ 24 w 607"/>
                <a:gd name="T81" fmla="*/ 14 h 492"/>
                <a:gd name="T82" fmla="*/ 23 w 607"/>
                <a:gd name="T83" fmla="*/ 13 h 492"/>
                <a:gd name="T84" fmla="*/ 23 w 607"/>
                <a:gd name="T85" fmla="*/ 12 h 492"/>
                <a:gd name="T86" fmla="*/ 24 w 607"/>
                <a:gd name="T87" fmla="*/ 13 h 492"/>
                <a:gd name="T88" fmla="*/ 24 w 607"/>
                <a:gd name="T89" fmla="*/ 12 h 492"/>
                <a:gd name="T90" fmla="*/ 25 w 607"/>
                <a:gd name="T91" fmla="*/ 12 h 492"/>
                <a:gd name="T92" fmla="*/ 26 w 607"/>
                <a:gd name="T93" fmla="*/ 10 h 492"/>
                <a:gd name="T94" fmla="*/ 25 w 607"/>
                <a:gd name="T95" fmla="*/ 7 h 492"/>
                <a:gd name="T96" fmla="*/ 25 w 607"/>
                <a:gd name="T97" fmla="*/ 6 h 492"/>
                <a:gd name="T98" fmla="*/ 28 w 607"/>
                <a:gd name="T99" fmla="*/ 4 h 492"/>
                <a:gd name="T100" fmla="*/ 31 w 607"/>
                <a:gd name="T101" fmla="*/ 4 h 492"/>
                <a:gd name="T102" fmla="*/ 31 w 607"/>
                <a:gd name="T103" fmla="*/ 4 h 4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7"/>
                <a:gd name="T157" fmla="*/ 0 h 492"/>
                <a:gd name="T158" fmla="*/ 607 w 607"/>
                <a:gd name="T159" fmla="*/ 492 h 4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7" h="492">
                  <a:moveTo>
                    <a:pt x="596" y="71"/>
                  </a:moveTo>
                  <a:cubicBezTo>
                    <a:pt x="594" y="65"/>
                    <a:pt x="600" y="65"/>
                    <a:pt x="607" y="64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587" y="59"/>
                    <a:pt x="587" y="59"/>
                    <a:pt x="587" y="59"/>
                  </a:cubicBezTo>
                  <a:cubicBezTo>
                    <a:pt x="563" y="67"/>
                    <a:pt x="563" y="67"/>
                    <a:pt x="563" y="67"/>
                  </a:cubicBezTo>
                  <a:cubicBezTo>
                    <a:pt x="561" y="57"/>
                    <a:pt x="561" y="57"/>
                    <a:pt x="561" y="57"/>
                  </a:cubicBezTo>
                  <a:cubicBezTo>
                    <a:pt x="561" y="57"/>
                    <a:pt x="537" y="54"/>
                    <a:pt x="530" y="62"/>
                  </a:cubicBezTo>
                  <a:cubicBezTo>
                    <a:pt x="523" y="70"/>
                    <a:pt x="516" y="81"/>
                    <a:pt x="516" y="81"/>
                  </a:cubicBezTo>
                  <a:cubicBezTo>
                    <a:pt x="506" y="81"/>
                    <a:pt x="506" y="81"/>
                    <a:pt x="506" y="81"/>
                  </a:cubicBezTo>
                  <a:cubicBezTo>
                    <a:pt x="506" y="81"/>
                    <a:pt x="492" y="97"/>
                    <a:pt x="485" y="100"/>
                  </a:cubicBezTo>
                  <a:cubicBezTo>
                    <a:pt x="478" y="103"/>
                    <a:pt x="462" y="75"/>
                    <a:pt x="462" y="75"/>
                  </a:cubicBezTo>
                  <a:cubicBezTo>
                    <a:pt x="455" y="33"/>
                    <a:pt x="455" y="33"/>
                    <a:pt x="455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41" y="33"/>
                    <a:pt x="441" y="19"/>
                    <a:pt x="441" y="14"/>
                  </a:cubicBezTo>
                  <a:cubicBezTo>
                    <a:pt x="441" y="9"/>
                    <a:pt x="430" y="0"/>
                    <a:pt x="421" y="0"/>
                  </a:cubicBezTo>
                  <a:cubicBezTo>
                    <a:pt x="412" y="0"/>
                    <a:pt x="413" y="15"/>
                    <a:pt x="413" y="19"/>
                  </a:cubicBezTo>
                  <a:cubicBezTo>
                    <a:pt x="413" y="23"/>
                    <a:pt x="399" y="26"/>
                    <a:pt x="399" y="33"/>
                  </a:cubicBezTo>
                  <a:cubicBezTo>
                    <a:pt x="399" y="40"/>
                    <a:pt x="407" y="40"/>
                    <a:pt x="407" y="40"/>
                  </a:cubicBezTo>
                  <a:cubicBezTo>
                    <a:pt x="402" y="54"/>
                    <a:pt x="402" y="54"/>
                    <a:pt x="402" y="54"/>
                  </a:cubicBezTo>
                  <a:cubicBezTo>
                    <a:pt x="395" y="48"/>
                    <a:pt x="395" y="48"/>
                    <a:pt x="395" y="48"/>
                  </a:cubicBezTo>
                  <a:cubicBezTo>
                    <a:pt x="395" y="48"/>
                    <a:pt x="373" y="49"/>
                    <a:pt x="368" y="54"/>
                  </a:cubicBezTo>
                  <a:cubicBezTo>
                    <a:pt x="363" y="59"/>
                    <a:pt x="368" y="77"/>
                    <a:pt x="364" y="79"/>
                  </a:cubicBezTo>
                  <a:cubicBezTo>
                    <a:pt x="360" y="81"/>
                    <a:pt x="349" y="64"/>
                    <a:pt x="346" y="64"/>
                  </a:cubicBezTo>
                  <a:cubicBezTo>
                    <a:pt x="343" y="64"/>
                    <a:pt x="318" y="84"/>
                    <a:pt x="315" y="83"/>
                  </a:cubicBezTo>
                  <a:cubicBezTo>
                    <a:pt x="312" y="82"/>
                    <a:pt x="292" y="66"/>
                    <a:pt x="292" y="6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76" y="71"/>
                    <a:pt x="276" y="71"/>
                    <a:pt x="276" y="71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9" y="63"/>
                    <a:pt x="215" y="50"/>
                    <a:pt x="207" y="50"/>
                  </a:cubicBezTo>
                  <a:cubicBezTo>
                    <a:pt x="199" y="50"/>
                    <a:pt x="200" y="67"/>
                    <a:pt x="200" y="67"/>
                  </a:cubicBezTo>
                  <a:cubicBezTo>
                    <a:pt x="200" y="67"/>
                    <a:pt x="181" y="62"/>
                    <a:pt x="171" y="72"/>
                  </a:cubicBezTo>
                  <a:cubicBezTo>
                    <a:pt x="161" y="82"/>
                    <a:pt x="166" y="110"/>
                    <a:pt x="166" y="116"/>
                  </a:cubicBezTo>
                  <a:cubicBezTo>
                    <a:pt x="166" y="122"/>
                    <a:pt x="157" y="120"/>
                    <a:pt x="157" y="120"/>
                  </a:cubicBezTo>
                  <a:cubicBezTo>
                    <a:pt x="157" y="120"/>
                    <a:pt x="144" y="129"/>
                    <a:pt x="137" y="136"/>
                  </a:cubicBezTo>
                  <a:cubicBezTo>
                    <a:pt x="130" y="143"/>
                    <a:pt x="112" y="142"/>
                    <a:pt x="112" y="142"/>
                  </a:cubicBezTo>
                  <a:cubicBezTo>
                    <a:pt x="112" y="142"/>
                    <a:pt x="112" y="158"/>
                    <a:pt x="107" y="167"/>
                  </a:cubicBezTo>
                  <a:cubicBezTo>
                    <a:pt x="102" y="176"/>
                    <a:pt x="77" y="177"/>
                    <a:pt x="77" y="177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61" y="161"/>
                    <a:pt x="54" y="164"/>
                    <a:pt x="49" y="164"/>
                  </a:cubicBezTo>
                  <a:cubicBezTo>
                    <a:pt x="44" y="164"/>
                    <a:pt x="30" y="154"/>
                    <a:pt x="30" y="154"/>
                  </a:cubicBezTo>
                  <a:cubicBezTo>
                    <a:pt x="30" y="154"/>
                    <a:pt x="24" y="161"/>
                    <a:pt x="23" y="168"/>
                  </a:cubicBezTo>
                  <a:cubicBezTo>
                    <a:pt x="22" y="175"/>
                    <a:pt x="29" y="205"/>
                    <a:pt x="29" y="205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20" y="220"/>
                    <a:pt x="20" y="220"/>
                    <a:pt x="20" y="220"/>
                  </a:cubicBezTo>
                  <a:cubicBezTo>
                    <a:pt x="20" y="220"/>
                    <a:pt x="6" y="225"/>
                    <a:pt x="3" y="230"/>
                  </a:cubicBezTo>
                  <a:cubicBezTo>
                    <a:pt x="0" y="235"/>
                    <a:pt x="11" y="244"/>
                    <a:pt x="11" y="244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9" y="263"/>
                    <a:pt x="30" y="260"/>
                    <a:pt x="31" y="266"/>
                  </a:cubicBezTo>
                  <a:cubicBezTo>
                    <a:pt x="32" y="272"/>
                    <a:pt x="17" y="280"/>
                    <a:pt x="15" y="293"/>
                  </a:cubicBezTo>
                  <a:cubicBezTo>
                    <a:pt x="13" y="306"/>
                    <a:pt x="40" y="330"/>
                    <a:pt x="40" y="341"/>
                  </a:cubicBezTo>
                  <a:cubicBezTo>
                    <a:pt x="40" y="352"/>
                    <a:pt x="40" y="366"/>
                    <a:pt x="40" y="374"/>
                  </a:cubicBezTo>
                  <a:cubicBezTo>
                    <a:pt x="40" y="382"/>
                    <a:pt x="70" y="382"/>
                    <a:pt x="70" y="382"/>
                  </a:cubicBezTo>
                  <a:cubicBezTo>
                    <a:pt x="70" y="382"/>
                    <a:pt x="85" y="377"/>
                    <a:pt x="91" y="394"/>
                  </a:cubicBezTo>
                  <a:cubicBezTo>
                    <a:pt x="97" y="411"/>
                    <a:pt x="86" y="424"/>
                    <a:pt x="79" y="434"/>
                  </a:cubicBezTo>
                  <a:cubicBezTo>
                    <a:pt x="72" y="444"/>
                    <a:pt x="56" y="458"/>
                    <a:pt x="56" y="462"/>
                  </a:cubicBezTo>
                  <a:cubicBezTo>
                    <a:pt x="56" y="466"/>
                    <a:pt x="61" y="467"/>
                    <a:pt x="61" y="467"/>
                  </a:cubicBezTo>
                  <a:cubicBezTo>
                    <a:pt x="61" y="467"/>
                    <a:pt x="73" y="464"/>
                    <a:pt x="82" y="469"/>
                  </a:cubicBezTo>
                  <a:cubicBezTo>
                    <a:pt x="91" y="474"/>
                    <a:pt x="121" y="492"/>
                    <a:pt x="142" y="490"/>
                  </a:cubicBezTo>
                  <a:cubicBezTo>
                    <a:pt x="163" y="488"/>
                    <a:pt x="161" y="483"/>
                    <a:pt x="161" y="483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196" y="484"/>
                    <a:pt x="193" y="488"/>
                    <a:pt x="205" y="488"/>
                  </a:cubicBezTo>
                  <a:cubicBezTo>
                    <a:pt x="217" y="488"/>
                    <a:pt x="218" y="482"/>
                    <a:pt x="218" y="482"/>
                  </a:cubicBezTo>
                  <a:cubicBezTo>
                    <a:pt x="218" y="482"/>
                    <a:pt x="260" y="480"/>
                    <a:pt x="263" y="479"/>
                  </a:cubicBezTo>
                  <a:cubicBezTo>
                    <a:pt x="266" y="478"/>
                    <a:pt x="305" y="465"/>
                    <a:pt x="307" y="459"/>
                  </a:cubicBezTo>
                  <a:cubicBezTo>
                    <a:pt x="309" y="453"/>
                    <a:pt x="303" y="433"/>
                    <a:pt x="303" y="433"/>
                  </a:cubicBezTo>
                  <a:cubicBezTo>
                    <a:pt x="303" y="433"/>
                    <a:pt x="296" y="409"/>
                    <a:pt x="298" y="403"/>
                  </a:cubicBezTo>
                  <a:cubicBezTo>
                    <a:pt x="300" y="397"/>
                    <a:pt x="315" y="384"/>
                    <a:pt x="323" y="384"/>
                  </a:cubicBezTo>
                  <a:cubicBezTo>
                    <a:pt x="331" y="384"/>
                    <a:pt x="327" y="390"/>
                    <a:pt x="327" y="390"/>
                  </a:cubicBezTo>
                  <a:cubicBezTo>
                    <a:pt x="327" y="390"/>
                    <a:pt x="357" y="395"/>
                    <a:pt x="359" y="389"/>
                  </a:cubicBezTo>
                  <a:cubicBezTo>
                    <a:pt x="361" y="383"/>
                    <a:pt x="344" y="381"/>
                    <a:pt x="348" y="376"/>
                  </a:cubicBezTo>
                  <a:cubicBezTo>
                    <a:pt x="352" y="371"/>
                    <a:pt x="366" y="367"/>
                    <a:pt x="366" y="367"/>
                  </a:cubicBezTo>
                  <a:cubicBezTo>
                    <a:pt x="366" y="367"/>
                    <a:pt x="373" y="361"/>
                    <a:pt x="381" y="361"/>
                  </a:cubicBezTo>
                  <a:cubicBezTo>
                    <a:pt x="389" y="361"/>
                    <a:pt x="399" y="359"/>
                    <a:pt x="399" y="359"/>
                  </a:cubicBezTo>
                  <a:cubicBezTo>
                    <a:pt x="399" y="359"/>
                    <a:pt x="396" y="378"/>
                    <a:pt x="409" y="371"/>
                  </a:cubicBezTo>
                  <a:cubicBezTo>
                    <a:pt x="422" y="364"/>
                    <a:pt x="425" y="355"/>
                    <a:pt x="425" y="355"/>
                  </a:cubicBezTo>
                  <a:cubicBezTo>
                    <a:pt x="425" y="355"/>
                    <a:pt x="416" y="337"/>
                    <a:pt x="417" y="325"/>
                  </a:cubicBezTo>
                  <a:cubicBezTo>
                    <a:pt x="418" y="313"/>
                    <a:pt x="424" y="316"/>
                    <a:pt x="424" y="316"/>
                  </a:cubicBezTo>
                  <a:cubicBezTo>
                    <a:pt x="424" y="316"/>
                    <a:pt x="421" y="294"/>
                    <a:pt x="425" y="291"/>
                  </a:cubicBezTo>
                  <a:cubicBezTo>
                    <a:pt x="429" y="288"/>
                    <a:pt x="442" y="289"/>
                    <a:pt x="442" y="289"/>
                  </a:cubicBezTo>
                  <a:cubicBezTo>
                    <a:pt x="462" y="275"/>
                    <a:pt x="462" y="275"/>
                    <a:pt x="462" y="275"/>
                  </a:cubicBezTo>
                  <a:cubicBezTo>
                    <a:pt x="462" y="275"/>
                    <a:pt x="451" y="276"/>
                    <a:pt x="449" y="269"/>
                  </a:cubicBezTo>
                  <a:cubicBezTo>
                    <a:pt x="447" y="262"/>
                    <a:pt x="447" y="258"/>
                    <a:pt x="447" y="258"/>
                  </a:cubicBezTo>
                  <a:cubicBezTo>
                    <a:pt x="447" y="258"/>
                    <a:pt x="432" y="254"/>
                    <a:pt x="431" y="249"/>
                  </a:cubicBezTo>
                  <a:cubicBezTo>
                    <a:pt x="430" y="244"/>
                    <a:pt x="430" y="239"/>
                    <a:pt x="434" y="238"/>
                  </a:cubicBezTo>
                  <a:cubicBezTo>
                    <a:pt x="438" y="237"/>
                    <a:pt x="445" y="245"/>
                    <a:pt x="445" y="245"/>
                  </a:cubicBezTo>
                  <a:cubicBezTo>
                    <a:pt x="456" y="246"/>
                    <a:pt x="456" y="246"/>
                    <a:pt x="456" y="246"/>
                  </a:cubicBezTo>
                  <a:cubicBezTo>
                    <a:pt x="463" y="249"/>
                    <a:pt x="463" y="249"/>
                    <a:pt x="463" y="249"/>
                  </a:cubicBezTo>
                  <a:cubicBezTo>
                    <a:pt x="467" y="242"/>
                    <a:pt x="467" y="242"/>
                    <a:pt x="467" y="242"/>
                  </a:cubicBezTo>
                  <a:cubicBezTo>
                    <a:pt x="467" y="242"/>
                    <a:pt x="478" y="245"/>
                    <a:pt x="479" y="238"/>
                  </a:cubicBezTo>
                  <a:cubicBezTo>
                    <a:pt x="480" y="231"/>
                    <a:pt x="479" y="222"/>
                    <a:pt x="479" y="222"/>
                  </a:cubicBezTo>
                  <a:cubicBezTo>
                    <a:pt x="479" y="222"/>
                    <a:pt x="472" y="221"/>
                    <a:pt x="473" y="212"/>
                  </a:cubicBezTo>
                  <a:cubicBezTo>
                    <a:pt x="474" y="203"/>
                    <a:pt x="491" y="195"/>
                    <a:pt x="494" y="188"/>
                  </a:cubicBezTo>
                  <a:cubicBezTo>
                    <a:pt x="497" y="181"/>
                    <a:pt x="487" y="173"/>
                    <a:pt x="487" y="173"/>
                  </a:cubicBezTo>
                  <a:cubicBezTo>
                    <a:pt x="487" y="173"/>
                    <a:pt x="490" y="156"/>
                    <a:pt x="479" y="144"/>
                  </a:cubicBezTo>
                  <a:cubicBezTo>
                    <a:pt x="468" y="132"/>
                    <a:pt x="463" y="136"/>
                    <a:pt x="469" y="124"/>
                  </a:cubicBezTo>
                  <a:cubicBezTo>
                    <a:pt x="475" y="112"/>
                    <a:pt x="486" y="109"/>
                    <a:pt x="486" y="109"/>
                  </a:cubicBezTo>
                  <a:cubicBezTo>
                    <a:pt x="486" y="109"/>
                    <a:pt x="509" y="93"/>
                    <a:pt x="516" y="90"/>
                  </a:cubicBezTo>
                  <a:cubicBezTo>
                    <a:pt x="523" y="87"/>
                    <a:pt x="540" y="88"/>
                    <a:pt x="540" y="88"/>
                  </a:cubicBezTo>
                  <a:cubicBezTo>
                    <a:pt x="540" y="88"/>
                    <a:pt x="563" y="83"/>
                    <a:pt x="566" y="83"/>
                  </a:cubicBezTo>
                  <a:cubicBezTo>
                    <a:pt x="569" y="83"/>
                    <a:pt x="579" y="89"/>
                    <a:pt x="584" y="88"/>
                  </a:cubicBezTo>
                  <a:cubicBezTo>
                    <a:pt x="587" y="87"/>
                    <a:pt x="596" y="82"/>
                    <a:pt x="602" y="78"/>
                  </a:cubicBezTo>
                  <a:cubicBezTo>
                    <a:pt x="602" y="78"/>
                    <a:pt x="602" y="78"/>
                    <a:pt x="602" y="78"/>
                  </a:cubicBezTo>
                  <a:cubicBezTo>
                    <a:pt x="599" y="76"/>
                    <a:pt x="597" y="74"/>
                    <a:pt x="596" y="7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4" name="Freeform 120">
              <a:extLst>
                <a:ext uri="{FF2B5EF4-FFF2-40B4-BE49-F238E27FC236}">
                  <a16:creationId xmlns:a16="http://schemas.microsoft.com/office/drawing/2014/main" id="{E5617698-EC88-0914-9DEB-969CF9CBE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646" y="2839615"/>
              <a:ext cx="86887" cy="79265"/>
            </a:xfrm>
            <a:custGeom>
              <a:avLst/>
              <a:gdLst>
                <a:gd name="T0" fmla="*/ 8 w 152"/>
                <a:gd name="T1" fmla="*/ 6 h 140"/>
                <a:gd name="T2" fmla="*/ 7 w 152"/>
                <a:gd name="T3" fmla="*/ 5 h 140"/>
                <a:gd name="T4" fmla="*/ 7 w 152"/>
                <a:gd name="T5" fmla="*/ 5 h 140"/>
                <a:gd name="T6" fmla="*/ 7 w 152"/>
                <a:gd name="T7" fmla="*/ 5 h 140"/>
                <a:gd name="T8" fmla="*/ 6 w 152"/>
                <a:gd name="T9" fmla="*/ 4 h 140"/>
                <a:gd name="T10" fmla="*/ 5 w 152"/>
                <a:gd name="T11" fmla="*/ 4 h 140"/>
                <a:gd name="T12" fmla="*/ 6 w 152"/>
                <a:gd name="T13" fmla="*/ 3 h 140"/>
                <a:gd name="T14" fmla="*/ 4 w 152"/>
                <a:gd name="T15" fmla="*/ 2 h 140"/>
                <a:gd name="T16" fmla="*/ 5 w 152"/>
                <a:gd name="T17" fmla="*/ 1 h 140"/>
                <a:gd name="T18" fmla="*/ 4 w 152"/>
                <a:gd name="T19" fmla="*/ 1 h 140"/>
                <a:gd name="T20" fmla="*/ 4 w 152"/>
                <a:gd name="T21" fmla="*/ 0 h 140"/>
                <a:gd name="T22" fmla="*/ 3 w 152"/>
                <a:gd name="T23" fmla="*/ 0 h 140"/>
                <a:gd name="T24" fmla="*/ 3 w 152"/>
                <a:gd name="T25" fmla="*/ 0 h 140"/>
                <a:gd name="T26" fmla="*/ 1 w 152"/>
                <a:gd name="T27" fmla="*/ 0 h 140"/>
                <a:gd name="T28" fmla="*/ 1 w 152"/>
                <a:gd name="T29" fmla="*/ 1 h 140"/>
                <a:gd name="T30" fmla="*/ 0 w 152"/>
                <a:gd name="T31" fmla="*/ 1 h 140"/>
                <a:gd name="T32" fmla="*/ 0 w 152"/>
                <a:gd name="T33" fmla="*/ 1 h 140"/>
                <a:gd name="T34" fmla="*/ 1 w 152"/>
                <a:gd name="T35" fmla="*/ 4 h 140"/>
                <a:gd name="T36" fmla="*/ 3 w 152"/>
                <a:gd name="T37" fmla="*/ 4 h 140"/>
                <a:gd name="T38" fmla="*/ 3 w 152"/>
                <a:gd name="T39" fmla="*/ 5 h 140"/>
                <a:gd name="T40" fmla="*/ 3 w 152"/>
                <a:gd name="T41" fmla="*/ 5 h 140"/>
                <a:gd name="T42" fmla="*/ 3 w 152"/>
                <a:gd name="T43" fmla="*/ 5 h 140"/>
                <a:gd name="T44" fmla="*/ 4 w 152"/>
                <a:gd name="T45" fmla="*/ 4 h 140"/>
                <a:gd name="T46" fmla="*/ 4 w 152"/>
                <a:gd name="T47" fmla="*/ 4 h 140"/>
                <a:gd name="T48" fmla="*/ 5 w 152"/>
                <a:gd name="T49" fmla="*/ 5 h 140"/>
                <a:gd name="T50" fmla="*/ 6 w 152"/>
                <a:gd name="T51" fmla="*/ 5 h 140"/>
                <a:gd name="T52" fmla="*/ 6 w 152"/>
                <a:gd name="T53" fmla="*/ 6 h 140"/>
                <a:gd name="T54" fmla="*/ 7 w 152"/>
                <a:gd name="T55" fmla="*/ 7 h 140"/>
                <a:gd name="T56" fmla="*/ 8 w 152"/>
                <a:gd name="T57" fmla="*/ 7 h 140"/>
                <a:gd name="T58" fmla="*/ 8 w 152"/>
                <a:gd name="T59" fmla="*/ 6 h 1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140"/>
                <a:gd name="T92" fmla="*/ 152 w 152"/>
                <a:gd name="T93" fmla="*/ 140 h 14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140">
                  <a:moveTo>
                    <a:pt x="147" y="111"/>
                  </a:moveTo>
                  <a:cubicBezTo>
                    <a:pt x="143" y="104"/>
                    <a:pt x="143" y="104"/>
                    <a:pt x="143" y="10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117" y="70"/>
                    <a:pt x="118" y="61"/>
                  </a:cubicBezTo>
                  <a:cubicBezTo>
                    <a:pt x="119" y="52"/>
                    <a:pt x="88" y="39"/>
                    <a:pt x="88" y="39"/>
                  </a:cubicBezTo>
                  <a:cubicBezTo>
                    <a:pt x="88" y="39"/>
                    <a:pt x="94" y="31"/>
                    <a:pt x="94" y="24"/>
                  </a:cubicBezTo>
                  <a:cubicBezTo>
                    <a:pt x="94" y="17"/>
                    <a:pt x="75" y="16"/>
                    <a:pt x="75" y="16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4" y="0"/>
                    <a:pt x="61" y="0"/>
                  </a:cubicBezTo>
                  <a:cubicBezTo>
                    <a:pt x="58" y="0"/>
                    <a:pt x="55" y="10"/>
                    <a:pt x="55" y="1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7"/>
                    <a:pt x="3" y="22"/>
                    <a:pt x="6" y="29"/>
                  </a:cubicBezTo>
                  <a:cubicBezTo>
                    <a:pt x="12" y="44"/>
                    <a:pt x="10" y="58"/>
                    <a:pt x="18" y="69"/>
                  </a:cubicBezTo>
                  <a:cubicBezTo>
                    <a:pt x="26" y="80"/>
                    <a:pt x="42" y="71"/>
                    <a:pt x="47" y="72"/>
                  </a:cubicBezTo>
                  <a:cubicBezTo>
                    <a:pt x="50" y="72"/>
                    <a:pt x="54" y="83"/>
                    <a:pt x="57" y="93"/>
                  </a:cubicBezTo>
                  <a:cubicBezTo>
                    <a:pt x="56" y="95"/>
                    <a:pt x="56" y="96"/>
                    <a:pt x="55" y="98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72" y="89"/>
                    <a:pt x="82" y="86"/>
                    <a:pt x="83" y="86"/>
                  </a:cubicBezTo>
                  <a:cubicBezTo>
                    <a:pt x="90" y="96"/>
                    <a:pt x="100" y="97"/>
                    <a:pt x="100" y="97"/>
                  </a:cubicBezTo>
                  <a:cubicBezTo>
                    <a:pt x="100" y="97"/>
                    <a:pt x="102" y="94"/>
                    <a:pt x="111" y="95"/>
                  </a:cubicBezTo>
                  <a:cubicBezTo>
                    <a:pt x="120" y="96"/>
                    <a:pt x="116" y="107"/>
                    <a:pt x="119" y="111"/>
                  </a:cubicBezTo>
                  <a:cubicBezTo>
                    <a:pt x="122" y="115"/>
                    <a:pt x="130" y="138"/>
                    <a:pt x="130" y="138"/>
                  </a:cubicBezTo>
                  <a:cubicBezTo>
                    <a:pt x="130" y="138"/>
                    <a:pt x="144" y="140"/>
                    <a:pt x="148" y="140"/>
                  </a:cubicBezTo>
                  <a:cubicBezTo>
                    <a:pt x="152" y="140"/>
                    <a:pt x="147" y="111"/>
                    <a:pt x="147" y="11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5" name="Freeform 121">
              <a:extLst>
                <a:ext uri="{FF2B5EF4-FFF2-40B4-BE49-F238E27FC236}">
                  <a16:creationId xmlns:a16="http://schemas.microsoft.com/office/drawing/2014/main" id="{4C9D3D8E-3F19-E3EE-07B4-49E26B8A00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920" y="2813702"/>
              <a:ext cx="506077" cy="193589"/>
            </a:xfrm>
            <a:custGeom>
              <a:avLst/>
              <a:gdLst>
                <a:gd name="T0" fmla="*/ 1 w 888"/>
                <a:gd name="T1" fmla="*/ 6 h 340"/>
                <a:gd name="T2" fmla="*/ 1 w 888"/>
                <a:gd name="T3" fmla="*/ 6 h 340"/>
                <a:gd name="T4" fmla="*/ 3 w 888"/>
                <a:gd name="T5" fmla="*/ 5 h 340"/>
                <a:gd name="T6" fmla="*/ 3 w 888"/>
                <a:gd name="T7" fmla="*/ 5 h 340"/>
                <a:gd name="T8" fmla="*/ 46 w 888"/>
                <a:gd name="T9" fmla="*/ 13 h 340"/>
                <a:gd name="T10" fmla="*/ 44 w 888"/>
                <a:gd name="T11" fmla="*/ 12 h 340"/>
                <a:gd name="T12" fmla="*/ 44 w 888"/>
                <a:gd name="T13" fmla="*/ 9 h 340"/>
                <a:gd name="T14" fmla="*/ 44 w 888"/>
                <a:gd name="T15" fmla="*/ 7 h 340"/>
                <a:gd name="T16" fmla="*/ 42 w 888"/>
                <a:gd name="T17" fmla="*/ 4 h 340"/>
                <a:gd name="T18" fmla="*/ 40 w 888"/>
                <a:gd name="T19" fmla="*/ 1 h 340"/>
                <a:gd name="T20" fmla="*/ 36 w 888"/>
                <a:gd name="T21" fmla="*/ 3 h 340"/>
                <a:gd name="T22" fmla="*/ 28 w 888"/>
                <a:gd name="T23" fmla="*/ 3 h 340"/>
                <a:gd name="T24" fmla="*/ 26 w 888"/>
                <a:gd name="T25" fmla="*/ 3 h 340"/>
                <a:gd name="T26" fmla="*/ 23 w 888"/>
                <a:gd name="T27" fmla="*/ 1 h 340"/>
                <a:gd name="T28" fmla="*/ 20 w 888"/>
                <a:gd name="T29" fmla="*/ 1 h 340"/>
                <a:gd name="T30" fmla="*/ 14 w 888"/>
                <a:gd name="T31" fmla="*/ 2 h 340"/>
                <a:gd name="T32" fmla="*/ 10 w 888"/>
                <a:gd name="T33" fmla="*/ 3 h 340"/>
                <a:gd name="T34" fmla="*/ 6 w 888"/>
                <a:gd name="T35" fmla="*/ 1 h 340"/>
                <a:gd name="T36" fmla="*/ 4 w 888"/>
                <a:gd name="T37" fmla="*/ 0 h 340"/>
                <a:gd name="T38" fmla="*/ 3 w 888"/>
                <a:gd name="T39" fmla="*/ 1 h 340"/>
                <a:gd name="T40" fmla="*/ 3 w 888"/>
                <a:gd name="T41" fmla="*/ 3 h 340"/>
                <a:gd name="T42" fmla="*/ 3 w 888"/>
                <a:gd name="T43" fmla="*/ 4 h 340"/>
                <a:gd name="T44" fmla="*/ 6 w 888"/>
                <a:gd name="T45" fmla="*/ 3 h 340"/>
                <a:gd name="T46" fmla="*/ 9 w 888"/>
                <a:gd name="T47" fmla="*/ 4 h 340"/>
                <a:gd name="T48" fmla="*/ 5 w 888"/>
                <a:gd name="T49" fmla="*/ 5 h 340"/>
                <a:gd name="T50" fmla="*/ 4 w 888"/>
                <a:gd name="T51" fmla="*/ 7 h 340"/>
                <a:gd name="T52" fmla="*/ 4 w 888"/>
                <a:gd name="T53" fmla="*/ 10 h 340"/>
                <a:gd name="T54" fmla="*/ 6 w 888"/>
                <a:gd name="T55" fmla="*/ 12 h 340"/>
                <a:gd name="T56" fmla="*/ 8 w 888"/>
                <a:gd name="T57" fmla="*/ 15 h 340"/>
                <a:gd name="T58" fmla="*/ 13 w 888"/>
                <a:gd name="T59" fmla="*/ 16 h 340"/>
                <a:gd name="T60" fmla="*/ 19 w 888"/>
                <a:gd name="T61" fmla="*/ 17 h 340"/>
                <a:gd name="T62" fmla="*/ 25 w 888"/>
                <a:gd name="T63" fmla="*/ 15 h 340"/>
                <a:gd name="T64" fmla="*/ 26 w 888"/>
                <a:gd name="T65" fmla="*/ 17 h 340"/>
                <a:gd name="T66" fmla="*/ 27 w 888"/>
                <a:gd name="T67" fmla="*/ 17 h 340"/>
                <a:gd name="T68" fmla="*/ 27 w 888"/>
                <a:gd name="T69" fmla="*/ 16 h 340"/>
                <a:gd name="T70" fmla="*/ 28 w 888"/>
                <a:gd name="T71" fmla="*/ 15 h 340"/>
                <a:gd name="T72" fmla="*/ 33 w 888"/>
                <a:gd name="T73" fmla="*/ 15 h 340"/>
                <a:gd name="T74" fmla="*/ 37 w 888"/>
                <a:gd name="T75" fmla="*/ 14 h 340"/>
                <a:gd name="T76" fmla="*/ 39 w 888"/>
                <a:gd name="T77" fmla="*/ 14 h 340"/>
                <a:gd name="T78" fmla="*/ 41 w 888"/>
                <a:gd name="T79" fmla="*/ 14 h 340"/>
                <a:gd name="T80" fmla="*/ 44 w 888"/>
                <a:gd name="T81" fmla="*/ 14 h 340"/>
                <a:gd name="T82" fmla="*/ 46 w 888"/>
                <a:gd name="T83" fmla="*/ 14 h 340"/>
                <a:gd name="T84" fmla="*/ 4 w 888"/>
                <a:gd name="T85" fmla="*/ 10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88"/>
                <a:gd name="T130" fmla="*/ 0 h 340"/>
                <a:gd name="T131" fmla="*/ 888 w 888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88" h="340">
                  <a:moveTo>
                    <a:pt x="3" y="126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0" y="116"/>
                    <a:pt x="0" y="116"/>
                    <a:pt x="0" y="116"/>
                  </a:cubicBezTo>
                  <a:lnTo>
                    <a:pt x="3" y="126"/>
                  </a:lnTo>
                  <a:close/>
                  <a:moveTo>
                    <a:pt x="27" y="107"/>
                  </a:moveTo>
                  <a:cubicBezTo>
                    <a:pt x="30" y="116"/>
                    <a:pt x="40" y="122"/>
                    <a:pt x="39" y="106"/>
                  </a:cubicBezTo>
                  <a:cubicBezTo>
                    <a:pt x="38" y="90"/>
                    <a:pt x="27" y="107"/>
                    <a:pt x="27" y="107"/>
                  </a:cubicBezTo>
                  <a:close/>
                  <a:moveTo>
                    <a:pt x="6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52" y="101"/>
                    <a:pt x="52" y="101"/>
                    <a:pt x="52" y="101"/>
                  </a:cubicBezTo>
                  <a:lnTo>
                    <a:pt x="63" y="93"/>
                  </a:lnTo>
                  <a:close/>
                  <a:moveTo>
                    <a:pt x="888" y="265"/>
                  </a:moveTo>
                  <a:cubicBezTo>
                    <a:pt x="887" y="261"/>
                    <a:pt x="887" y="259"/>
                    <a:pt x="887" y="259"/>
                  </a:cubicBezTo>
                  <a:cubicBezTo>
                    <a:pt x="871" y="254"/>
                    <a:pt x="871" y="254"/>
                    <a:pt x="871" y="254"/>
                  </a:cubicBezTo>
                  <a:cubicBezTo>
                    <a:pt x="871" y="236"/>
                    <a:pt x="871" y="236"/>
                    <a:pt x="871" y="236"/>
                  </a:cubicBezTo>
                  <a:cubicBezTo>
                    <a:pt x="850" y="224"/>
                    <a:pt x="850" y="224"/>
                    <a:pt x="850" y="224"/>
                  </a:cubicBezTo>
                  <a:cubicBezTo>
                    <a:pt x="850" y="224"/>
                    <a:pt x="863" y="205"/>
                    <a:pt x="858" y="203"/>
                  </a:cubicBezTo>
                  <a:cubicBezTo>
                    <a:pt x="853" y="201"/>
                    <a:pt x="846" y="180"/>
                    <a:pt x="846" y="180"/>
                  </a:cubicBezTo>
                  <a:cubicBezTo>
                    <a:pt x="845" y="165"/>
                    <a:pt x="845" y="165"/>
                    <a:pt x="845" y="165"/>
                  </a:cubicBezTo>
                  <a:cubicBezTo>
                    <a:pt x="834" y="149"/>
                    <a:pt x="834" y="149"/>
                    <a:pt x="834" y="149"/>
                  </a:cubicBezTo>
                  <a:cubicBezTo>
                    <a:pt x="850" y="147"/>
                    <a:pt x="850" y="147"/>
                    <a:pt x="850" y="147"/>
                  </a:cubicBezTo>
                  <a:cubicBezTo>
                    <a:pt x="850" y="147"/>
                    <a:pt x="851" y="142"/>
                    <a:pt x="853" y="137"/>
                  </a:cubicBezTo>
                  <a:cubicBezTo>
                    <a:pt x="850" y="127"/>
                    <a:pt x="846" y="116"/>
                    <a:pt x="843" y="116"/>
                  </a:cubicBezTo>
                  <a:cubicBezTo>
                    <a:pt x="838" y="115"/>
                    <a:pt x="822" y="124"/>
                    <a:pt x="814" y="113"/>
                  </a:cubicBezTo>
                  <a:cubicBezTo>
                    <a:pt x="806" y="102"/>
                    <a:pt x="808" y="88"/>
                    <a:pt x="802" y="73"/>
                  </a:cubicBezTo>
                  <a:cubicBezTo>
                    <a:pt x="796" y="58"/>
                    <a:pt x="794" y="50"/>
                    <a:pt x="794" y="50"/>
                  </a:cubicBezTo>
                  <a:cubicBezTo>
                    <a:pt x="777" y="50"/>
                    <a:pt x="777" y="50"/>
                    <a:pt x="777" y="50"/>
                  </a:cubicBezTo>
                  <a:cubicBezTo>
                    <a:pt x="777" y="50"/>
                    <a:pt x="775" y="35"/>
                    <a:pt x="761" y="32"/>
                  </a:cubicBezTo>
                  <a:cubicBezTo>
                    <a:pt x="747" y="29"/>
                    <a:pt x="741" y="39"/>
                    <a:pt x="741" y="39"/>
                  </a:cubicBezTo>
                  <a:cubicBezTo>
                    <a:pt x="715" y="34"/>
                    <a:pt x="715" y="34"/>
                    <a:pt x="715" y="34"/>
                  </a:cubicBezTo>
                  <a:cubicBezTo>
                    <a:pt x="706" y="43"/>
                    <a:pt x="688" y="59"/>
                    <a:pt x="678" y="63"/>
                  </a:cubicBezTo>
                  <a:cubicBezTo>
                    <a:pt x="665" y="68"/>
                    <a:pt x="621" y="62"/>
                    <a:pt x="621" y="62"/>
                  </a:cubicBezTo>
                  <a:cubicBezTo>
                    <a:pt x="585" y="72"/>
                    <a:pt x="585" y="72"/>
                    <a:pt x="585" y="72"/>
                  </a:cubicBezTo>
                  <a:cubicBezTo>
                    <a:pt x="542" y="57"/>
                    <a:pt x="542" y="57"/>
                    <a:pt x="542" y="5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525" y="63"/>
                    <a:pt x="516" y="40"/>
                    <a:pt x="508" y="42"/>
                  </a:cubicBezTo>
                  <a:cubicBezTo>
                    <a:pt x="500" y="44"/>
                    <a:pt x="491" y="51"/>
                    <a:pt x="491" y="51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72" y="25"/>
                    <a:pt x="472" y="25"/>
                    <a:pt x="472" y="25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1" y="6"/>
                    <a:pt x="421" y="6"/>
                    <a:pt x="421" y="6"/>
                  </a:cubicBezTo>
                  <a:cubicBezTo>
                    <a:pt x="421" y="6"/>
                    <a:pt x="398" y="16"/>
                    <a:pt x="385" y="16"/>
                  </a:cubicBezTo>
                  <a:cubicBezTo>
                    <a:pt x="373" y="16"/>
                    <a:pt x="355" y="10"/>
                    <a:pt x="343" y="11"/>
                  </a:cubicBezTo>
                  <a:cubicBezTo>
                    <a:pt x="332" y="12"/>
                    <a:pt x="297" y="26"/>
                    <a:pt x="291" y="32"/>
                  </a:cubicBezTo>
                  <a:cubicBezTo>
                    <a:pt x="286" y="39"/>
                    <a:pt x="272" y="42"/>
                    <a:pt x="272" y="42"/>
                  </a:cubicBezTo>
                  <a:cubicBezTo>
                    <a:pt x="266" y="58"/>
                    <a:pt x="266" y="58"/>
                    <a:pt x="266" y="58"/>
                  </a:cubicBezTo>
                  <a:cubicBezTo>
                    <a:pt x="266" y="58"/>
                    <a:pt x="266" y="62"/>
                    <a:pt x="252" y="59"/>
                  </a:cubicBezTo>
                  <a:cubicBezTo>
                    <a:pt x="239" y="56"/>
                    <a:pt x="216" y="53"/>
                    <a:pt x="203" y="53"/>
                  </a:cubicBezTo>
                  <a:cubicBezTo>
                    <a:pt x="191" y="53"/>
                    <a:pt x="151" y="44"/>
                    <a:pt x="151" y="44"/>
                  </a:cubicBezTo>
                  <a:cubicBezTo>
                    <a:pt x="151" y="44"/>
                    <a:pt x="127" y="47"/>
                    <a:pt x="124" y="33"/>
                  </a:cubicBezTo>
                  <a:cubicBezTo>
                    <a:pt x="122" y="26"/>
                    <a:pt x="121" y="19"/>
                    <a:pt x="120" y="14"/>
                  </a:cubicBezTo>
                  <a:cubicBezTo>
                    <a:pt x="111" y="15"/>
                    <a:pt x="97" y="13"/>
                    <a:pt x="9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9" y="27"/>
                    <a:pt x="62" y="32"/>
                  </a:cubicBezTo>
                  <a:cubicBezTo>
                    <a:pt x="65" y="37"/>
                    <a:pt x="64" y="45"/>
                    <a:pt x="64" y="45"/>
                  </a:cubicBezTo>
                  <a:cubicBezTo>
                    <a:pt x="64" y="45"/>
                    <a:pt x="51" y="41"/>
                    <a:pt x="50" y="47"/>
                  </a:cubicBezTo>
                  <a:cubicBezTo>
                    <a:pt x="49" y="53"/>
                    <a:pt x="54" y="56"/>
                    <a:pt x="52" y="63"/>
                  </a:cubicBezTo>
                  <a:cubicBezTo>
                    <a:pt x="50" y="70"/>
                    <a:pt x="47" y="75"/>
                    <a:pt x="47" y="75"/>
                  </a:cubicBezTo>
                  <a:cubicBezTo>
                    <a:pt x="47" y="75"/>
                    <a:pt x="35" y="87"/>
                    <a:pt x="50" y="86"/>
                  </a:cubicBezTo>
                  <a:cubicBezTo>
                    <a:pt x="65" y="85"/>
                    <a:pt x="76" y="80"/>
                    <a:pt x="76" y="80"/>
                  </a:cubicBezTo>
                  <a:cubicBezTo>
                    <a:pt x="76" y="80"/>
                    <a:pt x="72" y="90"/>
                    <a:pt x="80" y="87"/>
                  </a:cubicBezTo>
                  <a:cubicBezTo>
                    <a:pt x="88" y="84"/>
                    <a:pt x="107" y="65"/>
                    <a:pt x="107" y="65"/>
                  </a:cubicBezTo>
                  <a:cubicBezTo>
                    <a:pt x="107" y="65"/>
                    <a:pt x="141" y="53"/>
                    <a:pt x="152" y="61"/>
                  </a:cubicBezTo>
                  <a:cubicBezTo>
                    <a:pt x="163" y="69"/>
                    <a:pt x="197" y="74"/>
                    <a:pt x="197" y="74"/>
                  </a:cubicBezTo>
                  <a:cubicBezTo>
                    <a:pt x="197" y="74"/>
                    <a:pt x="166" y="78"/>
                    <a:pt x="165" y="81"/>
                  </a:cubicBezTo>
                  <a:cubicBezTo>
                    <a:pt x="164" y="84"/>
                    <a:pt x="159" y="93"/>
                    <a:pt x="159" y="93"/>
                  </a:cubicBezTo>
                  <a:cubicBezTo>
                    <a:pt x="126" y="94"/>
                    <a:pt x="126" y="94"/>
                    <a:pt x="126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91"/>
                    <a:pt x="66" y="97"/>
                    <a:pt x="62" y="105"/>
                  </a:cubicBezTo>
                  <a:cubicBezTo>
                    <a:pt x="58" y="113"/>
                    <a:pt x="49" y="143"/>
                    <a:pt x="49" y="143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2"/>
                    <a:pt x="72" y="151"/>
                    <a:pt x="77" y="159"/>
                  </a:cubicBezTo>
                  <a:cubicBezTo>
                    <a:pt x="82" y="167"/>
                    <a:pt x="88" y="175"/>
                    <a:pt x="88" y="175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108" y="234"/>
                    <a:pt x="108" y="234"/>
                    <a:pt x="108" y="234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3" y="285"/>
                    <a:pt x="162" y="290"/>
                  </a:cubicBezTo>
                  <a:cubicBezTo>
                    <a:pt x="181" y="295"/>
                    <a:pt x="178" y="312"/>
                    <a:pt x="208" y="315"/>
                  </a:cubicBezTo>
                  <a:cubicBezTo>
                    <a:pt x="238" y="318"/>
                    <a:pt x="250" y="317"/>
                    <a:pt x="250" y="310"/>
                  </a:cubicBezTo>
                  <a:cubicBezTo>
                    <a:pt x="250" y="303"/>
                    <a:pt x="252" y="284"/>
                    <a:pt x="262" y="283"/>
                  </a:cubicBezTo>
                  <a:cubicBezTo>
                    <a:pt x="272" y="282"/>
                    <a:pt x="299" y="289"/>
                    <a:pt x="313" y="294"/>
                  </a:cubicBezTo>
                  <a:cubicBezTo>
                    <a:pt x="327" y="299"/>
                    <a:pt x="313" y="326"/>
                    <a:pt x="359" y="325"/>
                  </a:cubicBezTo>
                  <a:cubicBezTo>
                    <a:pt x="405" y="324"/>
                    <a:pt x="406" y="299"/>
                    <a:pt x="422" y="294"/>
                  </a:cubicBezTo>
                  <a:cubicBezTo>
                    <a:pt x="438" y="289"/>
                    <a:pt x="450" y="285"/>
                    <a:pt x="457" y="291"/>
                  </a:cubicBezTo>
                  <a:cubicBezTo>
                    <a:pt x="464" y="297"/>
                    <a:pt x="466" y="303"/>
                    <a:pt x="477" y="298"/>
                  </a:cubicBezTo>
                  <a:cubicBezTo>
                    <a:pt x="488" y="293"/>
                    <a:pt x="495" y="277"/>
                    <a:pt x="502" y="284"/>
                  </a:cubicBezTo>
                  <a:cubicBezTo>
                    <a:pt x="509" y="291"/>
                    <a:pt x="501" y="300"/>
                    <a:pt x="498" y="306"/>
                  </a:cubicBezTo>
                  <a:cubicBezTo>
                    <a:pt x="495" y="312"/>
                    <a:pt x="488" y="324"/>
                    <a:pt x="495" y="329"/>
                  </a:cubicBezTo>
                  <a:cubicBezTo>
                    <a:pt x="496" y="330"/>
                    <a:pt x="497" y="331"/>
                    <a:pt x="496" y="333"/>
                  </a:cubicBezTo>
                  <a:cubicBezTo>
                    <a:pt x="499" y="335"/>
                    <a:pt x="506" y="340"/>
                    <a:pt x="509" y="339"/>
                  </a:cubicBezTo>
                  <a:cubicBezTo>
                    <a:pt x="513" y="338"/>
                    <a:pt x="515" y="330"/>
                    <a:pt x="515" y="330"/>
                  </a:cubicBezTo>
                  <a:cubicBezTo>
                    <a:pt x="515" y="321"/>
                    <a:pt x="515" y="321"/>
                    <a:pt x="515" y="321"/>
                  </a:cubicBezTo>
                  <a:cubicBezTo>
                    <a:pt x="515" y="321"/>
                    <a:pt x="529" y="327"/>
                    <a:pt x="530" y="319"/>
                  </a:cubicBezTo>
                  <a:cubicBezTo>
                    <a:pt x="532" y="306"/>
                    <a:pt x="525" y="308"/>
                    <a:pt x="525" y="308"/>
                  </a:cubicBezTo>
                  <a:cubicBezTo>
                    <a:pt x="524" y="287"/>
                    <a:pt x="524" y="287"/>
                    <a:pt x="524" y="287"/>
                  </a:cubicBezTo>
                  <a:cubicBezTo>
                    <a:pt x="524" y="287"/>
                    <a:pt x="538" y="282"/>
                    <a:pt x="540" y="286"/>
                  </a:cubicBezTo>
                  <a:cubicBezTo>
                    <a:pt x="542" y="290"/>
                    <a:pt x="525" y="296"/>
                    <a:pt x="546" y="296"/>
                  </a:cubicBezTo>
                  <a:cubicBezTo>
                    <a:pt x="567" y="296"/>
                    <a:pt x="582" y="288"/>
                    <a:pt x="582" y="288"/>
                  </a:cubicBezTo>
                  <a:cubicBezTo>
                    <a:pt x="582" y="288"/>
                    <a:pt x="593" y="276"/>
                    <a:pt x="596" y="277"/>
                  </a:cubicBezTo>
                  <a:cubicBezTo>
                    <a:pt x="599" y="278"/>
                    <a:pt x="622" y="290"/>
                    <a:pt x="622" y="290"/>
                  </a:cubicBezTo>
                  <a:cubicBezTo>
                    <a:pt x="622" y="290"/>
                    <a:pt x="634" y="295"/>
                    <a:pt x="645" y="294"/>
                  </a:cubicBezTo>
                  <a:cubicBezTo>
                    <a:pt x="656" y="293"/>
                    <a:pt x="661" y="290"/>
                    <a:pt x="670" y="287"/>
                  </a:cubicBezTo>
                  <a:cubicBezTo>
                    <a:pt x="679" y="284"/>
                    <a:pt x="686" y="272"/>
                    <a:pt x="699" y="271"/>
                  </a:cubicBezTo>
                  <a:cubicBezTo>
                    <a:pt x="712" y="270"/>
                    <a:pt x="718" y="269"/>
                    <a:pt x="723" y="271"/>
                  </a:cubicBezTo>
                  <a:cubicBezTo>
                    <a:pt x="728" y="273"/>
                    <a:pt x="723" y="278"/>
                    <a:pt x="732" y="277"/>
                  </a:cubicBezTo>
                  <a:cubicBezTo>
                    <a:pt x="741" y="276"/>
                    <a:pt x="746" y="270"/>
                    <a:pt x="746" y="270"/>
                  </a:cubicBezTo>
                  <a:cubicBezTo>
                    <a:pt x="746" y="270"/>
                    <a:pt x="751" y="268"/>
                    <a:pt x="759" y="267"/>
                  </a:cubicBezTo>
                  <a:cubicBezTo>
                    <a:pt x="767" y="266"/>
                    <a:pt x="769" y="255"/>
                    <a:pt x="772" y="257"/>
                  </a:cubicBezTo>
                  <a:cubicBezTo>
                    <a:pt x="775" y="259"/>
                    <a:pt x="769" y="277"/>
                    <a:pt x="781" y="274"/>
                  </a:cubicBezTo>
                  <a:cubicBezTo>
                    <a:pt x="793" y="271"/>
                    <a:pt x="792" y="258"/>
                    <a:pt x="792" y="258"/>
                  </a:cubicBezTo>
                  <a:cubicBezTo>
                    <a:pt x="818" y="258"/>
                    <a:pt x="818" y="258"/>
                    <a:pt x="818" y="258"/>
                  </a:cubicBezTo>
                  <a:cubicBezTo>
                    <a:pt x="818" y="258"/>
                    <a:pt x="827" y="269"/>
                    <a:pt x="835" y="267"/>
                  </a:cubicBezTo>
                  <a:cubicBezTo>
                    <a:pt x="843" y="265"/>
                    <a:pt x="835" y="257"/>
                    <a:pt x="849" y="258"/>
                  </a:cubicBezTo>
                  <a:cubicBezTo>
                    <a:pt x="863" y="259"/>
                    <a:pt x="861" y="276"/>
                    <a:pt x="861" y="276"/>
                  </a:cubicBezTo>
                  <a:lnTo>
                    <a:pt x="888" y="265"/>
                  </a:lnTo>
                  <a:close/>
                  <a:moveTo>
                    <a:pt x="67" y="189"/>
                  </a:moveTo>
                  <a:cubicBezTo>
                    <a:pt x="63" y="185"/>
                    <a:pt x="61" y="207"/>
                    <a:pt x="67" y="217"/>
                  </a:cubicBezTo>
                  <a:cubicBezTo>
                    <a:pt x="72" y="226"/>
                    <a:pt x="79" y="208"/>
                    <a:pt x="81" y="204"/>
                  </a:cubicBezTo>
                  <a:cubicBezTo>
                    <a:pt x="83" y="200"/>
                    <a:pt x="71" y="193"/>
                    <a:pt x="67" y="18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6" name="Freeform 122">
              <a:extLst>
                <a:ext uri="{FF2B5EF4-FFF2-40B4-BE49-F238E27FC236}">
                  <a16:creationId xmlns:a16="http://schemas.microsoft.com/office/drawing/2014/main" id="{A04A41DE-3641-26D4-8CA3-A91FC3FB8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2138" y="2772545"/>
              <a:ext cx="176822" cy="80789"/>
            </a:xfrm>
            <a:custGeom>
              <a:avLst/>
              <a:gdLst>
                <a:gd name="T0" fmla="*/ 0 w 308"/>
                <a:gd name="T1" fmla="*/ 0 h 144"/>
                <a:gd name="T2" fmla="*/ 3 w 308"/>
                <a:gd name="T3" fmla="*/ 2 h 144"/>
                <a:gd name="T4" fmla="*/ 4 w 308"/>
                <a:gd name="T5" fmla="*/ 3 h 144"/>
                <a:gd name="T6" fmla="*/ 4 w 308"/>
                <a:gd name="T7" fmla="*/ 4 h 144"/>
                <a:gd name="T8" fmla="*/ 5 w 308"/>
                <a:gd name="T9" fmla="*/ 5 h 144"/>
                <a:gd name="T10" fmla="*/ 5 w 308"/>
                <a:gd name="T11" fmla="*/ 6 h 144"/>
                <a:gd name="T12" fmla="*/ 6 w 308"/>
                <a:gd name="T13" fmla="*/ 6 h 144"/>
                <a:gd name="T14" fmla="*/ 7 w 308"/>
                <a:gd name="T15" fmla="*/ 6 h 144"/>
                <a:gd name="T16" fmla="*/ 8 w 308"/>
                <a:gd name="T17" fmla="*/ 6 h 144"/>
                <a:gd name="T18" fmla="*/ 9 w 308"/>
                <a:gd name="T19" fmla="*/ 6 h 144"/>
                <a:gd name="T20" fmla="*/ 9 w 308"/>
                <a:gd name="T21" fmla="*/ 7 h 144"/>
                <a:gd name="T22" fmla="*/ 10 w 308"/>
                <a:gd name="T23" fmla="*/ 7 h 144"/>
                <a:gd name="T24" fmla="*/ 10 w 308"/>
                <a:gd name="T25" fmla="*/ 6 h 144"/>
                <a:gd name="T26" fmla="*/ 12 w 308"/>
                <a:gd name="T27" fmla="*/ 7 h 144"/>
                <a:gd name="T28" fmla="*/ 12 w 308"/>
                <a:gd name="T29" fmla="*/ 6 h 144"/>
                <a:gd name="T30" fmla="*/ 13 w 308"/>
                <a:gd name="T31" fmla="*/ 6 h 144"/>
                <a:gd name="T32" fmla="*/ 13 w 308"/>
                <a:gd name="T33" fmla="*/ 6 h 144"/>
                <a:gd name="T34" fmla="*/ 13 w 308"/>
                <a:gd name="T35" fmla="*/ 6 h 144"/>
                <a:gd name="T36" fmla="*/ 14 w 308"/>
                <a:gd name="T37" fmla="*/ 6 h 144"/>
                <a:gd name="T38" fmla="*/ 15 w 308"/>
                <a:gd name="T39" fmla="*/ 7 h 144"/>
                <a:gd name="T40" fmla="*/ 15 w 308"/>
                <a:gd name="T41" fmla="*/ 6 h 144"/>
                <a:gd name="T42" fmla="*/ 16 w 308"/>
                <a:gd name="T43" fmla="*/ 7 h 144"/>
                <a:gd name="T44" fmla="*/ 15 w 308"/>
                <a:gd name="T45" fmla="*/ 6 h 144"/>
                <a:gd name="T46" fmla="*/ 15 w 308"/>
                <a:gd name="T47" fmla="*/ 5 h 144"/>
                <a:gd name="T48" fmla="*/ 15 w 308"/>
                <a:gd name="T49" fmla="*/ 5 h 144"/>
                <a:gd name="T50" fmla="*/ 14 w 308"/>
                <a:gd name="T51" fmla="*/ 4 h 144"/>
                <a:gd name="T52" fmla="*/ 14 w 308"/>
                <a:gd name="T53" fmla="*/ 3 h 144"/>
                <a:gd name="T54" fmla="*/ 13 w 308"/>
                <a:gd name="T55" fmla="*/ 3 h 144"/>
                <a:gd name="T56" fmla="*/ 11 w 308"/>
                <a:gd name="T57" fmla="*/ 2 h 144"/>
                <a:gd name="T58" fmla="*/ 9 w 308"/>
                <a:gd name="T59" fmla="*/ 3 h 144"/>
                <a:gd name="T60" fmla="*/ 9 w 308"/>
                <a:gd name="T61" fmla="*/ 2 h 144"/>
                <a:gd name="T62" fmla="*/ 7 w 308"/>
                <a:gd name="T63" fmla="*/ 1 h 144"/>
                <a:gd name="T64" fmla="*/ 5 w 308"/>
                <a:gd name="T65" fmla="*/ 1 h 144"/>
                <a:gd name="T66" fmla="*/ 3 w 308"/>
                <a:gd name="T67" fmla="*/ 0 h 144"/>
                <a:gd name="T68" fmla="*/ 1 w 308"/>
                <a:gd name="T69" fmla="*/ 0 h 144"/>
                <a:gd name="T70" fmla="*/ 0 w 308"/>
                <a:gd name="T71" fmla="*/ 0 h 144"/>
                <a:gd name="T72" fmla="*/ 0 w 308"/>
                <a:gd name="T73" fmla="*/ 0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44"/>
                <a:gd name="T113" fmla="*/ 308 w 308"/>
                <a:gd name="T114" fmla="*/ 144 h 14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44">
                  <a:moveTo>
                    <a:pt x="4" y="12"/>
                  </a:moveTo>
                  <a:cubicBezTo>
                    <a:pt x="4" y="12"/>
                    <a:pt x="44" y="34"/>
                    <a:pt x="52" y="37"/>
                  </a:cubicBezTo>
                  <a:cubicBezTo>
                    <a:pt x="60" y="40"/>
                    <a:pt x="75" y="54"/>
                    <a:pt x="75" y="54"/>
                  </a:cubicBezTo>
                  <a:cubicBezTo>
                    <a:pt x="75" y="54"/>
                    <a:pt x="79" y="82"/>
                    <a:pt x="79" y="85"/>
                  </a:cubicBezTo>
                  <a:cubicBezTo>
                    <a:pt x="79" y="88"/>
                    <a:pt x="92" y="103"/>
                    <a:pt x="92" y="103"/>
                  </a:cubicBezTo>
                  <a:cubicBezTo>
                    <a:pt x="92" y="103"/>
                    <a:pt x="90" y="105"/>
                    <a:pt x="85" y="110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1" y="115"/>
                    <a:pt x="117" y="105"/>
                    <a:pt x="131" y="108"/>
                  </a:cubicBezTo>
                  <a:cubicBezTo>
                    <a:pt x="145" y="111"/>
                    <a:pt x="147" y="126"/>
                    <a:pt x="147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6"/>
                    <a:pt x="165" y="129"/>
                    <a:pt x="166" y="134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221" y="130"/>
                    <a:pt x="221" y="130"/>
                    <a:pt x="221" y="130"/>
                  </a:cubicBezTo>
                  <a:cubicBezTo>
                    <a:pt x="221" y="130"/>
                    <a:pt x="224" y="120"/>
                    <a:pt x="227" y="120"/>
                  </a:cubicBezTo>
                  <a:cubicBezTo>
                    <a:pt x="228" y="120"/>
                    <a:pt x="232" y="121"/>
                    <a:pt x="235" y="123"/>
                  </a:cubicBezTo>
                  <a:cubicBezTo>
                    <a:pt x="235" y="123"/>
                    <a:pt x="235" y="123"/>
                    <a:pt x="235" y="123"/>
                  </a:cubicBezTo>
                  <a:cubicBezTo>
                    <a:pt x="236" y="119"/>
                    <a:pt x="240" y="111"/>
                    <a:pt x="250" y="112"/>
                  </a:cubicBezTo>
                  <a:cubicBezTo>
                    <a:pt x="263" y="113"/>
                    <a:pt x="261" y="120"/>
                    <a:pt x="261" y="120"/>
                  </a:cubicBezTo>
                  <a:cubicBezTo>
                    <a:pt x="275" y="130"/>
                    <a:pt x="275" y="130"/>
                    <a:pt x="275" y="130"/>
                  </a:cubicBezTo>
                  <a:cubicBezTo>
                    <a:pt x="275" y="130"/>
                    <a:pt x="286" y="127"/>
                    <a:pt x="289" y="127"/>
                  </a:cubicBezTo>
                  <a:cubicBezTo>
                    <a:pt x="292" y="127"/>
                    <a:pt x="304" y="144"/>
                    <a:pt x="306" y="134"/>
                  </a:cubicBezTo>
                  <a:cubicBezTo>
                    <a:pt x="308" y="124"/>
                    <a:pt x="287" y="113"/>
                    <a:pt x="287" y="113"/>
                  </a:cubicBezTo>
                  <a:cubicBezTo>
                    <a:pt x="287" y="113"/>
                    <a:pt x="272" y="102"/>
                    <a:pt x="278" y="97"/>
                  </a:cubicBezTo>
                  <a:cubicBezTo>
                    <a:pt x="280" y="95"/>
                    <a:pt x="283" y="94"/>
                    <a:pt x="286" y="93"/>
                  </a:cubicBezTo>
                  <a:cubicBezTo>
                    <a:pt x="279" y="86"/>
                    <a:pt x="268" y="76"/>
                    <a:pt x="251" y="75"/>
                  </a:cubicBezTo>
                  <a:cubicBezTo>
                    <a:pt x="251" y="76"/>
                    <a:pt x="256" y="58"/>
                    <a:pt x="256" y="58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26" y="40"/>
                    <a:pt x="208" y="42"/>
                  </a:cubicBezTo>
                  <a:cubicBezTo>
                    <a:pt x="190" y="44"/>
                    <a:pt x="198" y="53"/>
                    <a:pt x="179" y="53"/>
                  </a:cubicBezTo>
                  <a:cubicBezTo>
                    <a:pt x="160" y="53"/>
                    <a:pt x="160" y="42"/>
                    <a:pt x="160" y="4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08" y="17"/>
                    <a:pt x="95" y="18"/>
                  </a:cubicBezTo>
                  <a:cubicBezTo>
                    <a:pt x="82" y="19"/>
                    <a:pt x="70" y="17"/>
                    <a:pt x="54" y="10"/>
                  </a:cubicBezTo>
                  <a:cubicBezTo>
                    <a:pt x="38" y="3"/>
                    <a:pt x="13" y="0"/>
                    <a:pt x="1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2"/>
                    <a:pt x="4" y="12"/>
                    <a:pt x="4" y="1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7" name="Freeform 123">
              <a:extLst>
                <a:ext uri="{FF2B5EF4-FFF2-40B4-BE49-F238E27FC236}">
                  <a16:creationId xmlns:a16="http://schemas.microsoft.com/office/drawing/2014/main" id="{88DB3842-E0BD-9436-606F-C4C9F51543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1440" y="3531660"/>
              <a:ext cx="275904" cy="454250"/>
            </a:xfrm>
            <a:custGeom>
              <a:avLst/>
              <a:gdLst>
                <a:gd name="T0" fmla="*/ 25 w 487"/>
                <a:gd name="T1" fmla="*/ 41 h 801"/>
                <a:gd name="T2" fmla="*/ 25 w 487"/>
                <a:gd name="T3" fmla="*/ 39 h 801"/>
                <a:gd name="T4" fmla="*/ 20 w 487"/>
                <a:gd name="T5" fmla="*/ 39 h 801"/>
                <a:gd name="T6" fmla="*/ 10 w 487"/>
                <a:gd name="T7" fmla="*/ 36 h 801"/>
                <a:gd name="T8" fmla="*/ 9 w 487"/>
                <a:gd name="T9" fmla="*/ 36 h 801"/>
                <a:gd name="T10" fmla="*/ 18 w 487"/>
                <a:gd name="T11" fmla="*/ 20 h 801"/>
                <a:gd name="T12" fmla="*/ 21 w 487"/>
                <a:gd name="T13" fmla="*/ 22 h 801"/>
                <a:gd name="T14" fmla="*/ 16 w 487"/>
                <a:gd name="T15" fmla="*/ 17 h 801"/>
                <a:gd name="T16" fmla="*/ 17 w 487"/>
                <a:gd name="T17" fmla="*/ 26 h 801"/>
                <a:gd name="T18" fmla="*/ 16 w 487"/>
                <a:gd name="T19" fmla="*/ 21 h 801"/>
                <a:gd name="T20" fmla="*/ 18 w 487"/>
                <a:gd name="T21" fmla="*/ 25 h 801"/>
                <a:gd name="T22" fmla="*/ 17 w 487"/>
                <a:gd name="T23" fmla="*/ 25 h 801"/>
                <a:gd name="T24" fmla="*/ 19 w 487"/>
                <a:gd name="T25" fmla="*/ 22 h 801"/>
                <a:gd name="T26" fmla="*/ 18 w 487"/>
                <a:gd name="T27" fmla="*/ 22 h 801"/>
                <a:gd name="T28" fmla="*/ 20 w 487"/>
                <a:gd name="T29" fmla="*/ 23 h 801"/>
                <a:gd name="T30" fmla="*/ 5 w 487"/>
                <a:gd name="T31" fmla="*/ 21 h 801"/>
                <a:gd name="T32" fmla="*/ 4 w 487"/>
                <a:gd name="T33" fmla="*/ 24 h 801"/>
                <a:gd name="T34" fmla="*/ 3 w 487"/>
                <a:gd name="T35" fmla="*/ 26 h 801"/>
                <a:gd name="T36" fmla="*/ 1 w 487"/>
                <a:gd name="T37" fmla="*/ 29 h 801"/>
                <a:gd name="T38" fmla="*/ 4 w 487"/>
                <a:gd name="T39" fmla="*/ 26 h 801"/>
                <a:gd name="T40" fmla="*/ 6 w 487"/>
                <a:gd name="T41" fmla="*/ 21 h 801"/>
                <a:gd name="T42" fmla="*/ 13 w 487"/>
                <a:gd name="T43" fmla="*/ 35 h 801"/>
                <a:gd name="T44" fmla="*/ 23 w 487"/>
                <a:gd name="T45" fmla="*/ 29 h 801"/>
                <a:gd name="T46" fmla="*/ 21 w 487"/>
                <a:gd name="T47" fmla="*/ 27 h 801"/>
                <a:gd name="T48" fmla="*/ 19 w 487"/>
                <a:gd name="T49" fmla="*/ 28 h 801"/>
                <a:gd name="T50" fmla="*/ 16 w 487"/>
                <a:gd name="T51" fmla="*/ 29 h 801"/>
                <a:gd name="T52" fmla="*/ 13 w 487"/>
                <a:gd name="T53" fmla="*/ 32 h 801"/>
                <a:gd name="T54" fmla="*/ 15 w 487"/>
                <a:gd name="T55" fmla="*/ 33 h 801"/>
                <a:gd name="T56" fmla="*/ 17 w 487"/>
                <a:gd name="T57" fmla="*/ 34 h 801"/>
                <a:gd name="T58" fmla="*/ 21 w 487"/>
                <a:gd name="T59" fmla="*/ 36 h 801"/>
                <a:gd name="T60" fmla="*/ 22 w 487"/>
                <a:gd name="T61" fmla="*/ 36 h 801"/>
                <a:gd name="T62" fmla="*/ 23 w 487"/>
                <a:gd name="T63" fmla="*/ 35 h 801"/>
                <a:gd name="T64" fmla="*/ 23 w 487"/>
                <a:gd name="T65" fmla="*/ 29 h 801"/>
                <a:gd name="T66" fmla="*/ 14 w 487"/>
                <a:gd name="T67" fmla="*/ 16 h 801"/>
                <a:gd name="T68" fmla="*/ 13 w 487"/>
                <a:gd name="T69" fmla="*/ 12 h 801"/>
                <a:gd name="T70" fmla="*/ 9 w 487"/>
                <a:gd name="T71" fmla="*/ 10 h 801"/>
                <a:gd name="T72" fmla="*/ 10 w 487"/>
                <a:gd name="T73" fmla="*/ 5 h 801"/>
                <a:gd name="T74" fmla="*/ 9 w 487"/>
                <a:gd name="T75" fmla="*/ 1 h 801"/>
                <a:gd name="T76" fmla="*/ 6 w 487"/>
                <a:gd name="T77" fmla="*/ 0 h 801"/>
                <a:gd name="T78" fmla="*/ 5 w 487"/>
                <a:gd name="T79" fmla="*/ 3 h 801"/>
                <a:gd name="T80" fmla="*/ 6 w 487"/>
                <a:gd name="T81" fmla="*/ 6 h 801"/>
                <a:gd name="T82" fmla="*/ 5 w 487"/>
                <a:gd name="T83" fmla="*/ 8 h 801"/>
                <a:gd name="T84" fmla="*/ 7 w 487"/>
                <a:gd name="T85" fmla="*/ 12 h 801"/>
                <a:gd name="T86" fmla="*/ 11 w 487"/>
                <a:gd name="T87" fmla="*/ 14 h 801"/>
                <a:gd name="T88" fmla="*/ 7 w 487"/>
                <a:gd name="T89" fmla="*/ 15 h 801"/>
                <a:gd name="T90" fmla="*/ 10 w 487"/>
                <a:gd name="T91" fmla="*/ 17 h 801"/>
                <a:gd name="T92" fmla="*/ 12 w 487"/>
                <a:gd name="T93" fmla="*/ 22 h 801"/>
                <a:gd name="T94" fmla="*/ 14 w 487"/>
                <a:gd name="T95" fmla="*/ 24 h 801"/>
                <a:gd name="T96" fmla="*/ 14 w 487"/>
                <a:gd name="T97" fmla="*/ 28 h 801"/>
                <a:gd name="T98" fmla="*/ 15 w 487"/>
                <a:gd name="T99" fmla="*/ 22 h 801"/>
                <a:gd name="T100" fmla="*/ 13 w 487"/>
                <a:gd name="T101" fmla="*/ 19 h 801"/>
                <a:gd name="T102" fmla="*/ 12 w 487"/>
                <a:gd name="T103" fmla="*/ 22 h 80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7"/>
                <a:gd name="T157" fmla="*/ 0 h 801"/>
                <a:gd name="T158" fmla="*/ 487 w 487"/>
                <a:gd name="T159" fmla="*/ 801 h 80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7" h="801">
                  <a:moveTo>
                    <a:pt x="476" y="763"/>
                  </a:moveTo>
                  <a:cubicBezTo>
                    <a:pt x="472" y="782"/>
                    <a:pt x="472" y="782"/>
                    <a:pt x="472" y="782"/>
                  </a:cubicBezTo>
                  <a:cubicBezTo>
                    <a:pt x="475" y="801"/>
                    <a:pt x="475" y="801"/>
                    <a:pt x="475" y="801"/>
                  </a:cubicBezTo>
                  <a:cubicBezTo>
                    <a:pt x="487" y="791"/>
                    <a:pt x="487" y="791"/>
                    <a:pt x="487" y="791"/>
                  </a:cubicBezTo>
                  <a:cubicBezTo>
                    <a:pt x="487" y="763"/>
                    <a:pt x="487" y="763"/>
                    <a:pt x="487" y="763"/>
                  </a:cubicBezTo>
                  <a:lnTo>
                    <a:pt x="476" y="763"/>
                  </a:lnTo>
                  <a:close/>
                  <a:moveTo>
                    <a:pt x="399" y="785"/>
                  </a:moveTo>
                  <a:cubicBezTo>
                    <a:pt x="410" y="763"/>
                    <a:pt x="410" y="763"/>
                    <a:pt x="410" y="763"/>
                  </a:cubicBezTo>
                  <a:cubicBezTo>
                    <a:pt x="395" y="758"/>
                    <a:pt x="395" y="758"/>
                    <a:pt x="395" y="758"/>
                  </a:cubicBezTo>
                  <a:lnTo>
                    <a:pt x="399" y="785"/>
                  </a:lnTo>
                  <a:close/>
                  <a:moveTo>
                    <a:pt x="175" y="693"/>
                  </a:moveTo>
                  <a:cubicBezTo>
                    <a:pt x="187" y="700"/>
                    <a:pt x="187" y="700"/>
                    <a:pt x="187" y="700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82" y="672"/>
                    <a:pt x="182" y="672"/>
                    <a:pt x="182" y="672"/>
                  </a:cubicBezTo>
                  <a:lnTo>
                    <a:pt x="175" y="693"/>
                  </a:lnTo>
                  <a:close/>
                  <a:moveTo>
                    <a:pt x="345" y="372"/>
                  </a:moveTo>
                  <a:cubicBezTo>
                    <a:pt x="370" y="385"/>
                    <a:pt x="370" y="385"/>
                    <a:pt x="370" y="385"/>
                  </a:cubicBezTo>
                  <a:cubicBezTo>
                    <a:pt x="370" y="401"/>
                    <a:pt x="346" y="393"/>
                    <a:pt x="346" y="393"/>
                  </a:cubicBezTo>
                  <a:cubicBezTo>
                    <a:pt x="389" y="427"/>
                    <a:pt x="389" y="427"/>
                    <a:pt x="389" y="427"/>
                  </a:cubicBezTo>
                  <a:cubicBezTo>
                    <a:pt x="391" y="413"/>
                    <a:pt x="391" y="413"/>
                    <a:pt x="391" y="413"/>
                  </a:cubicBezTo>
                  <a:cubicBezTo>
                    <a:pt x="408" y="418"/>
                    <a:pt x="408" y="418"/>
                    <a:pt x="408" y="418"/>
                  </a:cubicBezTo>
                  <a:cubicBezTo>
                    <a:pt x="394" y="395"/>
                    <a:pt x="394" y="395"/>
                    <a:pt x="394" y="395"/>
                  </a:cubicBezTo>
                  <a:cubicBezTo>
                    <a:pt x="394" y="395"/>
                    <a:pt x="391" y="370"/>
                    <a:pt x="379" y="357"/>
                  </a:cubicBezTo>
                  <a:cubicBezTo>
                    <a:pt x="367" y="344"/>
                    <a:pt x="328" y="321"/>
                    <a:pt x="321" y="337"/>
                  </a:cubicBezTo>
                  <a:cubicBezTo>
                    <a:pt x="312" y="357"/>
                    <a:pt x="345" y="372"/>
                    <a:pt x="345" y="372"/>
                  </a:cubicBezTo>
                  <a:close/>
                  <a:moveTo>
                    <a:pt x="318" y="445"/>
                  </a:moveTo>
                  <a:cubicBezTo>
                    <a:pt x="325" y="499"/>
                    <a:pt x="325" y="499"/>
                    <a:pt x="325" y="499"/>
                  </a:cubicBezTo>
                  <a:cubicBezTo>
                    <a:pt x="333" y="449"/>
                    <a:pt x="333" y="449"/>
                    <a:pt x="333" y="449"/>
                  </a:cubicBezTo>
                  <a:cubicBezTo>
                    <a:pt x="316" y="414"/>
                    <a:pt x="316" y="414"/>
                    <a:pt x="316" y="414"/>
                  </a:cubicBezTo>
                  <a:cubicBezTo>
                    <a:pt x="301" y="414"/>
                    <a:pt x="301" y="414"/>
                    <a:pt x="301" y="414"/>
                  </a:cubicBezTo>
                  <a:lnTo>
                    <a:pt x="318" y="445"/>
                  </a:lnTo>
                  <a:close/>
                  <a:moveTo>
                    <a:pt x="337" y="494"/>
                  </a:moveTo>
                  <a:cubicBezTo>
                    <a:pt x="358" y="492"/>
                    <a:pt x="358" y="492"/>
                    <a:pt x="358" y="492"/>
                  </a:cubicBezTo>
                  <a:cubicBezTo>
                    <a:pt x="361" y="475"/>
                    <a:pt x="361" y="475"/>
                    <a:pt x="361" y="475"/>
                  </a:cubicBezTo>
                  <a:cubicBezTo>
                    <a:pt x="343" y="469"/>
                    <a:pt x="343" y="469"/>
                    <a:pt x="343" y="469"/>
                  </a:cubicBezTo>
                  <a:lnTo>
                    <a:pt x="337" y="494"/>
                  </a:lnTo>
                  <a:close/>
                  <a:moveTo>
                    <a:pt x="391" y="441"/>
                  </a:moveTo>
                  <a:cubicBezTo>
                    <a:pt x="372" y="434"/>
                    <a:pt x="372" y="434"/>
                    <a:pt x="372" y="434"/>
                  </a:cubicBezTo>
                  <a:cubicBezTo>
                    <a:pt x="372" y="434"/>
                    <a:pt x="364" y="424"/>
                    <a:pt x="360" y="416"/>
                  </a:cubicBezTo>
                  <a:cubicBezTo>
                    <a:pt x="357" y="408"/>
                    <a:pt x="333" y="413"/>
                    <a:pt x="333" y="413"/>
                  </a:cubicBezTo>
                  <a:cubicBezTo>
                    <a:pt x="336" y="442"/>
                    <a:pt x="336" y="442"/>
                    <a:pt x="336" y="442"/>
                  </a:cubicBezTo>
                  <a:cubicBezTo>
                    <a:pt x="352" y="436"/>
                    <a:pt x="352" y="436"/>
                    <a:pt x="352" y="436"/>
                  </a:cubicBezTo>
                  <a:cubicBezTo>
                    <a:pt x="358" y="452"/>
                    <a:pt x="358" y="452"/>
                    <a:pt x="358" y="452"/>
                  </a:cubicBezTo>
                  <a:cubicBezTo>
                    <a:pt x="391" y="477"/>
                    <a:pt x="391" y="477"/>
                    <a:pt x="391" y="477"/>
                  </a:cubicBezTo>
                  <a:lnTo>
                    <a:pt x="391" y="441"/>
                  </a:lnTo>
                  <a:close/>
                  <a:moveTo>
                    <a:pt x="117" y="403"/>
                  </a:moveTo>
                  <a:cubicBezTo>
                    <a:pt x="107" y="388"/>
                    <a:pt x="107" y="388"/>
                    <a:pt x="107" y="388"/>
                  </a:cubicBezTo>
                  <a:cubicBezTo>
                    <a:pt x="103" y="405"/>
                    <a:pt x="103" y="405"/>
                    <a:pt x="103" y="405"/>
                  </a:cubicBezTo>
                  <a:cubicBezTo>
                    <a:pt x="103" y="405"/>
                    <a:pt x="84" y="421"/>
                    <a:pt x="91" y="436"/>
                  </a:cubicBezTo>
                  <a:cubicBezTo>
                    <a:pt x="98" y="450"/>
                    <a:pt x="115" y="450"/>
                    <a:pt x="105" y="457"/>
                  </a:cubicBezTo>
                  <a:cubicBezTo>
                    <a:pt x="95" y="463"/>
                    <a:pt x="79" y="472"/>
                    <a:pt x="79" y="472"/>
                  </a:cubicBezTo>
                  <a:cubicBezTo>
                    <a:pt x="72" y="490"/>
                    <a:pt x="72" y="490"/>
                    <a:pt x="72" y="490"/>
                  </a:cubicBezTo>
                  <a:cubicBezTo>
                    <a:pt x="57" y="499"/>
                    <a:pt x="57" y="499"/>
                    <a:pt x="57" y="499"/>
                  </a:cubicBezTo>
                  <a:cubicBezTo>
                    <a:pt x="57" y="499"/>
                    <a:pt x="62" y="508"/>
                    <a:pt x="55" y="514"/>
                  </a:cubicBezTo>
                  <a:cubicBezTo>
                    <a:pt x="48" y="521"/>
                    <a:pt x="23" y="532"/>
                    <a:pt x="23" y="532"/>
                  </a:cubicBezTo>
                  <a:cubicBezTo>
                    <a:pt x="23" y="532"/>
                    <a:pt x="0" y="568"/>
                    <a:pt x="11" y="576"/>
                  </a:cubicBezTo>
                  <a:cubicBezTo>
                    <a:pt x="31" y="557"/>
                    <a:pt x="31" y="557"/>
                    <a:pt x="31" y="557"/>
                  </a:cubicBezTo>
                  <a:cubicBezTo>
                    <a:pt x="31" y="557"/>
                    <a:pt x="28" y="542"/>
                    <a:pt x="36" y="542"/>
                  </a:cubicBezTo>
                  <a:cubicBezTo>
                    <a:pt x="45" y="542"/>
                    <a:pt x="55" y="539"/>
                    <a:pt x="62" y="534"/>
                  </a:cubicBezTo>
                  <a:cubicBezTo>
                    <a:pt x="69" y="529"/>
                    <a:pt x="62" y="513"/>
                    <a:pt x="71" y="503"/>
                  </a:cubicBezTo>
                  <a:cubicBezTo>
                    <a:pt x="79" y="493"/>
                    <a:pt x="127" y="478"/>
                    <a:pt x="127" y="467"/>
                  </a:cubicBezTo>
                  <a:cubicBezTo>
                    <a:pt x="127" y="455"/>
                    <a:pt x="117" y="444"/>
                    <a:pt x="115" y="434"/>
                  </a:cubicBezTo>
                  <a:cubicBezTo>
                    <a:pt x="114" y="424"/>
                    <a:pt x="117" y="403"/>
                    <a:pt x="117" y="403"/>
                  </a:cubicBezTo>
                  <a:close/>
                  <a:moveTo>
                    <a:pt x="232" y="684"/>
                  </a:moveTo>
                  <a:cubicBezTo>
                    <a:pt x="257" y="706"/>
                    <a:pt x="257" y="706"/>
                    <a:pt x="257" y="706"/>
                  </a:cubicBezTo>
                  <a:cubicBezTo>
                    <a:pt x="259" y="679"/>
                    <a:pt x="259" y="679"/>
                    <a:pt x="259" y="679"/>
                  </a:cubicBezTo>
                  <a:cubicBezTo>
                    <a:pt x="244" y="668"/>
                    <a:pt x="244" y="668"/>
                    <a:pt x="244" y="668"/>
                  </a:cubicBezTo>
                  <a:lnTo>
                    <a:pt x="232" y="684"/>
                  </a:lnTo>
                  <a:close/>
                  <a:moveTo>
                    <a:pt x="451" y="560"/>
                  </a:moveTo>
                  <a:cubicBezTo>
                    <a:pt x="451" y="560"/>
                    <a:pt x="451" y="529"/>
                    <a:pt x="441" y="524"/>
                  </a:cubicBezTo>
                  <a:cubicBezTo>
                    <a:pt x="430" y="519"/>
                    <a:pt x="405" y="483"/>
                    <a:pt x="396" y="491"/>
                  </a:cubicBezTo>
                  <a:cubicBezTo>
                    <a:pt x="388" y="499"/>
                    <a:pt x="420" y="522"/>
                    <a:pt x="413" y="526"/>
                  </a:cubicBezTo>
                  <a:cubicBezTo>
                    <a:pt x="406" y="529"/>
                    <a:pt x="376" y="532"/>
                    <a:pt x="376" y="532"/>
                  </a:cubicBezTo>
                  <a:cubicBezTo>
                    <a:pt x="376" y="553"/>
                    <a:pt x="376" y="553"/>
                    <a:pt x="376" y="553"/>
                  </a:cubicBezTo>
                  <a:cubicBezTo>
                    <a:pt x="362" y="552"/>
                    <a:pt x="362" y="552"/>
                    <a:pt x="362" y="552"/>
                  </a:cubicBezTo>
                  <a:cubicBezTo>
                    <a:pt x="358" y="567"/>
                    <a:pt x="358" y="567"/>
                    <a:pt x="358" y="567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341" y="576"/>
                    <a:pt x="316" y="560"/>
                    <a:pt x="307" y="568"/>
                  </a:cubicBezTo>
                  <a:cubicBezTo>
                    <a:pt x="299" y="576"/>
                    <a:pt x="283" y="604"/>
                    <a:pt x="283" y="604"/>
                  </a:cubicBezTo>
                  <a:cubicBezTo>
                    <a:pt x="283" y="604"/>
                    <a:pt x="273" y="585"/>
                    <a:pt x="268" y="594"/>
                  </a:cubicBezTo>
                  <a:cubicBezTo>
                    <a:pt x="263" y="604"/>
                    <a:pt x="251" y="627"/>
                    <a:pt x="251" y="627"/>
                  </a:cubicBezTo>
                  <a:cubicBezTo>
                    <a:pt x="264" y="640"/>
                    <a:pt x="264" y="640"/>
                    <a:pt x="264" y="640"/>
                  </a:cubicBezTo>
                  <a:cubicBezTo>
                    <a:pt x="278" y="627"/>
                    <a:pt x="278" y="627"/>
                    <a:pt x="278" y="627"/>
                  </a:cubicBezTo>
                  <a:cubicBezTo>
                    <a:pt x="287" y="643"/>
                    <a:pt x="287" y="643"/>
                    <a:pt x="287" y="643"/>
                  </a:cubicBezTo>
                  <a:cubicBezTo>
                    <a:pt x="287" y="643"/>
                    <a:pt x="314" y="621"/>
                    <a:pt x="321" y="621"/>
                  </a:cubicBezTo>
                  <a:cubicBezTo>
                    <a:pt x="328" y="621"/>
                    <a:pt x="350" y="642"/>
                    <a:pt x="350" y="642"/>
                  </a:cubicBezTo>
                  <a:cubicBezTo>
                    <a:pt x="350" y="642"/>
                    <a:pt x="340" y="648"/>
                    <a:pt x="340" y="657"/>
                  </a:cubicBezTo>
                  <a:cubicBezTo>
                    <a:pt x="340" y="665"/>
                    <a:pt x="358" y="701"/>
                    <a:pt x="367" y="704"/>
                  </a:cubicBezTo>
                  <a:cubicBezTo>
                    <a:pt x="376" y="707"/>
                    <a:pt x="400" y="714"/>
                    <a:pt x="400" y="714"/>
                  </a:cubicBezTo>
                  <a:cubicBezTo>
                    <a:pt x="413" y="701"/>
                    <a:pt x="413" y="701"/>
                    <a:pt x="413" y="701"/>
                  </a:cubicBezTo>
                  <a:cubicBezTo>
                    <a:pt x="415" y="717"/>
                    <a:pt x="415" y="717"/>
                    <a:pt x="415" y="717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30" y="693"/>
                    <a:pt x="430" y="693"/>
                    <a:pt x="430" y="693"/>
                  </a:cubicBezTo>
                  <a:cubicBezTo>
                    <a:pt x="430" y="693"/>
                    <a:pt x="410" y="671"/>
                    <a:pt x="415" y="658"/>
                  </a:cubicBezTo>
                  <a:cubicBezTo>
                    <a:pt x="420" y="645"/>
                    <a:pt x="427" y="642"/>
                    <a:pt x="427" y="642"/>
                  </a:cubicBezTo>
                  <a:cubicBezTo>
                    <a:pt x="444" y="676"/>
                    <a:pt x="444" y="676"/>
                    <a:pt x="444" y="676"/>
                  </a:cubicBezTo>
                  <a:cubicBezTo>
                    <a:pt x="444" y="676"/>
                    <a:pt x="463" y="650"/>
                    <a:pt x="463" y="634"/>
                  </a:cubicBezTo>
                  <a:cubicBezTo>
                    <a:pt x="463" y="617"/>
                    <a:pt x="451" y="599"/>
                    <a:pt x="451" y="599"/>
                  </a:cubicBezTo>
                  <a:lnTo>
                    <a:pt x="451" y="560"/>
                  </a:lnTo>
                  <a:close/>
                  <a:moveTo>
                    <a:pt x="230" y="258"/>
                  </a:moveTo>
                  <a:cubicBezTo>
                    <a:pt x="248" y="256"/>
                    <a:pt x="255" y="265"/>
                    <a:pt x="259" y="279"/>
                  </a:cubicBezTo>
                  <a:cubicBezTo>
                    <a:pt x="262" y="291"/>
                    <a:pt x="272" y="303"/>
                    <a:pt x="286" y="309"/>
                  </a:cubicBezTo>
                  <a:cubicBezTo>
                    <a:pt x="311" y="322"/>
                    <a:pt x="313" y="261"/>
                    <a:pt x="282" y="264"/>
                  </a:cubicBezTo>
                  <a:cubicBezTo>
                    <a:pt x="281" y="258"/>
                    <a:pt x="286" y="256"/>
                    <a:pt x="288" y="251"/>
                  </a:cubicBezTo>
                  <a:cubicBezTo>
                    <a:pt x="276" y="250"/>
                    <a:pt x="272" y="236"/>
                    <a:pt x="259" y="240"/>
                  </a:cubicBezTo>
                  <a:cubicBezTo>
                    <a:pt x="251" y="257"/>
                    <a:pt x="236" y="236"/>
                    <a:pt x="224" y="236"/>
                  </a:cubicBezTo>
                  <a:cubicBezTo>
                    <a:pt x="208" y="235"/>
                    <a:pt x="201" y="259"/>
                    <a:pt x="188" y="239"/>
                  </a:cubicBezTo>
                  <a:cubicBezTo>
                    <a:pt x="181" y="228"/>
                    <a:pt x="184" y="213"/>
                    <a:pt x="184" y="201"/>
                  </a:cubicBezTo>
                  <a:cubicBezTo>
                    <a:pt x="184" y="189"/>
                    <a:pt x="180" y="170"/>
                    <a:pt x="185" y="159"/>
                  </a:cubicBezTo>
                  <a:cubicBezTo>
                    <a:pt x="192" y="143"/>
                    <a:pt x="203" y="148"/>
                    <a:pt x="202" y="128"/>
                  </a:cubicBezTo>
                  <a:cubicBezTo>
                    <a:pt x="202" y="114"/>
                    <a:pt x="191" y="105"/>
                    <a:pt x="193" y="93"/>
                  </a:cubicBezTo>
                  <a:cubicBezTo>
                    <a:pt x="194" y="80"/>
                    <a:pt x="202" y="64"/>
                    <a:pt x="198" y="50"/>
                  </a:cubicBezTo>
                  <a:cubicBezTo>
                    <a:pt x="195" y="44"/>
                    <a:pt x="188" y="41"/>
                    <a:pt x="185" y="35"/>
                  </a:cubicBezTo>
                  <a:cubicBezTo>
                    <a:pt x="182" y="29"/>
                    <a:pt x="185" y="22"/>
                    <a:pt x="184" y="16"/>
                  </a:cubicBezTo>
                  <a:cubicBezTo>
                    <a:pt x="183" y="11"/>
                    <a:pt x="181" y="0"/>
                    <a:pt x="172" y="0"/>
                  </a:cubicBezTo>
                  <a:cubicBezTo>
                    <a:pt x="167" y="1"/>
                    <a:pt x="165" y="9"/>
                    <a:pt x="162" y="12"/>
                  </a:cubicBezTo>
                  <a:cubicBezTo>
                    <a:pt x="145" y="26"/>
                    <a:pt x="142" y="9"/>
                    <a:pt x="126" y="10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4" y="20"/>
                    <a:pt x="117" y="27"/>
                    <a:pt x="115" y="34"/>
                  </a:cubicBezTo>
                  <a:cubicBezTo>
                    <a:pt x="113" y="41"/>
                    <a:pt x="104" y="47"/>
                    <a:pt x="100" y="53"/>
                  </a:cubicBezTo>
                  <a:cubicBezTo>
                    <a:pt x="92" y="65"/>
                    <a:pt x="94" y="57"/>
                    <a:pt x="101" y="69"/>
                  </a:cubicBezTo>
                  <a:cubicBezTo>
                    <a:pt x="104" y="74"/>
                    <a:pt x="108" y="83"/>
                    <a:pt x="110" y="89"/>
                  </a:cubicBezTo>
                  <a:cubicBezTo>
                    <a:pt x="112" y="95"/>
                    <a:pt x="113" y="102"/>
                    <a:pt x="112" y="109"/>
                  </a:cubicBezTo>
                  <a:cubicBezTo>
                    <a:pt x="111" y="116"/>
                    <a:pt x="103" y="122"/>
                    <a:pt x="103" y="127"/>
                  </a:cubicBezTo>
                  <a:cubicBezTo>
                    <a:pt x="103" y="135"/>
                    <a:pt x="114" y="137"/>
                    <a:pt x="110" y="145"/>
                  </a:cubicBezTo>
                  <a:cubicBezTo>
                    <a:pt x="108" y="150"/>
                    <a:pt x="96" y="153"/>
                    <a:pt x="92" y="152"/>
                  </a:cubicBezTo>
                  <a:cubicBezTo>
                    <a:pt x="92" y="146"/>
                    <a:pt x="90" y="140"/>
                    <a:pt x="85" y="138"/>
                  </a:cubicBezTo>
                  <a:cubicBezTo>
                    <a:pt x="84" y="161"/>
                    <a:pt x="87" y="175"/>
                    <a:pt x="103" y="194"/>
                  </a:cubicBezTo>
                  <a:cubicBezTo>
                    <a:pt x="115" y="207"/>
                    <a:pt x="127" y="217"/>
                    <a:pt x="135" y="233"/>
                  </a:cubicBezTo>
                  <a:cubicBezTo>
                    <a:pt x="140" y="245"/>
                    <a:pt x="156" y="275"/>
                    <a:pt x="171" y="274"/>
                  </a:cubicBezTo>
                  <a:cubicBezTo>
                    <a:pt x="181" y="273"/>
                    <a:pt x="185" y="260"/>
                    <a:pt x="196" y="259"/>
                  </a:cubicBezTo>
                  <a:cubicBezTo>
                    <a:pt x="207" y="258"/>
                    <a:pt x="212" y="268"/>
                    <a:pt x="219" y="274"/>
                  </a:cubicBezTo>
                  <a:cubicBezTo>
                    <a:pt x="241" y="293"/>
                    <a:pt x="240" y="275"/>
                    <a:pt x="230" y="258"/>
                  </a:cubicBezTo>
                  <a:close/>
                  <a:moveTo>
                    <a:pt x="182" y="288"/>
                  </a:moveTo>
                  <a:cubicBezTo>
                    <a:pt x="175" y="282"/>
                    <a:pt x="146" y="285"/>
                    <a:pt x="146" y="285"/>
                  </a:cubicBezTo>
                  <a:cubicBezTo>
                    <a:pt x="167" y="313"/>
                    <a:pt x="167" y="313"/>
                    <a:pt x="167" y="313"/>
                  </a:cubicBezTo>
                  <a:cubicBezTo>
                    <a:pt x="180" y="357"/>
                    <a:pt x="180" y="357"/>
                    <a:pt x="180" y="357"/>
                  </a:cubicBezTo>
                  <a:cubicBezTo>
                    <a:pt x="180" y="357"/>
                    <a:pt x="192" y="347"/>
                    <a:pt x="197" y="339"/>
                  </a:cubicBezTo>
                  <a:cubicBezTo>
                    <a:pt x="203" y="331"/>
                    <a:pt x="191" y="315"/>
                    <a:pt x="191" y="315"/>
                  </a:cubicBezTo>
                  <a:cubicBezTo>
                    <a:pt x="191" y="315"/>
                    <a:pt x="189" y="295"/>
                    <a:pt x="182" y="288"/>
                  </a:cubicBezTo>
                  <a:close/>
                  <a:moveTo>
                    <a:pt x="232" y="434"/>
                  </a:moveTo>
                  <a:cubicBezTo>
                    <a:pt x="237" y="444"/>
                    <a:pt x="245" y="454"/>
                    <a:pt x="245" y="454"/>
                  </a:cubicBezTo>
                  <a:cubicBezTo>
                    <a:pt x="245" y="454"/>
                    <a:pt x="261" y="437"/>
                    <a:pt x="266" y="441"/>
                  </a:cubicBezTo>
                  <a:cubicBezTo>
                    <a:pt x="271" y="444"/>
                    <a:pt x="271" y="463"/>
                    <a:pt x="271" y="463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7" y="506"/>
                    <a:pt x="257" y="513"/>
                  </a:cubicBezTo>
                  <a:cubicBezTo>
                    <a:pt x="257" y="519"/>
                    <a:pt x="257" y="539"/>
                    <a:pt x="273" y="535"/>
                  </a:cubicBezTo>
                  <a:cubicBezTo>
                    <a:pt x="288" y="532"/>
                    <a:pt x="311" y="527"/>
                    <a:pt x="302" y="513"/>
                  </a:cubicBezTo>
                  <a:cubicBezTo>
                    <a:pt x="293" y="498"/>
                    <a:pt x="292" y="486"/>
                    <a:pt x="300" y="463"/>
                  </a:cubicBezTo>
                  <a:cubicBezTo>
                    <a:pt x="309" y="441"/>
                    <a:pt x="302" y="424"/>
                    <a:pt x="295" y="431"/>
                  </a:cubicBezTo>
                  <a:cubicBezTo>
                    <a:pt x="288" y="437"/>
                    <a:pt x="275" y="445"/>
                    <a:pt x="275" y="437"/>
                  </a:cubicBezTo>
                  <a:cubicBezTo>
                    <a:pt x="275" y="429"/>
                    <a:pt x="295" y="398"/>
                    <a:pt x="283" y="395"/>
                  </a:cubicBezTo>
                  <a:cubicBezTo>
                    <a:pt x="271" y="391"/>
                    <a:pt x="249" y="378"/>
                    <a:pt x="249" y="378"/>
                  </a:cubicBezTo>
                  <a:cubicBezTo>
                    <a:pt x="249" y="378"/>
                    <a:pt x="228" y="373"/>
                    <a:pt x="227" y="380"/>
                  </a:cubicBezTo>
                  <a:cubicBezTo>
                    <a:pt x="225" y="387"/>
                    <a:pt x="239" y="398"/>
                    <a:pt x="239" y="398"/>
                  </a:cubicBezTo>
                  <a:cubicBezTo>
                    <a:pt x="239" y="398"/>
                    <a:pt x="227" y="424"/>
                    <a:pt x="232" y="43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8" name="Freeform 124">
              <a:extLst>
                <a:ext uri="{FF2B5EF4-FFF2-40B4-BE49-F238E27FC236}">
                  <a16:creationId xmlns:a16="http://schemas.microsoft.com/office/drawing/2014/main" id="{B033FC95-DFDA-7B88-B848-484E09A93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0219" y="2924978"/>
              <a:ext cx="109752" cy="163103"/>
            </a:xfrm>
            <a:custGeom>
              <a:avLst/>
              <a:gdLst>
                <a:gd name="T0" fmla="*/ 5 w 191"/>
                <a:gd name="T1" fmla="*/ 14 h 284"/>
                <a:gd name="T2" fmla="*/ 5 w 191"/>
                <a:gd name="T3" fmla="*/ 15 h 284"/>
                <a:gd name="T4" fmla="*/ 5 w 191"/>
                <a:gd name="T5" fmla="*/ 14 h 284"/>
                <a:gd name="T6" fmla="*/ 10 w 191"/>
                <a:gd name="T7" fmla="*/ 9 h 284"/>
                <a:gd name="T8" fmla="*/ 9 w 191"/>
                <a:gd name="T9" fmla="*/ 7 h 284"/>
                <a:gd name="T10" fmla="*/ 9 w 191"/>
                <a:gd name="T11" fmla="*/ 5 h 284"/>
                <a:gd name="T12" fmla="*/ 6 w 191"/>
                <a:gd name="T13" fmla="*/ 3 h 284"/>
                <a:gd name="T14" fmla="*/ 5 w 191"/>
                <a:gd name="T15" fmla="*/ 2 h 284"/>
                <a:gd name="T16" fmla="*/ 5 w 191"/>
                <a:gd name="T17" fmla="*/ 1 h 284"/>
                <a:gd name="T18" fmla="*/ 3 w 191"/>
                <a:gd name="T19" fmla="*/ 0 h 284"/>
                <a:gd name="T20" fmla="*/ 3 w 191"/>
                <a:gd name="T21" fmla="*/ 1 h 284"/>
                <a:gd name="T22" fmla="*/ 1 w 191"/>
                <a:gd name="T23" fmla="*/ 1 h 284"/>
                <a:gd name="T24" fmla="*/ 1 w 191"/>
                <a:gd name="T25" fmla="*/ 2 h 284"/>
                <a:gd name="T26" fmla="*/ 0 w 191"/>
                <a:gd name="T27" fmla="*/ 2 h 284"/>
                <a:gd name="T28" fmla="*/ 0 w 191"/>
                <a:gd name="T29" fmla="*/ 3 h 284"/>
                <a:gd name="T30" fmla="*/ 2 w 191"/>
                <a:gd name="T31" fmla="*/ 3 h 284"/>
                <a:gd name="T32" fmla="*/ 2 w 191"/>
                <a:gd name="T33" fmla="*/ 5 h 284"/>
                <a:gd name="T34" fmla="*/ 0 w 191"/>
                <a:gd name="T35" fmla="*/ 5 h 284"/>
                <a:gd name="T36" fmla="*/ 2 w 191"/>
                <a:gd name="T37" fmla="*/ 5 h 284"/>
                <a:gd name="T38" fmla="*/ 2 w 191"/>
                <a:gd name="T39" fmla="*/ 7 h 284"/>
                <a:gd name="T40" fmla="*/ 3 w 191"/>
                <a:gd name="T41" fmla="*/ 7 h 284"/>
                <a:gd name="T42" fmla="*/ 3 w 191"/>
                <a:gd name="T43" fmla="*/ 8 h 284"/>
                <a:gd name="T44" fmla="*/ 3 w 191"/>
                <a:gd name="T45" fmla="*/ 10 h 284"/>
                <a:gd name="T46" fmla="*/ 4 w 191"/>
                <a:gd name="T47" fmla="*/ 11 h 284"/>
                <a:gd name="T48" fmla="*/ 4 w 191"/>
                <a:gd name="T49" fmla="*/ 12 h 284"/>
                <a:gd name="T50" fmla="*/ 5 w 191"/>
                <a:gd name="T51" fmla="*/ 11 h 284"/>
                <a:gd name="T52" fmla="*/ 7 w 191"/>
                <a:gd name="T53" fmla="*/ 10 h 284"/>
                <a:gd name="T54" fmla="*/ 8 w 191"/>
                <a:gd name="T55" fmla="*/ 11 h 284"/>
                <a:gd name="T56" fmla="*/ 8 w 191"/>
                <a:gd name="T57" fmla="*/ 10 h 284"/>
                <a:gd name="T58" fmla="*/ 10 w 191"/>
                <a:gd name="T59" fmla="*/ 9 h 2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1"/>
                <a:gd name="T91" fmla="*/ 0 h 284"/>
                <a:gd name="T92" fmla="*/ 191 w 191"/>
                <a:gd name="T93" fmla="*/ 284 h 2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1" h="284">
                  <a:moveTo>
                    <a:pt x="100" y="267"/>
                  </a:moveTo>
                  <a:cubicBezTo>
                    <a:pt x="76" y="275"/>
                    <a:pt x="86" y="284"/>
                    <a:pt x="101" y="284"/>
                  </a:cubicBezTo>
                  <a:cubicBezTo>
                    <a:pt x="120" y="284"/>
                    <a:pt x="124" y="259"/>
                    <a:pt x="100" y="267"/>
                  </a:cubicBezTo>
                  <a:close/>
                  <a:moveTo>
                    <a:pt x="185" y="165"/>
                  </a:moveTo>
                  <a:cubicBezTo>
                    <a:pt x="179" y="146"/>
                    <a:pt x="166" y="132"/>
                    <a:pt x="166" y="132"/>
                  </a:cubicBezTo>
                  <a:cubicBezTo>
                    <a:pt x="166" y="132"/>
                    <a:pt x="171" y="115"/>
                    <a:pt x="162" y="101"/>
                  </a:cubicBezTo>
                  <a:cubicBezTo>
                    <a:pt x="153" y="87"/>
                    <a:pt x="111" y="50"/>
                    <a:pt x="111" y="50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4" y="34"/>
                    <a:pt x="82" y="21"/>
                  </a:cubicBezTo>
                  <a:cubicBezTo>
                    <a:pt x="76" y="14"/>
                    <a:pt x="69" y="6"/>
                    <a:pt x="64" y="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30" y="9"/>
                    <a:pt x="16" y="16"/>
                  </a:cubicBezTo>
                  <a:cubicBezTo>
                    <a:pt x="2" y="24"/>
                    <a:pt x="14" y="26"/>
                    <a:pt x="13" y="29"/>
                  </a:cubicBezTo>
                  <a:cubicBezTo>
                    <a:pt x="12" y="32"/>
                    <a:pt x="0" y="39"/>
                    <a:pt x="0" y="39"/>
                  </a:cubicBezTo>
                  <a:cubicBezTo>
                    <a:pt x="0" y="39"/>
                    <a:pt x="1" y="50"/>
                    <a:pt x="8" y="56"/>
                  </a:cubicBezTo>
                  <a:cubicBezTo>
                    <a:pt x="15" y="62"/>
                    <a:pt x="30" y="64"/>
                    <a:pt x="30" y="6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7" y="75"/>
                    <a:pt x="6" y="82"/>
                  </a:cubicBezTo>
                  <a:cubicBezTo>
                    <a:pt x="5" y="89"/>
                    <a:pt x="27" y="102"/>
                    <a:pt x="27" y="102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60" y="134"/>
                    <a:pt x="60" y="134"/>
                    <a:pt x="60" y="134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0" y="153"/>
                    <a:pt x="49" y="161"/>
                    <a:pt x="54" y="180"/>
                  </a:cubicBezTo>
                  <a:cubicBezTo>
                    <a:pt x="59" y="199"/>
                    <a:pt x="74" y="199"/>
                    <a:pt x="74" y="199"/>
                  </a:cubicBezTo>
                  <a:cubicBezTo>
                    <a:pt x="74" y="199"/>
                    <a:pt x="61" y="225"/>
                    <a:pt x="80" y="222"/>
                  </a:cubicBezTo>
                  <a:cubicBezTo>
                    <a:pt x="99" y="219"/>
                    <a:pt x="100" y="203"/>
                    <a:pt x="100" y="203"/>
                  </a:cubicBezTo>
                  <a:cubicBezTo>
                    <a:pt x="133" y="188"/>
                    <a:pt x="133" y="188"/>
                    <a:pt x="133" y="188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5" y="181"/>
                    <a:pt x="155" y="181"/>
                    <a:pt x="155" y="181"/>
                  </a:cubicBezTo>
                  <a:cubicBezTo>
                    <a:pt x="155" y="181"/>
                    <a:pt x="191" y="184"/>
                    <a:pt x="185" y="16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19" name="Freeform 125">
              <a:extLst>
                <a:ext uri="{FF2B5EF4-FFF2-40B4-BE49-F238E27FC236}">
                  <a16:creationId xmlns:a16="http://schemas.microsoft.com/office/drawing/2014/main" id="{ECE0D169-489D-77C7-8D64-F12494CFF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3332" y="2792362"/>
              <a:ext cx="126520" cy="158530"/>
            </a:xfrm>
            <a:custGeom>
              <a:avLst/>
              <a:gdLst>
                <a:gd name="T0" fmla="*/ 10 w 220"/>
                <a:gd name="T1" fmla="*/ 0 h 280"/>
                <a:gd name="T2" fmla="*/ 9 w 220"/>
                <a:gd name="T3" fmla="*/ 0 h 280"/>
                <a:gd name="T4" fmla="*/ 9 w 220"/>
                <a:gd name="T5" fmla="*/ 1 h 280"/>
                <a:gd name="T6" fmla="*/ 8 w 220"/>
                <a:gd name="T7" fmla="*/ 1 h 280"/>
                <a:gd name="T8" fmla="*/ 8 w 220"/>
                <a:gd name="T9" fmla="*/ 3 h 280"/>
                <a:gd name="T10" fmla="*/ 6 w 220"/>
                <a:gd name="T11" fmla="*/ 3 h 280"/>
                <a:gd name="T12" fmla="*/ 7 w 220"/>
                <a:gd name="T13" fmla="*/ 4 h 280"/>
                <a:gd name="T14" fmla="*/ 7 w 220"/>
                <a:gd name="T15" fmla="*/ 4 h 280"/>
                <a:gd name="T16" fmla="*/ 5 w 220"/>
                <a:gd name="T17" fmla="*/ 4 h 280"/>
                <a:gd name="T18" fmla="*/ 3 w 220"/>
                <a:gd name="T19" fmla="*/ 3 h 280"/>
                <a:gd name="T20" fmla="*/ 3 w 220"/>
                <a:gd name="T21" fmla="*/ 6 h 280"/>
                <a:gd name="T22" fmla="*/ 1 w 220"/>
                <a:gd name="T23" fmla="*/ 7 h 280"/>
                <a:gd name="T24" fmla="*/ 0 w 220"/>
                <a:gd name="T25" fmla="*/ 8 h 280"/>
                <a:gd name="T26" fmla="*/ 0 w 220"/>
                <a:gd name="T27" fmla="*/ 9 h 280"/>
                <a:gd name="T28" fmla="*/ 0 w 220"/>
                <a:gd name="T29" fmla="*/ 8 h 280"/>
                <a:gd name="T30" fmla="*/ 1 w 220"/>
                <a:gd name="T31" fmla="*/ 9 h 280"/>
                <a:gd name="T32" fmla="*/ 2 w 220"/>
                <a:gd name="T33" fmla="*/ 9 h 280"/>
                <a:gd name="T34" fmla="*/ 2 w 220"/>
                <a:gd name="T35" fmla="*/ 9 h 280"/>
                <a:gd name="T36" fmla="*/ 3 w 220"/>
                <a:gd name="T37" fmla="*/ 9 h 280"/>
                <a:gd name="T38" fmla="*/ 3 w 220"/>
                <a:gd name="T39" fmla="*/ 9 h 280"/>
                <a:gd name="T40" fmla="*/ 4 w 220"/>
                <a:gd name="T41" fmla="*/ 12 h 280"/>
                <a:gd name="T42" fmla="*/ 5 w 220"/>
                <a:gd name="T43" fmla="*/ 12 h 280"/>
                <a:gd name="T44" fmla="*/ 5 w 220"/>
                <a:gd name="T45" fmla="*/ 12 h 280"/>
                <a:gd name="T46" fmla="*/ 4 w 220"/>
                <a:gd name="T47" fmla="*/ 12 h 280"/>
                <a:gd name="T48" fmla="*/ 4 w 220"/>
                <a:gd name="T49" fmla="*/ 13 h 280"/>
                <a:gd name="T50" fmla="*/ 5 w 220"/>
                <a:gd name="T51" fmla="*/ 14 h 280"/>
                <a:gd name="T52" fmla="*/ 6 w 220"/>
                <a:gd name="T53" fmla="*/ 14 h 280"/>
                <a:gd name="T54" fmla="*/ 7 w 220"/>
                <a:gd name="T55" fmla="*/ 14 h 280"/>
                <a:gd name="T56" fmla="*/ 8 w 220"/>
                <a:gd name="T57" fmla="*/ 14 h 280"/>
                <a:gd name="T58" fmla="*/ 9 w 220"/>
                <a:gd name="T59" fmla="*/ 13 h 280"/>
                <a:gd name="T60" fmla="*/ 9 w 220"/>
                <a:gd name="T61" fmla="*/ 13 h 280"/>
                <a:gd name="T62" fmla="*/ 11 w 220"/>
                <a:gd name="T63" fmla="*/ 13 h 280"/>
                <a:gd name="T64" fmla="*/ 12 w 220"/>
                <a:gd name="T65" fmla="*/ 12 h 280"/>
                <a:gd name="T66" fmla="*/ 11 w 220"/>
                <a:gd name="T67" fmla="*/ 12 h 280"/>
                <a:gd name="T68" fmla="*/ 9 w 220"/>
                <a:gd name="T69" fmla="*/ 11 h 280"/>
                <a:gd name="T70" fmla="*/ 9 w 220"/>
                <a:gd name="T71" fmla="*/ 10 h 280"/>
                <a:gd name="T72" fmla="*/ 9 w 220"/>
                <a:gd name="T73" fmla="*/ 10 h 280"/>
                <a:gd name="T74" fmla="*/ 8 w 220"/>
                <a:gd name="T75" fmla="*/ 9 h 280"/>
                <a:gd name="T76" fmla="*/ 10 w 220"/>
                <a:gd name="T77" fmla="*/ 7 h 280"/>
                <a:gd name="T78" fmla="*/ 11 w 220"/>
                <a:gd name="T79" fmla="*/ 6 h 280"/>
                <a:gd name="T80" fmla="*/ 12 w 220"/>
                <a:gd name="T81" fmla="*/ 6 h 280"/>
                <a:gd name="T82" fmla="*/ 11 w 220"/>
                <a:gd name="T83" fmla="*/ 4 h 280"/>
                <a:gd name="T84" fmla="*/ 11 w 220"/>
                <a:gd name="T85" fmla="*/ 3 h 280"/>
                <a:gd name="T86" fmla="*/ 12 w 220"/>
                <a:gd name="T87" fmla="*/ 2 h 280"/>
                <a:gd name="T88" fmla="*/ 11 w 220"/>
                <a:gd name="T89" fmla="*/ 1 h 280"/>
                <a:gd name="T90" fmla="*/ 10 w 220"/>
                <a:gd name="T91" fmla="*/ 1 h 280"/>
                <a:gd name="T92" fmla="*/ 10 w 220"/>
                <a:gd name="T93" fmla="*/ 0 h 28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0"/>
                <a:gd name="T142" fmla="*/ 0 h 280"/>
                <a:gd name="T143" fmla="*/ 220 w 220"/>
                <a:gd name="T144" fmla="*/ 280 h 28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0" h="280">
                  <a:moveTo>
                    <a:pt x="182" y="0"/>
                  </a:move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73" y="22"/>
                    <a:pt x="171" y="27"/>
                  </a:cubicBezTo>
                  <a:cubicBezTo>
                    <a:pt x="169" y="32"/>
                    <a:pt x="153" y="28"/>
                    <a:pt x="153" y="28"/>
                  </a:cubicBezTo>
                  <a:cubicBezTo>
                    <a:pt x="153" y="28"/>
                    <a:pt x="163" y="40"/>
                    <a:pt x="153" y="49"/>
                  </a:cubicBezTo>
                  <a:cubicBezTo>
                    <a:pt x="143" y="58"/>
                    <a:pt x="119" y="42"/>
                    <a:pt x="113" y="50"/>
                  </a:cubicBezTo>
                  <a:cubicBezTo>
                    <a:pt x="107" y="58"/>
                    <a:pt x="135" y="71"/>
                    <a:pt x="135" y="7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94" y="82"/>
                    <a:pt x="87" y="77"/>
                  </a:cubicBezTo>
                  <a:cubicBezTo>
                    <a:pt x="80" y="72"/>
                    <a:pt x="65" y="61"/>
                    <a:pt x="61" y="63"/>
                  </a:cubicBezTo>
                  <a:cubicBezTo>
                    <a:pt x="57" y="65"/>
                    <a:pt x="62" y="103"/>
                    <a:pt x="47" y="115"/>
                  </a:cubicBezTo>
                  <a:cubicBezTo>
                    <a:pt x="32" y="127"/>
                    <a:pt x="25" y="128"/>
                    <a:pt x="13" y="138"/>
                  </a:cubicBezTo>
                  <a:cubicBezTo>
                    <a:pt x="3" y="146"/>
                    <a:pt x="5" y="152"/>
                    <a:pt x="7" y="15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8"/>
                    <a:pt x="42" y="181"/>
                    <a:pt x="47" y="181"/>
                  </a:cubicBezTo>
                  <a:cubicBezTo>
                    <a:pt x="52" y="181"/>
                    <a:pt x="60" y="175"/>
                    <a:pt x="64" y="182"/>
                  </a:cubicBezTo>
                  <a:cubicBezTo>
                    <a:pt x="68" y="189"/>
                    <a:pt x="68" y="223"/>
                    <a:pt x="68" y="223"/>
                  </a:cubicBezTo>
                  <a:cubicBezTo>
                    <a:pt x="93" y="223"/>
                    <a:pt x="93" y="223"/>
                    <a:pt x="93" y="223"/>
                  </a:cubicBezTo>
                  <a:cubicBezTo>
                    <a:pt x="96" y="233"/>
                    <a:pt x="96" y="233"/>
                    <a:pt x="96" y="233"/>
                  </a:cubicBezTo>
                  <a:cubicBezTo>
                    <a:pt x="96" y="233"/>
                    <a:pt x="73" y="221"/>
                    <a:pt x="69" y="234"/>
                  </a:cubicBezTo>
                  <a:cubicBezTo>
                    <a:pt x="65" y="247"/>
                    <a:pt x="80" y="263"/>
                    <a:pt x="80" y="263"/>
                  </a:cubicBezTo>
                  <a:cubicBezTo>
                    <a:pt x="87" y="274"/>
                    <a:pt x="87" y="274"/>
                    <a:pt x="87" y="274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6" y="266"/>
                    <a:pt x="126" y="280"/>
                    <a:pt x="135" y="279"/>
                  </a:cubicBezTo>
                  <a:cubicBezTo>
                    <a:pt x="144" y="278"/>
                    <a:pt x="153" y="275"/>
                    <a:pt x="153" y="275"/>
                  </a:cubicBezTo>
                  <a:cubicBezTo>
                    <a:pt x="153" y="275"/>
                    <a:pt x="165" y="268"/>
                    <a:pt x="166" y="265"/>
                  </a:cubicBezTo>
                  <a:cubicBezTo>
                    <a:pt x="167" y="262"/>
                    <a:pt x="155" y="260"/>
                    <a:pt x="169" y="252"/>
                  </a:cubicBezTo>
                  <a:cubicBezTo>
                    <a:pt x="183" y="245"/>
                    <a:pt x="207" y="246"/>
                    <a:pt x="207" y="246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2" y="229"/>
                    <a:pt x="208" y="224"/>
                    <a:pt x="208" y="224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7" y="207"/>
                    <a:pt x="155" y="215"/>
                    <a:pt x="162" y="202"/>
                  </a:cubicBezTo>
                  <a:cubicBezTo>
                    <a:pt x="169" y="189"/>
                    <a:pt x="169" y="189"/>
                    <a:pt x="169" y="189"/>
                  </a:cubicBezTo>
                  <a:cubicBezTo>
                    <a:pt x="169" y="189"/>
                    <a:pt x="144" y="178"/>
                    <a:pt x="154" y="167"/>
                  </a:cubicBezTo>
                  <a:cubicBezTo>
                    <a:pt x="164" y="156"/>
                    <a:pt x="185" y="160"/>
                    <a:pt x="190" y="146"/>
                  </a:cubicBezTo>
                  <a:cubicBezTo>
                    <a:pt x="195" y="132"/>
                    <a:pt x="200" y="117"/>
                    <a:pt x="200" y="117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195" y="77"/>
                    <a:pt x="196" y="60"/>
                  </a:cubicBezTo>
                  <a:cubicBezTo>
                    <a:pt x="197" y="43"/>
                    <a:pt x="220" y="38"/>
                    <a:pt x="220" y="38"/>
                  </a:cubicBezTo>
                  <a:cubicBezTo>
                    <a:pt x="211" y="23"/>
                    <a:pt x="211" y="23"/>
                    <a:pt x="211" y="23"/>
                  </a:cubicBezTo>
                  <a:cubicBezTo>
                    <a:pt x="192" y="17"/>
                    <a:pt x="192" y="17"/>
                    <a:pt x="192" y="17"/>
                  </a:cubicBezTo>
                  <a:lnTo>
                    <a:pt x="182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0" name="Freeform 126">
              <a:extLst>
                <a:ext uri="{FF2B5EF4-FFF2-40B4-BE49-F238E27FC236}">
                  <a16:creationId xmlns:a16="http://schemas.microsoft.com/office/drawing/2014/main" id="{4FA24740-1683-287C-1367-B0A093DE7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6619" y="2708523"/>
              <a:ext cx="336877" cy="656985"/>
            </a:xfrm>
            <a:custGeom>
              <a:avLst/>
              <a:gdLst>
                <a:gd name="T0" fmla="*/ 28 w 591"/>
                <a:gd name="T1" fmla="*/ 21 h 1153"/>
                <a:gd name="T2" fmla="*/ 29 w 591"/>
                <a:gd name="T3" fmla="*/ 18 h 1153"/>
                <a:gd name="T4" fmla="*/ 26 w 591"/>
                <a:gd name="T5" fmla="*/ 15 h 1153"/>
                <a:gd name="T6" fmla="*/ 24 w 591"/>
                <a:gd name="T7" fmla="*/ 13 h 1153"/>
                <a:gd name="T8" fmla="*/ 23 w 591"/>
                <a:gd name="T9" fmla="*/ 13 h 1153"/>
                <a:gd name="T10" fmla="*/ 22 w 591"/>
                <a:gd name="T11" fmla="*/ 14 h 1153"/>
                <a:gd name="T12" fmla="*/ 24 w 591"/>
                <a:gd name="T13" fmla="*/ 19 h 1153"/>
                <a:gd name="T14" fmla="*/ 23 w 591"/>
                <a:gd name="T15" fmla="*/ 24 h 1153"/>
                <a:gd name="T16" fmla="*/ 20 w 591"/>
                <a:gd name="T17" fmla="*/ 23 h 1153"/>
                <a:gd name="T18" fmla="*/ 19 w 591"/>
                <a:gd name="T19" fmla="*/ 27 h 1153"/>
                <a:gd name="T20" fmla="*/ 13 w 591"/>
                <a:gd name="T21" fmla="*/ 28 h 1153"/>
                <a:gd name="T22" fmla="*/ 9 w 591"/>
                <a:gd name="T23" fmla="*/ 31 h 1153"/>
                <a:gd name="T24" fmla="*/ 13 w 591"/>
                <a:gd name="T25" fmla="*/ 32 h 1153"/>
                <a:gd name="T26" fmla="*/ 17 w 591"/>
                <a:gd name="T27" fmla="*/ 30 h 1153"/>
                <a:gd name="T28" fmla="*/ 21 w 591"/>
                <a:gd name="T29" fmla="*/ 34 h 1153"/>
                <a:gd name="T30" fmla="*/ 22 w 591"/>
                <a:gd name="T31" fmla="*/ 30 h 1153"/>
                <a:gd name="T32" fmla="*/ 24 w 591"/>
                <a:gd name="T33" fmla="*/ 31 h 1153"/>
                <a:gd name="T34" fmla="*/ 28 w 591"/>
                <a:gd name="T35" fmla="*/ 29 h 1153"/>
                <a:gd name="T36" fmla="*/ 30 w 591"/>
                <a:gd name="T37" fmla="*/ 28 h 1153"/>
                <a:gd name="T38" fmla="*/ 16 w 591"/>
                <a:gd name="T39" fmla="*/ 33 h 1153"/>
                <a:gd name="T40" fmla="*/ 15 w 591"/>
                <a:gd name="T41" fmla="*/ 35 h 1153"/>
                <a:gd name="T42" fmla="*/ 19 w 591"/>
                <a:gd name="T43" fmla="*/ 33 h 1153"/>
                <a:gd name="T44" fmla="*/ 13 w 591"/>
                <a:gd name="T45" fmla="*/ 36 h 1153"/>
                <a:gd name="T46" fmla="*/ 10 w 591"/>
                <a:gd name="T47" fmla="*/ 33 h 1153"/>
                <a:gd name="T48" fmla="*/ 9 w 591"/>
                <a:gd name="T49" fmla="*/ 36 h 1153"/>
                <a:gd name="T50" fmla="*/ 9 w 591"/>
                <a:gd name="T51" fmla="*/ 38 h 1153"/>
                <a:gd name="T52" fmla="*/ 12 w 591"/>
                <a:gd name="T53" fmla="*/ 41 h 1153"/>
                <a:gd name="T54" fmla="*/ 9 w 591"/>
                <a:gd name="T55" fmla="*/ 37 h 1153"/>
                <a:gd name="T56" fmla="*/ 23 w 591"/>
                <a:gd name="T57" fmla="*/ 22 h 1153"/>
                <a:gd name="T58" fmla="*/ 22 w 591"/>
                <a:gd name="T59" fmla="*/ 21 h 1153"/>
                <a:gd name="T60" fmla="*/ 19 w 591"/>
                <a:gd name="T61" fmla="*/ 4 h 1153"/>
                <a:gd name="T62" fmla="*/ 18 w 591"/>
                <a:gd name="T63" fmla="*/ 6 h 1153"/>
                <a:gd name="T64" fmla="*/ 21 w 591"/>
                <a:gd name="T65" fmla="*/ 10 h 1153"/>
                <a:gd name="T66" fmla="*/ 23 w 591"/>
                <a:gd name="T67" fmla="*/ 11 h 1153"/>
                <a:gd name="T68" fmla="*/ 21 w 591"/>
                <a:gd name="T69" fmla="*/ 9 h 1153"/>
                <a:gd name="T70" fmla="*/ 29 w 591"/>
                <a:gd name="T71" fmla="*/ 8 h 1153"/>
                <a:gd name="T72" fmla="*/ 27 w 591"/>
                <a:gd name="T73" fmla="*/ 5 h 1153"/>
                <a:gd name="T74" fmla="*/ 10 w 591"/>
                <a:gd name="T75" fmla="*/ 52 h 1153"/>
                <a:gd name="T76" fmla="*/ 11 w 591"/>
                <a:gd name="T77" fmla="*/ 49 h 1153"/>
                <a:gd name="T78" fmla="*/ 11 w 591"/>
                <a:gd name="T79" fmla="*/ 49 h 1153"/>
                <a:gd name="T80" fmla="*/ 12 w 591"/>
                <a:gd name="T81" fmla="*/ 42 h 1153"/>
                <a:gd name="T82" fmla="*/ 13 w 591"/>
                <a:gd name="T83" fmla="*/ 41 h 1153"/>
                <a:gd name="T84" fmla="*/ 13 w 591"/>
                <a:gd name="T85" fmla="*/ 41 h 1153"/>
                <a:gd name="T86" fmla="*/ 1 w 591"/>
                <a:gd name="T87" fmla="*/ 60 h 1153"/>
                <a:gd name="T88" fmla="*/ 5 w 591"/>
                <a:gd name="T89" fmla="*/ 59 h 1153"/>
                <a:gd name="T90" fmla="*/ 1 w 591"/>
                <a:gd name="T91" fmla="*/ 59 h 1153"/>
                <a:gd name="T92" fmla="*/ 10 w 591"/>
                <a:gd name="T93" fmla="*/ 53 h 1153"/>
                <a:gd name="T94" fmla="*/ 10 w 591"/>
                <a:gd name="T95" fmla="*/ 53 h 11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1"/>
                <a:gd name="T145" fmla="*/ 0 h 1153"/>
                <a:gd name="T146" fmla="*/ 591 w 591"/>
                <a:gd name="T147" fmla="*/ 1153 h 11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1" h="1153">
                  <a:moveTo>
                    <a:pt x="591" y="531"/>
                  </a:moveTo>
                  <a:cubicBezTo>
                    <a:pt x="591" y="531"/>
                    <a:pt x="559" y="513"/>
                    <a:pt x="560" y="499"/>
                  </a:cubicBezTo>
                  <a:cubicBezTo>
                    <a:pt x="561" y="485"/>
                    <a:pt x="562" y="459"/>
                    <a:pt x="556" y="447"/>
                  </a:cubicBezTo>
                  <a:cubicBezTo>
                    <a:pt x="550" y="435"/>
                    <a:pt x="526" y="418"/>
                    <a:pt x="529" y="401"/>
                  </a:cubicBezTo>
                  <a:cubicBezTo>
                    <a:pt x="532" y="384"/>
                    <a:pt x="548" y="389"/>
                    <a:pt x="548" y="389"/>
                  </a:cubicBezTo>
                  <a:cubicBezTo>
                    <a:pt x="545" y="362"/>
                    <a:pt x="545" y="362"/>
                    <a:pt x="545" y="362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47" y="349"/>
                    <a:pt x="547" y="349"/>
                    <a:pt x="547" y="349"/>
                  </a:cubicBezTo>
                  <a:cubicBezTo>
                    <a:pt x="547" y="349"/>
                    <a:pt x="542" y="331"/>
                    <a:pt x="538" y="321"/>
                  </a:cubicBezTo>
                  <a:cubicBezTo>
                    <a:pt x="534" y="311"/>
                    <a:pt x="520" y="303"/>
                    <a:pt x="520" y="303"/>
                  </a:cubicBezTo>
                  <a:cubicBezTo>
                    <a:pt x="516" y="290"/>
                    <a:pt x="516" y="290"/>
                    <a:pt x="516" y="290"/>
                  </a:cubicBezTo>
                  <a:cubicBezTo>
                    <a:pt x="516" y="290"/>
                    <a:pt x="501" y="283"/>
                    <a:pt x="492" y="276"/>
                  </a:cubicBezTo>
                  <a:cubicBezTo>
                    <a:pt x="483" y="269"/>
                    <a:pt x="468" y="253"/>
                    <a:pt x="468" y="244"/>
                  </a:cubicBezTo>
                  <a:cubicBezTo>
                    <a:pt x="468" y="235"/>
                    <a:pt x="465" y="231"/>
                    <a:pt x="465" y="231"/>
                  </a:cubicBezTo>
                  <a:cubicBezTo>
                    <a:pt x="465" y="231"/>
                    <a:pt x="442" y="214"/>
                    <a:pt x="439" y="226"/>
                  </a:cubicBezTo>
                  <a:cubicBezTo>
                    <a:pt x="436" y="238"/>
                    <a:pt x="448" y="241"/>
                    <a:pt x="448" y="241"/>
                  </a:cubicBezTo>
                  <a:cubicBezTo>
                    <a:pt x="455" y="237"/>
                    <a:pt x="455" y="237"/>
                    <a:pt x="455" y="237"/>
                  </a:cubicBezTo>
                  <a:cubicBezTo>
                    <a:pt x="455" y="237"/>
                    <a:pt x="463" y="256"/>
                    <a:pt x="459" y="256"/>
                  </a:cubicBezTo>
                  <a:cubicBezTo>
                    <a:pt x="455" y="256"/>
                    <a:pt x="450" y="249"/>
                    <a:pt x="450" y="249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28" y="237"/>
                    <a:pt x="428" y="237"/>
                    <a:pt x="428" y="237"/>
                  </a:cubicBezTo>
                  <a:cubicBezTo>
                    <a:pt x="416" y="237"/>
                    <a:pt x="416" y="237"/>
                    <a:pt x="416" y="237"/>
                  </a:cubicBezTo>
                  <a:cubicBezTo>
                    <a:pt x="430" y="261"/>
                    <a:pt x="430" y="261"/>
                    <a:pt x="430" y="261"/>
                  </a:cubicBezTo>
                  <a:cubicBezTo>
                    <a:pt x="418" y="264"/>
                    <a:pt x="418" y="264"/>
                    <a:pt x="418" y="264"/>
                  </a:cubicBezTo>
                  <a:cubicBezTo>
                    <a:pt x="437" y="296"/>
                    <a:pt x="437" y="296"/>
                    <a:pt x="437" y="296"/>
                  </a:cubicBezTo>
                  <a:cubicBezTo>
                    <a:pt x="430" y="304"/>
                    <a:pt x="430" y="304"/>
                    <a:pt x="430" y="304"/>
                  </a:cubicBezTo>
                  <a:cubicBezTo>
                    <a:pt x="430" y="304"/>
                    <a:pt x="466" y="322"/>
                    <a:pt x="464" y="337"/>
                  </a:cubicBezTo>
                  <a:cubicBezTo>
                    <a:pt x="462" y="352"/>
                    <a:pt x="456" y="373"/>
                    <a:pt x="456" y="373"/>
                  </a:cubicBezTo>
                  <a:cubicBezTo>
                    <a:pt x="454" y="391"/>
                    <a:pt x="454" y="391"/>
                    <a:pt x="454" y="391"/>
                  </a:cubicBezTo>
                  <a:cubicBezTo>
                    <a:pt x="454" y="391"/>
                    <a:pt x="475" y="404"/>
                    <a:pt x="465" y="411"/>
                  </a:cubicBezTo>
                  <a:cubicBezTo>
                    <a:pt x="455" y="418"/>
                    <a:pt x="447" y="414"/>
                    <a:pt x="447" y="414"/>
                  </a:cubicBezTo>
                  <a:cubicBezTo>
                    <a:pt x="447" y="414"/>
                    <a:pt x="454" y="444"/>
                    <a:pt x="443" y="450"/>
                  </a:cubicBezTo>
                  <a:cubicBezTo>
                    <a:pt x="432" y="456"/>
                    <a:pt x="409" y="464"/>
                    <a:pt x="409" y="464"/>
                  </a:cubicBezTo>
                  <a:cubicBezTo>
                    <a:pt x="409" y="473"/>
                    <a:pt x="409" y="473"/>
                    <a:pt x="409" y="473"/>
                  </a:cubicBezTo>
                  <a:cubicBezTo>
                    <a:pt x="409" y="473"/>
                    <a:pt x="398" y="477"/>
                    <a:pt x="389" y="467"/>
                  </a:cubicBezTo>
                  <a:cubicBezTo>
                    <a:pt x="380" y="457"/>
                    <a:pt x="383" y="448"/>
                    <a:pt x="383" y="448"/>
                  </a:cubicBezTo>
                  <a:cubicBezTo>
                    <a:pt x="386" y="435"/>
                    <a:pt x="386" y="435"/>
                    <a:pt x="386" y="435"/>
                  </a:cubicBezTo>
                  <a:cubicBezTo>
                    <a:pt x="386" y="435"/>
                    <a:pt x="360" y="440"/>
                    <a:pt x="364" y="450"/>
                  </a:cubicBezTo>
                  <a:cubicBezTo>
                    <a:pt x="368" y="460"/>
                    <a:pt x="381" y="474"/>
                    <a:pt x="379" y="481"/>
                  </a:cubicBezTo>
                  <a:cubicBezTo>
                    <a:pt x="377" y="488"/>
                    <a:pt x="363" y="504"/>
                    <a:pt x="367" y="514"/>
                  </a:cubicBezTo>
                  <a:cubicBezTo>
                    <a:pt x="371" y="524"/>
                    <a:pt x="384" y="539"/>
                    <a:pt x="374" y="540"/>
                  </a:cubicBezTo>
                  <a:cubicBezTo>
                    <a:pt x="364" y="541"/>
                    <a:pt x="338" y="529"/>
                    <a:pt x="329" y="530"/>
                  </a:cubicBezTo>
                  <a:cubicBezTo>
                    <a:pt x="320" y="531"/>
                    <a:pt x="281" y="546"/>
                    <a:pt x="278" y="546"/>
                  </a:cubicBezTo>
                  <a:cubicBezTo>
                    <a:pt x="275" y="546"/>
                    <a:pt x="259" y="546"/>
                    <a:pt x="259" y="546"/>
                  </a:cubicBezTo>
                  <a:cubicBezTo>
                    <a:pt x="251" y="538"/>
                    <a:pt x="251" y="538"/>
                    <a:pt x="251" y="538"/>
                  </a:cubicBezTo>
                  <a:cubicBezTo>
                    <a:pt x="229" y="555"/>
                    <a:pt x="229" y="555"/>
                    <a:pt x="229" y="555"/>
                  </a:cubicBezTo>
                  <a:cubicBezTo>
                    <a:pt x="229" y="555"/>
                    <a:pt x="202" y="600"/>
                    <a:pt x="198" y="600"/>
                  </a:cubicBezTo>
                  <a:cubicBezTo>
                    <a:pt x="194" y="600"/>
                    <a:pt x="179" y="601"/>
                    <a:pt x="179" y="601"/>
                  </a:cubicBezTo>
                  <a:cubicBezTo>
                    <a:pt x="179" y="601"/>
                    <a:pt x="184" y="625"/>
                    <a:pt x="191" y="625"/>
                  </a:cubicBezTo>
                  <a:cubicBezTo>
                    <a:pt x="198" y="625"/>
                    <a:pt x="210" y="621"/>
                    <a:pt x="210" y="621"/>
                  </a:cubicBezTo>
                  <a:cubicBezTo>
                    <a:pt x="210" y="621"/>
                    <a:pt x="229" y="632"/>
                    <a:pt x="234" y="630"/>
                  </a:cubicBezTo>
                  <a:cubicBezTo>
                    <a:pt x="239" y="628"/>
                    <a:pt x="241" y="607"/>
                    <a:pt x="241" y="607"/>
                  </a:cubicBezTo>
                  <a:cubicBezTo>
                    <a:pt x="256" y="615"/>
                    <a:pt x="256" y="615"/>
                    <a:pt x="256" y="615"/>
                  </a:cubicBezTo>
                  <a:cubicBezTo>
                    <a:pt x="256" y="615"/>
                    <a:pt x="290" y="598"/>
                    <a:pt x="295" y="595"/>
                  </a:cubicBezTo>
                  <a:cubicBezTo>
                    <a:pt x="300" y="592"/>
                    <a:pt x="313" y="601"/>
                    <a:pt x="321" y="600"/>
                  </a:cubicBezTo>
                  <a:cubicBezTo>
                    <a:pt x="329" y="599"/>
                    <a:pt x="314" y="584"/>
                    <a:pt x="331" y="584"/>
                  </a:cubicBezTo>
                  <a:cubicBezTo>
                    <a:pt x="348" y="584"/>
                    <a:pt x="352" y="593"/>
                    <a:pt x="352" y="593"/>
                  </a:cubicBezTo>
                  <a:cubicBezTo>
                    <a:pt x="352" y="593"/>
                    <a:pt x="372" y="580"/>
                    <a:pt x="376" y="588"/>
                  </a:cubicBezTo>
                  <a:cubicBezTo>
                    <a:pt x="380" y="596"/>
                    <a:pt x="367" y="615"/>
                    <a:pt x="367" y="615"/>
                  </a:cubicBezTo>
                  <a:cubicBezTo>
                    <a:pt x="367" y="615"/>
                    <a:pt x="387" y="654"/>
                    <a:pt x="407" y="654"/>
                  </a:cubicBezTo>
                  <a:cubicBezTo>
                    <a:pt x="427" y="654"/>
                    <a:pt x="425" y="616"/>
                    <a:pt x="425" y="616"/>
                  </a:cubicBezTo>
                  <a:cubicBezTo>
                    <a:pt x="447" y="612"/>
                    <a:pt x="447" y="612"/>
                    <a:pt x="447" y="612"/>
                  </a:cubicBezTo>
                  <a:cubicBezTo>
                    <a:pt x="447" y="612"/>
                    <a:pt x="430" y="592"/>
                    <a:pt x="427" y="591"/>
                  </a:cubicBezTo>
                  <a:cubicBezTo>
                    <a:pt x="424" y="590"/>
                    <a:pt x="415" y="583"/>
                    <a:pt x="415" y="583"/>
                  </a:cubicBezTo>
                  <a:cubicBezTo>
                    <a:pt x="426" y="568"/>
                    <a:pt x="426" y="568"/>
                    <a:pt x="426" y="568"/>
                  </a:cubicBezTo>
                  <a:cubicBezTo>
                    <a:pt x="435" y="567"/>
                    <a:pt x="429" y="581"/>
                    <a:pt x="439" y="581"/>
                  </a:cubicBezTo>
                  <a:cubicBezTo>
                    <a:pt x="449" y="581"/>
                    <a:pt x="452" y="594"/>
                    <a:pt x="452" y="594"/>
                  </a:cubicBezTo>
                  <a:cubicBezTo>
                    <a:pt x="464" y="585"/>
                    <a:pt x="464" y="585"/>
                    <a:pt x="464" y="585"/>
                  </a:cubicBezTo>
                  <a:cubicBezTo>
                    <a:pt x="464" y="585"/>
                    <a:pt x="479" y="593"/>
                    <a:pt x="494" y="589"/>
                  </a:cubicBezTo>
                  <a:cubicBezTo>
                    <a:pt x="509" y="585"/>
                    <a:pt x="491" y="564"/>
                    <a:pt x="508" y="566"/>
                  </a:cubicBezTo>
                  <a:cubicBezTo>
                    <a:pt x="525" y="568"/>
                    <a:pt x="516" y="596"/>
                    <a:pt x="527" y="590"/>
                  </a:cubicBezTo>
                  <a:cubicBezTo>
                    <a:pt x="538" y="584"/>
                    <a:pt x="520" y="561"/>
                    <a:pt x="528" y="556"/>
                  </a:cubicBezTo>
                  <a:cubicBezTo>
                    <a:pt x="536" y="551"/>
                    <a:pt x="541" y="553"/>
                    <a:pt x="541" y="553"/>
                  </a:cubicBezTo>
                  <a:cubicBezTo>
                    <a:pt x="541" y="553"/>
                    <a:pt x="543" y="522"/>
                    <a:pt x="555" y="534"/>
                  </a:cubicBezTo>
                  <a:cubicBezTo>
                    <a:pt x="567" y="546"/>
                    <a:pt x="548" y="571"/>
                    <a:pt x="568" y="570"/>
                  </a:cubicBezTo>
                  <a:cubicBezTo>
                    <a:pt x="588" y="569"/>
                    <a:pt x="578" y="538"/>
                    <a:pt x="578" y="538"/>
                  </a:cubicBezTo>
                  <a:lnTo>
                    <a:pt x="591" y="531"/>
                  </a:lnTo>
                  <a:close/>
                  <a:moveTo>
                    <a:pt x="338" y="618"/>
                  </a:moveTo>
                  <a:cubicBezTo>
                    <a:pt x="338" y="618"/>
                    <a:pt x="321" y="605"/>
                    <a:pt x="312" y="606"/>
                  </a:cubicBezTo>
                  <a:cubicBezTo>
                    <a:pt x="292" y="608"/>
                    <a:pt x="299" y="628"/>
                    <a:pt x="299" y="628"/>
                  </a:cubicBezTo>
                  <a:cubicBezTo>
                    <a:pt x="299" y="628"/>
                    <a:pt x="282" y="622"/>
                    <a:pt x="272" y="624"/>
                  </a:cubicBezTo>
                  <a:cubicBezTo>
                    <a:pt x="262" y="626"/>
                    <a:pt x="269" y="648"/>
                    <a:pt x="269" y="648"/>
                  </a:cubicBezTo>
                  <a:cubicBezTo>
                    <a:pt x="257" y="659"/>
                    <a:pt x="257" y="659"/>
                    <a:pt x="257" y="659"/>
                  </a:cubicBezTo>
                  <a:cubicBezTo>
                    <a:pt x="257" y="659"/>
                    <a:pt x="270" y="667"/>
                    <a:pt x="276" y="674"/>
                  </a:cubicBezTo>
                  <a:cubicBezTo>
                    <a:pt x="282" y="681"/>
                    <a:pt x="305" y="695"/>
                    <a:pt x="305" y="695"/>
                  </a:cubicBezTo>
                  <a:cubicBezTo>
                    <a:pt x="305" y="695"/>
                    <a:pt x="299" y="664"/>
                    <a:pt x="314" y="654"/>
                  </a:cubicBezTo>
                  <a:cubicBezTo>
                    <a:pt x="329" y="644"/>
                    <a:pt x="351" y="672"/>
                    <a:pt x="351" y="672"/>
                  </a:cubicBezTo>
                  <a:cubicBezTo>
                    <a:pt x="351" y="672"/>
                    <a:pt x="356" y="650"/>
                    <a:pt x="358" y="638"/>
                  </a:cubicBezTo>
                  <a:cubicBezTo>
                    <a:pt x="360" y="626"/>
                    <a:pt x="351" y="615"/>
                    <a:pt x="351" y="615"/>
                  </a:cubicBezTo>
                  <a:lnTo>
                    <a:pt x="338" y="618"/>
                  </a:lnTo>
                  <a:close/>
                  <a:moveTo>
                    <a:pt x="241" y="709"/>
                  </a:moveTo>
                  <a:cubicBezTo>
                    <a:pt x="241" y="698"/>
                    <a:pt x="256" y="689"/>
                    <a:pt x="256" y="689"/>
                  </a:cubicBezTo>
                  <a:cubicBezTo>
                    <a:pt x="255" y="677"/>
                    <a:pt x="232" y="662"/>
                    <a:pt x="232" y="662"/>
                  </a:cubicBezTo>
                  <a:cubicBezTo>
                    <a:pt x="232" y="662"/>
                    <a:pt x="231" y="652"/>
                    <a:pt x="224" y="649"/>
                  </a:cubicBezTo>
                  <a:cubicBezTo>
                    <a:pt x="217" y="646"/>
                    <a:pt x="212" y="648"/>
                    <a:pt x="212" y="648"/>
                  </a:cubicBezTo>
                  <a:cubicBezTo>
                    <a:pt x="212" y="648"/>
                    <a:pt x="191" y="634"/>
                    <a:pt x="184" y="634"/>
                  </a:cubicBezTo>
                  <a:cubicBezTo>
                    <a:pt x="177" y="634"/>
                    <a:pt x="168" y="646"/>
                    <a:pt x="168" y="646"/>
                  </a:cubicBezTo>
                  <a:cubicBezTo>
                    <a:pt x="143" y="660"/>
                    <a:pt x="143" y="660"/>
                    <a:pt x="143" y="660"/>
                  </a:cubicBezTo>
                  <a:cubicBezTo>
                    <a:pt x="162" y="693"/>
                    <a:pt x="162" y="693"/>
                    <a:pt x="162" y="693"/>
                  </a:cubicBezTo>
                  <a:cubicBezTo>
                    <a:pt x="174" y="687"/>
                    <a:pt x="174" y="687"/>
                    <a:pt x="174" y="687"/>
                  </a:cubicBezTo>
                  <a:cubicBezTo>
                    <a:pt x="174" y="687"/>
                    <a:pt x="167" y="668"/>
                    <a:pt x="175" y="672"/>
                  </a:cubicBezTo>
                  <a:cubicBezTo>
                    <a:pt x="183" y="676"/>
                    <a:pt x="195" y="697"/>
                    <a:pt x="195" y="697"/>
                  </a:cubicBezTo>
                  <a:cubicBezTo>
                    <a:pt x="194" y="722"/>
                    <a:pt x="194" y="722"/>
                    <a:pt x="194" y="722"/>
                  </a:cubicBezTo>
                  <a:cubicBezTo>
                    <a:pt x="182" y="727"/>
                    <a:pt x="182" y="727"/>
                    <a:pt x="182" y="727"/>
                  </a:cubicBezTo>
                  <a:cubicBezTo>
                    <a:pt x="182" y="727"/>
                    <a:pt x="193" y="774"/>
                    <a:pt x="203" y="776"/>
                  </a:cubicBezTo>
                  <a:cubicBezTo>
                    <a:pt x="213" y="778"/>
                    <a:pt x="211" y="746"/>
                    <a:pt x="211" y="746"/>
                  </a:cubicBezTo>
                  <a:cubicBezTo>
                    <a:pt x="232" y="753"/>
                    <a:pt x="232" y="753"/>
                    <a:pt x="232" y="753"/>
                  </a:cubicBezTo>
                  <a:cubicBezTo>
                    <a:pt x="232" y="753"/>
                    <a:pt x="229" y="780"/>
                    <a:pt x="233" y="780"/>
                  </a:cubicBezTo>
                  <a:cubicBezTo>
                    <a:pt x="237" y="780"/>
                    <a:pt x="251" y="756"/>
                    <a:pt x="251" y="756"/>
                  </a:cubicBezTo>
                  <a:cubicBezTo>
                    <a:pt x="251" y="756"/>
                    <a:pt x="241" y="720"/>
                    <a:pt x="241" y="709"/>
                  </a:cubicBezTo>
                  <a:close/>
                  <a:moveTo>
                    <a:pt x="183" y="693"/>
                  </a:moveTo>
                  <a:cubicBezTo>
                    <a:pt x="172" y="718"/>
                    <a:pt x="172" y="718"/>
                    <a:pt x="172" y="718"/>
                  </a:cubicBezTo>
                  <a:cubicBezTo>
                    <a:pt x="184" y="715"/>
                    <a:pt x="184" y="715"/>
                    <a:pt x="184" y="715"/>
                  </a:cubicBezTo>
                  <a:lnTo>
                    <a:pt x="183" y="693"/>
                  </a:lnTo>
                  <a:close/>
                  <a:moveTo>
                    <a:pt x="424" y="424"/>
                  </a:moveTo>
                  <a:cubicBezTo>
                    <a:pt x="432" y="423"/>
                    <a:pt x="432" y="423"/>
                    <a:pt x="432" y="423"/>
                  </a:cubicBezTo>
                  <a:cubicBezTo>
                    <a:pt x="431" y="407"/>
                    <a:pt x="431" y="407"/>
                    <a:pt x="431" y="407"/>
                  </a:cubicBezTo>
                  <a:cubicBezTo>
                    <a:pt x="425" y="405"/>
                    <a:pt x="425" y="405"/>
                    <a:pt x="425" y="405"/>
                  </a:cubicBezTo>
                  <a:cubicBezTo>
                    <a:pt x="415" y="392"/>
                    <a:pt x="415" y="392"/>
                    <a:pt x="415" y="392"/>
                  </a:cubicBezTo>
                  <a:cubicBezTo>
                    <a:pt x="411" y="400"/>
                    <a:pt x="411" y="400"/>
                    <a:pt x="411" y="400"/>
                  </a:cubicBezTo>
                  <a:cubicBezTo>
                    <a:pt x="419" y="409"/>
                    <a:pt x="419" y="409"/>
                    <a:pt x="419" y="409"/>
                  </a:cubicBezTo>
                  <a:lnTo>
                    <a:pt x="424" y="424"/>
                  </a:lnTo>
                  <a:close/>
                  <a:moveTo>
                    <a:pt x="372" y="57"/>
                  </a:moveTo>
                  <a:cubicBezTo>
                    <a:pt x="374" y="72"/>
                    <a:pt x="374" y="72"/>
                    <a:pt x="374" y="72"/>
                  </a:cubicBezTo>
                  <a:cubicBezTo>
                    <a:pt x="374" y="72"/>
                    <a:pt x="391" y="83"/>
                    <a:pt x="391" y="90"/>
                  </a:cubicBezTo>
                  <a:cubicBezTo>
                    <a:pt x="391" y="97"/>
                    <a:pt x="384" y="110"/>
                    <a:pt x="384" y="110"/>
                  </a:cubicBezTo>
                  <a:cubicBezTo>
                    <a:pt x="384" y="110"/>
                    <a:pt x="402" y="132"/>
                    <a:pt x="397" y="133"/>
                  </a:cubicBezTo>
                  <a:cubicBezTo>
                    <a:pt x="391" y="134"/>
                    <a:pt x="359" y="125"/>
                    <a:pt x="354" y="123"/>
                  </a:cubicBezTo>
                  <a:cubicBezTo>
                    <a:pt x="348" y="122"/>
                    <a:pt x="369" y="143"/>
                    <a:pt x="369" y="143"/>
                  </a:cubicBezTo>
                  <a:cubicBezTo>
                    <a:pt x="352" y="161"/>
                    <a:pt x="352" y="161"/>
                    <a:pt x="352" y="161"/>
                  </a:cubicBezTo>
                  <a:cubicBezTo>
                    <a:pt x="352" y="161"/>
                    <a:pt x="358" y="173"/>
                    <a:pt x="361" y="179"/>
                  </a:cubicBezTo>
                  <a:cubicBezTo>
                    <a:pt x="363" y="184"/>
                    <a:pt x="390" y="198"/>
                    <a:pt x="390" y="198"/>
                  </a:cubicBezTo>
                  <a:cubicBezTo>
                    <a:pt x="390" y="198"/>
                    <a:pt x="381" y="231"/>
                    <a:pt x="404" y="230"/>
                  </a:cubicBezTo>
                  <a:cubicBezTo>
                    <a:pt x="414" y="229"/>
                    <a:pt x="398" y="211"/>
                    <a:pt x="410" y="211"/>
                  </a:cubicBezTo>
                  <a:cubicBezTo>
                    <a:pt x="423" y="211"/>
                    <a:pt x="433" y="211"/>
                    <a:pt x="433" y="211"/>
                  </a:cubicBezTo>
                  <a:cubicBezTo>
                    <a:pt x="437" y="205"/>
                    <a:pt x="437" y="205"/>
                    <a:pt x="437" y="205"/>
                  </a:cubicBezTo>
                  <a:cubicBezTo>
                    <a:pt x="412" y="189"/>
                    <a:pt x="412" y="189"/>
                    <a:pt x="412" y="189"/>
                  </a:cubicBezTo>
                  <a:cubicBezTo>
                    <a:pt x="399" y="189"/>
                    <a:pt x="399" y="189"/>
                    <a:pt x="399" y="189"/>
                  </a:cubicBezTo>
                  <a:cubicBezTo>
                    <a:pt x="399" y="189"/>
                    <a:pt x="365" y="176"/>
                    <a:pt x="381" y="169"/>
                  </a:cubicBezTo>
                  <a:cubicBezTo>
                    <a:pt x="398" y="162"/>
                    <a:pt x="409" y="179"/>
                    <a:pt x="409" y="179"/>
                  </a:cubicBezTo>
                  <a:cubicBezTo>
                    <a:pt x="409" y="179"/>
                    <a:pt x="423" y="168"/>
                    <a:pt x="433" y="166"/>
                  </a:cubicBezTo>
                  <a:cubicBezTo>
                    <a:pt x="442" y="165"/>
                    <a:pt x="513" y="202"/>
                    <a:pt x="519" y="198"/>
                  </a:cubicBezTo>
                  <a:cubicBezTo>
                    <a:pt x="524" y="194"/>
                    <a:pt x="505" y="155"/>
                    <a:pt x="523" y="148"/>
                  </a:cubicBezTo>
                  <a:cubicBezTo>
                    <a:pt x="541" y="141"/>
                    <a:pt x="539" y="157"/>
                    <a:pt x="557" y="147"/>
                  </a:cubicBezTo>
                  <a:cubicBezTo>
                    <a:pt x="575" y="137"/>
                    <a:pt x="578" y="130"/>
                    <a:pt x="578" y="130"/>
                  </a:cubicBezTo>
                  <a:cubicBezTo>
                    <a:pt x="542" y="107"/>
                    <a:pt x="542" y="107"/>
                    <a:pt x="542" y="107"/>
                  </a:cubicBezTo>
                  <a:cubicBezTo>
                    <a:pt x="542" y="107"/>
                    <a:pt x="542" y="83"/>
                    <a:pt x="535" y="78"/>
                  </a:cubicBezTo>
                  <a:cubicBezTo>
                    <a:pt x="528" y="72"/>
                    <a:pt x="523" y="96"/>
                    <a:pt x="523" y="96"/>
                  </a:cubicBezTo>
                  <a:cubicBezTo>
                    <a:pt x="523" y="96"/>
                    <a:pt x="455" y="80"/>
                    <a:pt x="440" y="69"/>
                  </a:cubicBezTo>
                  <a:cubicBezTo>
                    <a:pt x="424" y="58"/>
                    <a:pt x="350" y="0"/>
                    <a:pt x="340" y="11"/>
                  </a:cubicBezTo>
                  <a:cubicBezTo>
                    <a:pt x="330" y="22"/>
                    <a:pt x="372" y="57"/>
                    <a:pt x="372" y="57"/>
                  </a:cubicBezTo>
                  <a:close/>
                  <a:moveTo>
                    <a:pt x="194" y="984"/>
                  </a:moveTo>
                  <a:cubicBezTo>
                    <a:pt x="209" y="984"/>
                    <a:pt x="209" y="984"/>
                    <a:pt x="209" y="984"/>
                  </a:cubicBezTo>
                  <a:cubicBezTo>
                    <a:pt x="192" y="972"/>
                    <a:pt x="192" y="972"/>
                    <a:pt x="192" y="972"/>
                  </a:cubicBezTo>
                  <a:lnTo>
                    <a:pt x="194" y="984"/>
                  </a:lnTo>
                  <a:close/>
                  <a:moveTo>
                    <a:pt x="208" y="933"/>
                  </a:moveTo>
                  <a:cubicBezTo>
                    <a:pt x="210" y="942"/>
                    <a:pt x="214" y="942"/>
                    <a:pt x="214" y="942"/>
                  </a:cubicBezTo>
                  <a:cubicBezTo>
                    <a:pt x="224" y="944"/>
                    <a:pt x="225" y="934"/>
                    <a:pt x="225" y="934"/>
                  </a:cubicBezTo>
                  <a:cubicBezTo>
                    <a:pt x="225" y="934"/>
                    <a:pt x="240" y="933"/>
                    <a:pt x="233" y="922"/>
                  </a:cubicBezTo>
                  <a:cubicBezTo>
                    <a:pt x="226" y="912"/>
                    <a:pt x="205" y="924"/>
                    <a:pt x="208" y="933"/>
                  </a:cubicBezTo>
                  <a:close/>
                  <a:moveTo>
                    <a:pt x="214" y="956"/>
                  </a:moveTo>
                  <a:cubicBezTo>
                    <a:pt x="204" y="952"/>
                    <a:pt x="205" y="961"/>
                    <a:pt x="205" y="961"/>
                  </a:cubicBezTo>
                  <a:cubicBezTo>
                    <a:pt x="220" y="968"/>
                    <a:pt x="225" y="960"/>
                    <a:pt x="214" y="956"/>
                  </a:cubicBezTo>
                  <a:close/>
                  <a:moveTo>
                    <a:pt x="230" y="810"/>
                  </a:moveTo>
                  <a:cubicBezTo>
                    <a:pt x="230" y="814"/>
                    <a:pt x="217" y="820"/>
                    <a:pt x="217" y="820"/>
                  </a:cubicBezTo>
                  <a:cubicBezTo>
                    <a:pt x="234" y="829"/>
                    <a:pt x="234" y="829"/>
                    <a:pt x="234" y="829"/>
                  </a:cubicBezTo>
                  <a:cubicBezTo>
                    <a:pt x="234" y="829"/>
                    <a:pt x="230" y="806"/>
                    <a:pt x="230" y="810"/>
                  </a:cubicBezTo>
                  <a:close/>
                  <a:moveTo>
                    <a:pt x="252" y="792"/>
                  </a:moveTo>
                  <a:cubicBezTo>
                    <a:pt x="252" y="796"/>
                    <a:pt x="248" y="805"/>
                    <a:pt x="248" y="80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8" y="814"/>
                    <a:pt x="258" y="814"/>
                    <a:pt x="258" y="814"/>
                  </a:cubicBezTo>
                  <a:cubicBezTo>
                    <a:pt x="258" y="814"/>
                    <a:pt x="252" y="788"/>
                    <a:pt x="252" y="792"/>
                  </a:cubicBezTo>
                  <a:close/>
                  <a:moveTo>
                    <a:pt x="32" y="1144"/>
                  </a:moveTo>
                  <a:cubicBezTo>
                    <a:pt x="36" y="1144"/>
                    <a:pt x="54" y="1138"/>
                    <a:pt x="54" y="1138"/>
                  </a:cubicBezTo>
                  <a:cubicBezTo>
                    <a:pt x="36" y="1129"/>
                    <a:pt x="36" y="1129"/>
                    <a:pt x="36" y="1129"/>
                  </a:cubicBezTo>
                  <a:cubicBezTo>
                    <a:pt x="36" y="1129"/>
                    <a:pt x="28" y="1144"/>
                    <a:pt x="32" y="1144"/>
                  </a:cubicBezTo>
                  <a:close/>
                  <a:moveTo>
                    <a:pt x="81" y="1117"/>
                  </a:moveTo>
                  <a:cubicBezTo>
                    <a:pt x="72" y="1100"/>
                    <a:pt x="72" y="1100"/>
                    <a:pt x="72" y="1100"/>
                  </a:cubicBezTo>
                  <a:cubicBezTo>
                    <a:pt x="72" y="1110"/>
                    <a:pt x="72" y="1110"/>
                    <a:pt x="72" y="1110"/>
                  </a:cubicBezTo>
                  <a:cubicBezTo>
                    <a:pt x="70" y="1126"/>
                    <a:pt x="85" y="1133"/>
                    <a:pt x="90" y="1125"/>
                  </a:cubicBezTo>
                  <a:cubicBezTo>
                    <a:pt x="96" y="1117"/>
                    <a:pt x="81" y="1117"/>
                    <a:pt x="81" y="1117"/>
                  </a:cubicBezTo>
                  <a:close/>
                  <a:moveTo>
                    <a:pt x="16" y="1134"/>
                  </a:moveTo>
                  <a:cubicBezTo>
                    <a:pt x="0" y="1133"/>
                    <a:pt x="9" y="1150"/>
                    <a:pt x="9" y="1150"/>
                  </a:cubicBezTo>
                  <a:cubicBezTo>
                    <a:pt x="21" y="1153"/>
                    <a:pt x="32" y="1136"/>
                    <a:pt x="16" y="1134"/>
                  </a:cubicBezTo>
                  <a:close/>
                  <a:moveTo>
                    <a:pt x="118" y="1033"/>
                  </a:moveTo>
                  <a:cubicBezTo>
                    <a:pt x="118" y="1041"/>
                    <a:pt x="129" y="1041"/>
                    <a:pt x="129" y="1041"/>
                  </a:cubicBezTo>
                  <a:cubicBezTo>
                    <a:pt x="136" y="1029"/>
                    <a:pt x="118" y="1025"/>
                    <a:pt x="118" y="1033"/>
                  </a:cubicBezTo>
                  <a:close/>
                  <a:moveTo>
                    <a:pt x="184" y="1008"/>
                  </a:moveTo>
                  <a:cubicBezTo>
                    <a:pt x="174" y="1018"/>
                    <a:pt x="165" y="1050"/>
                    <a:pt x="165" y="1050"/>
                  </a:cubicBezTo>
                  <a:cubicBezTo>
                    <a:pt x="178" y="1053"/>
                    <a:pt x="178" y="1053"/>
                    <a:pt x="178" y="1053"/>
                  </a:cubicBezTo>
                  <a:cubicBezTo>
                    <a:pt x="178" y="1053"/>
                    <a:pt x="190" y="1032"/>
                    <a:pt x="186" y="1032"/>
                  </a:cubicBezTo>
                  <a:cubicBezTo>
                    <a:pt x="182" y="1032"/>
                    <a:pt x="198" y="1014"/>
                    <a:pt x="198" y="1014"/>
                  </a:cubicBezTo>
                  <a:cubicBezTo>
                    <a:pt x="198" y="1014"/>
                    <a:pt x="193" y="997"/>
                    <a:pt x="184" y="100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1" name="Freeform 127">
              <a:extLst>
                <a:ext uri="{FF2B5EF4-FFF2-40B4-BE49-F238E27FC236}">
                  <a16:creationId xmlns:a16="http://schemas.microsoft.com/office/drawing/2014/main" id="{4D49F881-8ACC-41C1-976D-D2FA45D03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3220" y="2713097"/>
              <a:ext cx="455775" cy="254562"/>
            </a:xfrm>
            <a:custGeom>
              <a:avLst/>
              <a:gdLst>
                <a:gd name="T0" fmla="*/ 40 w 798"/>
                <a:gd name="T1" fmla="*/ 13 h 447"/>
                <a:gd name="T2" fmla="*/ 39 w 798"/>
                <a:gd name="T3" fmla="*/ 12 h 447"/>
                <a:gd name="T4" fmla="*/ 38 w 798"/>
                <a:gd name="T5" fmla="*/ 11 h 447"/>
                <a:gd name="T6" fmla="*/ 37 w 798"/>
                <a:gd name="T7" fmla="*/ 12 h 447"/>
                <a:gd name="T8" fmla="*/ 36 w 798"/>
                <a:gd name="T9" fmla="*/ 12 h 447"/>
                <a:gd name="T10" fmla="*/ 35 w 798"/>
                <a:gd name="T11" fmla="*/ 11 h 447"/>
                <a:gd name="T12" fmla="*/ 36 w 798"/>
                <a:gd name="T13" fmla="*/ 9 h 447"/>
                <a:gd name="T14" fmla="*/ 34 w 798"/>
                <a:gd name="T15" fmla="*/ 10 h 447"/>
                <a:gd name="T16" fmla="*/ 33 w 798"/>
                <a:gd name="T17" fmla="*/ 11 h 447"/>
                <a:gd name="T18" fmla="*/ 31 w 798"/>
                <a:gd name="T19" fmla="*/ 12 h 447"/>
                <a:gd name="T20" fmla="*/ 30 w 798"/>
                <a:gd name="T21" fmla="*/ 13 h 447"/>
                <a:gd name="T22" fmla="*/ 27 w 798"/>
                <a:gd name="T23" fmla="*/ 12 h 447"/>
                <a:gd name="T24" fmla="*/ 25 w 798"/>
                <a:gd name="T25" fmla="*/ 10 h 447"/>
                <a:gd name="T26" fmla="*/ 23 w 798"/>
                <a:gd name="T27" fmla="*/ 7 h 447"/>
                <a:gd name="T28" fmla="*/ 20 w 798"/>
                <a:gd name="T29" fmla="*/ 6 h 447"/>
                <a:gd name="T30" fmla="*/ 14 w 798"/>
                <a:gd name="T31" fmla="*/ 6 h 447"/>
                <a:gd name="T32" fmla="*/ 9 w 798"/>
                <a:gd name="T33" fmla="*/ 2 h 447"/>
                <a:gd name="T34" fmla="*/ 9 w 798"/>
                <a:gd name="T35" fmla="*/ 4 h 447"/>
                <a:gd name="T36" fmla="*/ 8 w 798"/>
                <a:gd name="T37" fmla="*/ 3 h 447"/>
                <a:gd name="T38" fmla="*/ 7 w 798"/>
                <a:gd name="T39" fmla="*/ 1 h 447"/>
                <a:gd name="T40" fmla="*/ 6 w 798"/>
                <a:gd name="T41" fmla="*/ 1 h 447"/>
                <a:gd name="T42" fmla="*/ 6 w 798"/>
                <a:gd name="T43" fmla="*/ 2 h 447"/>
                <a:gd name="T44" fmla="*/ 5 w 798"/>
                <a:gd name="T45" fmla="*/ 2 h 447"/>
                <a:gd name="T46" fmla="*/ 6 w 798"/>
                <a:gd name="T47" fmla="*/ 0 h 447"/>
                <a:gd name="T48" fmla="*/ 0 w 798"/>
                <a:gd name="T49" fmla="*/ 1 h 447"/>
                <a:gd name="T50" fmla="*/ 2 w 798"/>
                <a:gd name="T51" fmla="*/ 11 h 447"/>
                <a:gd name="T52" fmla="*/ 5 w 798"/>
                <a:gd name="T53" fmla="*/ 12 h 447"/>
                <a:gd name="T54" fmla="*/ 6 w 798"/>
                <a:gd name="T55" fmla="*/ 9 h 447"/>
                <a:gd name="T56" fmla="*/ 7 w 798"/>
                <a:gd name="T57" fmla="*/ 9 h 447"/>
                <a:gd name="T58" fmla="*/ 7 w 798"/>
                <a:gd name="T59" fmla="*/ 8 h 447"/>
                <a:gd name="T60" fmla="*/ 8 w 798"/>
                <a:gd name="T61" fmla="*/ 8 h 447"/>
                <a:gd name="T62" fmla="*/ 9 w 798"/>
                <a:gd name="T63" fmla="*/ 9 h 447"/>
                <a:gd name="T64" fmla="*/ 10 w 798"/>
                <a:gd name="T65" fmla="*/ 9 h 447"/>
                <a:gd name="T66" fmla="*/ 12 w 798"/>
                <a:gd name="T67" fmla="*/ 10 h 447"/>
                <a:gd name="T68" fmla="*/ 13 w 798"/>
                <a:gd name="T69" fmla="*/ 12 h 447"/>
                <a:gd name="T70" fmla="*/ 15 w 798"/>
                <a:gd name="T71" fmla="*/ 12 h 447"/>
                <a:gd name="T72" fmla="*/ 16 w 798"/>
                <a:gd name="T73" fmla="*/ 13 h 447"/>
                <a:gd name="T74" fmla="*/ 18 w 798"/>
                <a:gd name="T75" fmla="*/ 15 h 447"/>
                <a:gd name="T76" fmla="*/ 20 w 798"/>
                <a:gd name="T77" fmla="*/ 16 h 447"/>
                <a:gd name="T78" fmla="*/ 22 w 798"/>
                <a:gd name="T79" fmla="*/ 18 h 447"/>
                <a:gd name="T80" fmla="*/ 23 w 798"/>
                <a:gd name="T81" fmla="*/ 19 h 447"/>
                <a:gd name="T82" fmla="*/ 25 w 798"/>
                <a:gd name="T83" fmla="*/ 19 h 447"/>
                <a:gd name="T84" fmla="*/ 27 w 798"/>
                <a:gd name="T85" fmla="*/ 20 h 447"/>
                <a:gd name="T86" fmla="*/ 29 w 798"/>
                <a:gd name="T87" fmla="*/ 22 h 447"/>
                <a:gd name="T88" fmla="*/ 30 w 798"/>
                <a:gd name="T89" fmla="*/ 23 h 447"/>
                <a:gd name="T90" fmla="*/ 30 w 798"/>
                <a:gd name="T91" fmla="*/ 23 h 447"/>
                <a:gd name="T92" fmla="*/ 31 w 798"/>
                <a:gd name="T93" fmla="*/ 23 h 447"/>
                <a:gd name="T94" fmla="*/ 32 w 798"/>
                <a:gd name="T95" fmla="*/ 23 h 447"/>
                <a:gd name="T96" fmla="*/ 33 w 798"/>
                <a:gd name="T97" fmla="*/ 21 h 447"/>
                <a:gd name="T98" fmla="*/ 32 w 798"/>
                <a:gd name="T99" fmla="*/ 18 h 447"/>
                <a:gd name="T100" fmla="*/ 30 w 798"/>
                <a:gd name="T101" fmla="*/ 18 h 447"/>
                <a:gd name="T102" fmla="*/ 30 w 798"/>
                <a:gd name="T103" fmla="*/ 17 h 447"/>
                <a:gd name="T104" fmla="*/ 32 w 798"/>
                <a:gd name="T105" fmla="*/ 16 h 447"/>
                <a:gd name="T106" fmla="*/ 32 w 798"/>
                <a:gd name="T107" fmla="*/ 15 h 447"/>
                <a:gd name="T108" fmla="*/ 33 w 798"/>
                <a:gd name="T109" fmla="*/ 14 h 447"/>
                <a:gd name="T110" fmla="*/ 34 w 798"/>
                <a:gd name="T111" fmla="*/ 13 h 447"/>
                <a:gd name="T112" fmla="*/ 36 w 798"/>
                <a:gd name="T113" fmla="*/ 13 h 447"/>
                <a:gd name="T114" fmla="*/ 37 w 798"/>
                <a:gd name="T115" fmla="*/ 15 h 447"/>
                <a:gd name="T116" fmla="*/ 39 w 798"/>
                <a:gd name="T117" fmla="*/ 15 h 447"/>
                <a:gd name="T118" fmla="*/ 40 w 798"/>
                <a:gd name="T119" fmla="*/ 14 h 447"/>
                <a:gd name="T120" fmla="*/ 42 w 798"/>
                <a:gd name="T121" fmla="*/ 13 h 4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98"/>
                <a:gd name="T184" fmla="*/ 0 h 447"/>
                <a:gd name="T185" fmla="*/ 798 w 798"/>
                <a:gd name="T186" fmla="*/ 447 h 4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98" h="447">
                  <a:moveTo>
                    <a:pt x="769" y="248"/>
                  </a:moveTo>
                  <a:cubicBezTo>
                    <a:pt x="764" y="243"/>
                    <a:pt x="764" y="243"/>
                    <a:pt x="764" y="243"/>
                  </a:cubicBezTo>
                  <a:cubicBezTo>
                    <a:pt x="751" y="241"/>
                    <a:pt x="751" y="241"/>
                    <a:pt x="751" y="241"/>
                  </a:cubicBezTo>
                  <a:cubicBezTo>
                    <a:pt x="745" y="230"/>
                    <a:pt x="745" y="230"/>
                    <a:pt x="745" y="230"/>
                  </a:cubicBezTo>
                  <a:cubicBezTo>
                    <a:pt x="732" y="230"/>
                    <a:pt x="732" y="230"/>
                    <a:pt x="732" y="230"/>
                  </a:cubicBezTo>
                  <a:cubicBezTo>
                    <a:pt x="721" y="212"/>
                    <a:pt x="721" y="212"/>
                    <a:pt x="721" y="212"/>
                  </a:cubicBezTo>
                  <a:cubicBezTo>
                    <a:pt x="721" y="222"/>
                    <a:pt x="721" y="222"/>
                    <a:pt x="721" y="222"/>
                  </a:cubicBezTo>
                  <a:cubicBezTo>
                    <a:pt x="712" y="222"/>
                    <a:pt x="712" y="222"/>
                    <a:pt x="712" y="222"/>
                  </a:cubicBezTo>
                  <a:cubicBezTo>
                    <a:pt x="713" y="231"/>
                    <a:pt x="713" y="231"/>
                    <a:pt x="713" y="231"/>
                  </a:cubicBezTo>
                  <a:cubicBezTo>
                    <a:pt x="713" y="231"/>
                    <a:pt x="694" y="233"/>
                    <a:pt x="689" y="229"/>
                  </a:cubicBezTo>
                  <a:cubicBezTo>
                    <a:pt x="684" y="225"/>
                    <a:pt x="683" y="220"/>
                    <a:pt x="683" y="220"/>
                  </a:cubicBezTo>
                  <a:cubicBezTo>
                    <a:pt x="660" y="212"/>
                    <a:pt x="660" y="212"/>
                    <a:pt x="660" y="212"/>
                  </a:cubicBezTo>
                  <a:cubicBezTo>
                    <a:pt x="660" y="212"/>
                    <a:pt x="696" y="183"/>
                    <a:pt x="694" y="178"/>
                  </a:cubicBezTo>
                  <a:cubicBezTo>
                    <a:pt x="693" y="177"/>
                    <a:pt x="692" y="176"/>
                    <a:pt x="690" y="175"/>
                  </a:cubicBezTo>
                  <a:cubicBezTo>
                    <a:pt x="671" y="184"/>
                    <a:pt x="671" y="184"/>
                    <a:pt x="671" y="184"/>
                  </a:cubicBezTo>
                  <a:cubicBezTo>
                    <a:pt x="653" y="185"/>
                    <a:pt x="653" y="185"/>
                    <a:pt x="653" y="185"/>
                  </a:cubicBezTo>
                  <a:cubicBezTo>
                    <a:pt x="645" y="203"/>
                    <a:pt x="645" y="203"/>
                    <a:pt x="645" y="203"/>
                  </a:cubicBezTo>
                  <a:cubicBezTo>
                    <a:pt x="645" y="203"/>
                    <a:pt x="633" y="205"/>
                    <a:pt x="623" y="208"/>
                  </a:cubicBezTo>
                  <a:cubicBezTo>
                    <a:pt x="612" y="211"/>
                    <a:pt x="613" y="229"/>
                    <a:pt x="613" y="229"/>
                  </a:cubicBezTo>
                  <a:cubicBezTo>
                    <a:pt x="613" y="229"/>
                    <a:pt x="605" y="229"/>
                    <a:pt x="596" y="236"/>
                  </a:cubicBezTo>
                  <a:cubicBezTo>
                    <a:pt x="587" y="243"/>
                    <a:pt x="595" y="267"/>
                    <a:pt x="595" y="267"/>
                  </a:cubicBezTo>
                  <a:cubicBezTo>
                    <a:pt x="595" y="267"/>
                    <a:pt x="584" y="261"/>
                    <a:pt x="573" y="259"/>
                  </a:cubicBezTo>
                  <a:cubicBezTo>
                    <a:pt x="563" y="256"/>
                    <a:pt x="580" y="243"/>
                    <a:pt x="573" y="233"/>
                  </a:cubicBezTo>
                  <a:cubicBezTo>
                    <a:pt x="567" y="224"/>
                    <a:pt x="520" y="233"/>
                    <a:pt x="509" y="228"/>
                  </a:cubicBezTo>
                  <a:cubicBezTo>
                    <a:pt x="499" y="223"/>
                    <a:pt x="497" y="199"/>
                    <a:pt x="488" y="188"/>
                  </a:cubicBezTo>
                  <a:cubicBezTo>
                    <a:pt x="479" y="177"/>
                    <a:pt x="479" y="191"/>
                    <a:pt x="469" y="188"/>
                  </a:cubicBezTo>
                  <a:cubicBezTo>
                    <a:pt x="460" y="185"/>
                    <a:pt x="467" y="137"/>
                    <a:pt x="461" y="136"/>
                  </a:cubicBezTo>
                  <a:cubicBezTo>
                    <a:pt x="456" y="135"/>
                    <a:pt x="441" y="136"/>
                    <a:pt x="441" y="136"/>
                  </a:cubicBezTo>
                  <a:cubicBezTo>
                    <a:pt x="441" y="136"/>
                    <a:pt x="411" y="93"/>
                    <a:pt x="404" y="93"/>
                  </a:cubicBezTo>
                  <a:cubicBezTo>
                    <a:pt x="397" y="93"/>
                    <a:pt x="379" y="105"/>
                    <a:pt x="379" y="105"/>
                  </a:cubicBezTo>
                  <a:cubicBezTo>
                    <a:pt x="379" y="105"/>
                    <a:pt x="341" y="101"/>
                    <a:pt x="325" y="101"/>
                  </a:cubicBezTo>
                  <a:cubicBezTo>
                    <a:pt x="309" y="101"/>
                    <a:pt x="272" y="108"/>
                    <a:pt x="272" y="108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1" y="47"/>
                    <a:pt x="186" y="56"/>
                    <a:pt x="183" y="61"/>
                  </a:cubicBezTo>
                  <a:cubicBezTo>
                    <a:pt x="178" y="70"/>
                    <a:pt x="174" y="75"/>
                    <a:pt x="174" y="75"/>
                  </a:cubicBezTo>
                  <a:cubicBezTo>
                    <a:pt x="174" y="75"/>
                    <a:pt x="162" y="76"/>
                    <a:pt x="154" y="70"/>
                  </a:cubicBezTo>
                  <a:cubicBezTo>
                    <a:pt x="146" y="64"/>
                    <a:pt x="149" y="55"/>
                    <a:pt x="149" y="5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0"/>
                    <a:pt x="119" y="28"/>
                    <a:pt x="119" y="37"/>
                  </a:cubicBezTo>
                  <a:cubicBezTo>
                    <a:pt x="119" y="46"/>
                    <a:pt x="116" y="45"/>
                    <a:pt x="116" y="45"/>
                  </a:cubicBezTo>
                  <a:cubicBezTo>
                    <a:pt x="116" y="45"/>
                    <a:pt x="117" y="55"/>
                    <a:pt x="106" y="57"/>
                  </a:cubicBezTo>
                  <a:cubicBezTo>
                    <a:pt x="95" y="59"/>
                    <a:pt x="98" y="39"/>
                    <a:pt x="92" y="37"/>
                  </a:cubicBezTo>
                  <a:cubicBezTo>
                    <a:pt x="86" y="35"/>
                    <a:pt x="99" y="21"/>
                    <a:pt x="99" y="21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6" y="218"/>
                    <a:pt x="36" y="217"/>
                    <a:pt x="37" y="217"/>
                  </a:cubicBezTo>
                  <a:cubicBezTo>
                    <a:pt x="44" y="217"/>
                    <a:pt x="48" y="224"/>
                    <a:pt x="48" y="224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2" y="224"/>
                    <a:pt x="77" y="208"/>
                    <a:pt x="79" y="195"/>
                  </a:cubicBezTo>
                  <a:cubicBezTo>
                    <a:pt x="80" y="181"/>
                    <a:pt x="112" y="175"/>
                    <a:pt x="112" y="175"/>
                  </a:cubicBezTo>
                  <a:cubicBezTo>
                    <a:pt x="112" y="175"/>
                    <a:pt x="112" y="164"/>
                    <a:pt x="116" y="163"/>
                  </a:cubicBezTo>
                  <a:cubicBezTo>
                    <a:pt x="120" y="161"/>
                    <a:pt x="139" y="169"/>
                    <a:pt x="139" y="169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79" y="172"/>
                    <a:pt x="192" y="169"/>
                    <a:pt x="201" y="173"/>
                  </a:cubicBezTo>
                  <a:cubicBezTo>
                    <a:pt x="211" y="177"/>
                    <a:pt x="209" y="192"/>
                    <a:pt x="209" y="192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19" y="197"/>
                    <a:pt x="207" y="209"/>
                    <a:pt x="212" y="219"/>
                  </a:cubicBezTo>
                  <a:cubicBezTo>
                    <a:pt x="217" y="228"/>
                    <a:pt x="243" y="227"/>
                    <a:pt x="243" y="227"/>
                  </a:cubicBezTo>
                  <a:cubicBezTo>
                    <a:pt x="279" y="231"/>
                    <a:pt x="279" y="231"/>
                    <a:pt x="279" y="231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303" y="237"/>
                    <a:pt x="303" y="237"/>
                    <a:pt x="303" y="237"/>
                  </a:cubicBezTo>
                  <a:cubicBezTo>
                    <a:pt x="312" y="256"/>
                    <a:pt x="312" y="256"/>
                    <a:pt x="312" y="256"/>
                  </a:cubicBezTo>
                  <a:cubicBezTo>
                    <a:pt x="325" y="271"/>
                    <a:pt x="325" y="271"/>
                    <a:pt x="325" y="271"/>
                  </a:cubicBezTo>
                  <a:cubicBezTo>
                    <a:pt x="325" y="271"/>
                    <a:pt x="333" y="283"/>
                    <a:pt x="336" y="293"/>
                  </a:cubicBezTo>
                  <a:cubicBezTo>
                    <a:pt x="339" y="304"/>
                    <a:pt x="351" y="309"/>
                    <a:pt x="357" y="312"/>
                  </a:cubicBezTo>
                  <a:cubicBezTo>
                    <a:pt x="364" y="315"/>
                    <a:pt x="377" y="317"/>
                    <a:pt x="381" y="319"/>
                  </a:cubicBezTo>
                  <a:cubicBezTo>
                    <a:pt x="385" y="320"/>
                    <a:pt x="397" y="336"/>
                    <a:pt x="397" y="336"/>
                  </a:cubicBezTo>
                  <a:cubicBezTo>
                    <a:pt x="417" y="348"/>
                    <a:pt x="417" y="348"/>
                    <a:pt x="417" y="348"/>
                  </a:cubicBezTo>
                  <a:cubicBezTo>
                    <a:pt x="435" y="349"/>
                    <a:pt x="435" y="349"/>
                    <a:pt x="435" y="349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55" y="360"/>
                    <a:pt x="455" y="360"/>
                    <a:pt x="455" y="360"/>
                  </a:cubicBezTo>
                  <a:cubicBezTo>
                    <a:pt x="455" y="360"/>
                    <a:pt x="469" y="371"/>
                    <a:pt x="476" y="376"/>
                  </a:cubicBezTo>
                  <a:cubicBezTo>
                    <a:pt x="483" y="381"/>
                    <a:pt x="501" y="389"/>
                    <a:pt x="501" y="389"/>
                  </a:cubicBezTo>
                  <a:cubicBezTo>
                    <a:pt x="516" y="387"/>
                    <a:pt x="516" y="387"/>
                    <a:pt x="516" y="387"/>
                  </a:cubicBezTo>
                  <a:cubicBezTo>
                    <a:pt x="549" y="405"/>
                    <a:pt x="549" y="405"/>
                    <a:pt x="549" y="405"/>
                  </a:cubicBezTo>
                  <a:cubicBezTo>
                    <a:pt x="549" y="405"/>
                    <a:pt x="537" y="417"/>
                    <a:pt x="548" y="425"/>
                  </a:cubicBezTo>
                  <a:cubicBezTo>
                    <a:pt x="554" y="430"/>
                    <a:pt x="555" y="434"/>
                    <a:pt x="555" y="437"/>
                  </a:cubicBezTo>
                  <a:cubicBezTo>
                    <a:pt x="563" y="437"/>
                    <a:pt x="563" y="437"/>
                    <a:pt x="563" y="437"/>
                  </a:cubicBezTo>
                  <a:cubicBezTo>
                    <a:pt x="571" y="431"/>
                    <a:pt x="571" y="431"/>
                    <a:pt x="571" y="431"/>
                  </a:cubicBezTo>
                  <a:cubicBezTo>
                    <a:pt x="580" y="445"/>
                    <a:pt x="580" y="445"/>
                    <a:pt x="580" y="445"/>
                  </a:cubicBezTo>
                  <a:cubicBezTo>
                    <a:pt x="591" y="440"/>
                    <a:pt x="591" y="440"/>
                    <a:pt x="591" y="440"/>
                  </a:cubicBezTo>
                  <a:cubicBezTo>
                    <a:pt x="596" y="440"/>
                    <a:pt x="596" y="440"/>
                    <a:pt x="596" y="440"/>
                  </a:cubicBezTo>
                  <a:cubicBezTo>
                    <a:pt x="596" y="440"/>
                    <a:pt x="600" y="443"/>
                    <a:pt x="605" y="447"/>
                  </a:cubicBezTo>
                  <a:cubicBezTo>
                    <a:pt x="604" y="446"/>
                    <a:pt x="603" y="446"/>
                    <a:pt x="603" y="445"/>
                  </a:cubicBezTo>
                  <a:cubicBezTo>
                    <a:pt x="602" y="439"/>
                    <a:pt x="601" y="430"/>
                    <a:pt x="605" y="426"/>
                  </a:cubicBezTo>
                  <a:cubicBezTo>
                    <a:pt x="612" y="418"/>
                    <a:pt x="622" y="408"/>
                    <a:pt x="622" y="397"/>
                  </a:cubicBezTo>
                  <a:cubicBezTo>
                    <a:pt x="622" y="386"/>
                    <a:pt x="609" y="387"/>
                    <a:pt x="603" y="377"/>
                  </a:cubicBezTo>
                  <a:cubicBezTo>
                    <a:pt x="597" y="367"/>
                    <a:pt x="608" y="358"/>
                    <a:pt x="603" y="353"/>
                  </a:cubicBezTo>
                  <a:cubicBezTo>
                    <a:pt x="598" y="348"/>
                    <a:pt x="582" y="347"/>
                    <a:pt x="582" y="347"/>
                  </a:cubicBezTo>
                  <a:cubicBezTo>
                    <a:pt x="575" y="339"/>
                    <a:pt x="575" y="339"/>
                    <a:pt x="575" y="339"/>
                  </a:cubicBezTo>
                  <a:cubicBezTo>
                    <a:pt x="561" y="336"/>
                    <a:pt x="561" y="336"/>
                    <a:pt x="561" y="336"/>
                  </a:cubicBezTo>
                  <a:cubicBezTo>
                    <a:pt x="561" y="336"/>
                    <a:pt x="561" y="326"/>
                    <a:pt x="567" y="321"/>
                  </a:cubicBezTo>
                  <a:cubicBezTo>
                    <a:pt x="573" y="316"/>
                    <a:pt x="592" y="328"/>
                    <a:pt x="607" y="319"/>
                  </a:cubicBezTo>
                  <a:cubicBezTo>
                    <a:pt x="622" y="310"/>
                    <a:pt x="610" y="305"/>
                    <a:pt x="610" y="305"/>
                  </a:cubicBezTo>
                  <a:cubicBezTo>
                    <a:pt x="620" y="296"/>
                    <a:pt x="620" y="296"/>
                    <a:pt x="620" y="296"/>
                  </a:cubicBezTo>
                  <a:cubicBezTo>
                    <a:pt x="607" y="282"/>
                    <a:pt x="607" y="282"/>
                    <a:pt x="607" y="282"/>
                  </a:cubicBezTo>
                  <a:cubicBezTo>
                    <a:pt x="607" y="282"/>
                    <a:pt x="626" y="287"/>
                    <a:pt x="632" y="281"/>
                  </a:cubicBezTo>
                  <a:cubicBezTo>
                    <a:pt x="638" y="275"/>
                    <a:pt x="625" y="268"/>
                    <a:pt x="626" y="264"/>
                  </a:cubicBezTo>
                  <a:cubicBezTo>
                    <a:pt x="627" y="260"/>
                    <a:pt x="629" y="251"/>
                    <a:pt x="635" y="251"/>
                  </a:cubicBezTo>
                  <a:cubicBezTo>
                    <a:pt x="641" y="251"/>
                    <a:pt x="644" y="265"/>
                    <a:pt x="652" y="260"/>
                  </a:cubicBezTo>
                  <a:cubicBezTo>
                    <a:pt x="660" y="255"/>
                    <a:pt x="671" y="243"/>
                    <a:pt x="675" y="241"/>
                  </a:cubicBezTo>
                  <a:cubicBezTo>
                    <a:pt x="679" y="239"/>
                    <a:pt x="694" y="251"/>
                    <a:pt x="694" y="251"/>
                  </a:cubicBezTo>
                  <a:cubicBezTo>
                    <a:pt x="678" y="272"/>
                    <a:pt x="678" y="272"/>
                    <a:pt x="678" y="272"/>
                  </a:cubicBezTo>
                  <a:cubicBezTo>
                    <a:pt x="678" y="272"/>
                    <a:pt x="698" y="278"/>
                    <a:pt x="701" y="283"/>
                  </a:cubicBezTo>
                  <a:cubicBezTo>
                    <a:pt x="708" y="280"/>
                    <a:pt x="717" y="277"/>
                    <a:pt x="721" y="276"/>
                  </a:cubicBezTo>
                  <a:cubicBezTo>
                    <a:pt x="728" y="274"/>
                    <a:pt x="732" y="290"/>
                    <a:pt x="741" y="286"/>
                  </a:cubicBezTo>
                  <a:cubicBezTo>
                    <a:pt x="750" y="282"/>
                    <a:pt x="752" y="273"/>
                    <a:pt x="752" y="273"/>
                  </a:cubicBezTo>
                  <a:cubicBezTo>
                    <a:pt x="766" y="271"/>
                    <a:pt x="766" y="271"/>
                    <a:pt x="766" y="271"/>
                  </a:cubicBezTo>
                  <a:cubicBezTo>
                    <a:pt x="766" y="265"/>
                    <a:pt x="766" y="265"/>
                    <a:pt x="766" y="265"/>
                  </a:cubicBezTo>
                  <a:cubicBezTo>
                    <a:pt x="766" y="265"/>
                    <a:pt x="778" y="266"/>
                    <a:pt x="788" y="254"/>
                  </a:cubicBezTo>
                  <a:cubicBezTo>
                    <a:pt x="798" y="242"/>
                    <a:pt x="769" y="248"/>
                    <a:pt x="769" y="24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2" name="Freeform 128">
              <a:extLst>
                <a:ext uri="{FF2B5EF4-FFF2-40B4-BE49-F238E27FC236}">
                  <a16:creationId xmlns:a16="http://schemas.microsoft.com/office/drawing/2014/main" id="{BA15497C-8CA7-105B-A582-C2A650829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802" y="2423474"/>
              <a:ext cx="952706" cy="442055"/>
            </a:xfrm>
            <a:custGeom>
              <a:avLst/>
              <a:gdLst>
                <a:gd name="T0" fmla="*/ 28 w 1673"/>
                <a:gd name="T1" fmla="*/ 27 h 778"/>
                <a:gd name="T2" fmla="*/ 86 w 1673"/>
                <a:gd name="T3" fmla="*/ 17 h 778"/>
                <a:gd name="T4" fmla="*/ 85 w 1673"/>
                <a:gd name="T5" fmla="*/ 16 h 778"/>
                <a:gd name="T6" fmla="*/ 77 w 1673"/>
                <a:gd name="T7" fmla="*/ 12 h 778"/>
                <a:gd name="T8" fmla="*/ 72 w 1673"/>
                <a:gd name="T9" fmla="*/ 11 h 778"/>
                <a:gd name="T10" fmla="*/ 59 w 1673"/>
                <a:gd name="T11" fmla="*/ 4 h 778"/>
                <a:gd name="T12" fmla="*/ 56 w 1673"/>
                <a:gd name="T13" fmla="*/ 4 h 778"/>
                <a:gd name="T14" fmla="*/ 53 w 1673"/>
                <a:gd name="T15" fmla="*/ 5 h 778"/>
                <a:gd name="T16" fmla="*/ 51 w 1673"/>
                <a:gd name="T17" fmla="*/ 4 h 778"/>
                <a:gd name="T18" fmla="*/ 47 w 1673"/>
                <a:gd name="T19" fmla="*/ 2 h 778"/>
                <a:gd name="T20" fmla="*/ 42 w 1673"/>
                <a:gd name="T21" fmla="*/ 0 h 778"/>
                <a:gd name="T22" fmla="*/ 35 w 1673"/>
                <a:gd name="T23" fmla="*/ 3 h 778"/>
                <a:gd name="T24" fmla="*/ 27 w 1673"/>
                <a:gd name="T25" fmla="*/ 5 h 778"/>
                <a:gd name="T26" fmla="*/ 28 w 1673"/>
                <a:gd name="T27" fmla="*/ 6 h 778"/>
                <a:gd name="T28" fmla="*/ 28 w 1673"/>
                <a:gd name="T29" fmla="*/ 10 h 778"/>
                <a:gd name="T30" fmla="*/ 25 w 1673"/>
                <a:gd name="T31" fmla="*/ 13 h 778"/>
                <a:gd name="T32" fmla="*/ 19 w 1673"/>
                <a:gd name="T33" fmla="*/ 13 h 778"/>
                <a:gd name="T34" fmla="*/ 15 w 1673"/>
                <a:gd name="T35" fmla="*/ 11 h 778"/>
                <a:gd name="T36" fmla="*/ 10 w 1673"/>
                <a:gd name="T37" fmla="*/ 10 h 778"/>
                <a:gd name="T38" fmla="*/ 4 w 1673"/>
                <a:gd name="T39" fmla="*/ 12 h 778"/>
                <a:gd name="T40" fmla="*/ 1 w 1673"/>
                <a:gd name="T41" fmla="*/ 13 h 778"/>
                <a:gd name="T42" fmla="*/ 0 w 1673"/>
                <a:gd name="T43" fmla="*/ 17 h 778"/>
                <a:gd name="T44" fmla="*/ 4 w 1673"/>
                <a:gd name="T45" fmla="*/ 21 h 778"/>
                <a:gd name="T46" fmla="*/ 7 w 1673"/>
                <a:gd name="T47" fmla="*/ 24 h 778"/>
                <a:gd name="T48" fmla="*/ 15 w 1673"/>
                <a:gd name="T49" fmla="*/ 23 h 778"/>
                <a:gd name="T50" fmla="*/ 18 w 1673"/>
                <a:gd name="T51" fmla="*/ 27 h 778"/>
                <a:gd name="T52" fmla="*/ 18 w 1673"/>
                <a:gd name="T53" fmla="*/ 28 h 778"/>
                <a:gd name="T54" fmla="*/ 11 w 1673"/>
                <a:gd name="T55" fmla="*/ 28 h 778"/>
                <a:gd name="T56" fmla="*/ 12 w 1673"/>
                <a:gd name="T57" fmla="*/ 31 h 778"/>
                <a:gd name="T58" fmla="*/ 14 w 1673"/>
                <a:gd name="T59" fmla="*/ 34 h 778"/>
                <a:gd name="T60" fmla="*/ 17 w 1673"/>
                <a:gd name="T61" fmla="*/ 37 h 778"/>
                <a:gd name="T62" fmla="*/ 21 w 1673"/>
                <a:gd name="T63" fmla="*/ 36 h 778"/>
                <a:gd name="T64" fmla="*/ 24 w 1673"/>
                <a:gd name="T65" fmla="*/ 38 h 778"/>
                <a:gd name="T66" fmla="*/ 28 w 1673"/>
                <a:gd name="T67" fmla="*/ 26 h 778"/>
                <a:gd name="T68" fmla="*/ 30 w 1673"/>
                <a:gd name="T69" fmla="*/ 25 h 778"/>
                <a:gd name="T70" fmla="*/ 31 w 1673"/>
                <a:gd name="T71" fmla="*/ 25 h 778"/>
                <a:gd name="T72" fmla="*/ 30 w 1673"/>
                <a:gd name="T73" fmla="*/ 24 h 778"/>
                <a:gd name="T74" fmla="*/ 33 w 1673"/>
                <a:gd name="T75" fmla="*/ 23 h 778"/>
                <a:gd name="T76" fmla="*/ 31 w 1673"/>
                <a:gd name="T77" fmla="*/ 26 h 778"/>
                <a:gd name="T78" fmla="*/ 32 w 1673"/>
                <a:gd name="T79" fmla="*/ 28 h 778"/>
                <a:gd name="T80" fmla="*/ 42 w 1673"/>
                <a:gd name="T81" fmla="*/ 32 h 778"/>
                <a:gd name="T82" fmla="*/ 47 w 1673"/>
                <a:gd name="T83" fmla="*/ 36 h 778"/>
                <a:gd name="T84" fmla="*/ 52 w 1673"/>
                <a:gd name="T85" fmla="*/ 40 h 778"/>
                <a:gd name="T86" fmla="*/ 55 w 1673"/>
                <a:gd name="T87" fmla="*/ 37 h 778"/>
                <a:gd name="T88" fmla="*/ 59 w 1673"/>
                <a:gd name="T89" fmla="*/ 35 h 778"/>
                <a:gd name="T90" fmla="*/ 63 w 1673"/>
                <a:gd name="T91" fmla="*/ 35 h 778"/>
                <a:gd name="T92" fmla="*/ 66 w 1673"/>
                <a:gd name="T93" fmla="*/ 34 h 778"/>
                <a:gd name="T94" fmla="*/ 73 w 1673"/>
                <a:gd name="T95" fmla="*/ 34 h 778"/>
                <a:gd name="T96" fmla="*/ 77 w 1673"/>
                <a:gd name="T97" fmla="*/ 35 h 778"/>
                <a:gd name="T98" fmla="*/ 78 w 1673"/>
                <a:gd name="T99" fmla="*/ 34 h 778"/>
                <a:gd name="T100" fmla="*/ 77 w 1673"/>
                <a:gd name="T101" fmla="*/ 31 h 778"/>
                <a:gd name="T102" fmla="*/ 79 w 1673"/>
                <a:gd name="T103" fmla="*/ 27 h 778"/>
                <a:gd name="T104" fmla="*/ 80 w 1673"/>
                <a:gd name="T105" fmla="*/ 26 h 778"/>
                <a:gd name="T106" fmla="*/ 84 w 1673"/>
                <a:gd name="T107" fmla="*/ 22 h 778"/>
                <a:gd name="T108" fmla="*/ 86 w 1673"/>
                <a:gd name="T109" fmla="*/ 21 h 778"/>
                <a:gd name="T110" fmla="*/ 72 w 1673"/>
                <a:gd name="T111" fmla="*/ 24 h 778"/>
                <a:gd name="T112" fmla="*/ 69 w 1673"/>
                <a:gd name="T113" fmla="*/ 24 h 778"/>
                <a:gd name="T114" fmla="*/ 65 w 1673"/>
                <a:gd name="T115" fmla="*/ 24 h 778"/>
                <a:gd name="T116" fmla="*/ 62 w 1673"/>
                <a:gd name="T117" fmla="*/ 25 h 778"/>
                <a:gd name="T118" fmla="*/ 62 w 1673"/>
                <a:gd name="T119" fmla="*/ 28 h 778"/>
                <a:gd name="T120" fmla="*/ 62 w 1673"/>
                <a:gd name="T121" fmla="*/ 23 h 778"/>
                <a:gd name="T122" fmla="*/ 68 w 1673"/>
                <a:gd name="T123" fmla="*/ 24 h 778"/>
                <a:gd name="T124" fmla="*/ 72 w 1673"/>
                <a:gd name="T125" fmla="*/ 24 h 7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73"/>
                <a:gd name="T190" fmla="*/ 0 h 778"/>
                <a:gd name="T191" fmla="*/ 1673 w 1673"/>
                <a:gd name="T192" fmla="*/ 778 h 7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73" h="778">
                  <a:moveTo>
                    <a:pt x="565" y="505"/>
                  </a:moveTo>
                  <a:cubicBezTo>
                    <a:pt x="558" y="500"/>
                    <a:pt x="557" y="497"/>
                    <a:pt x="557" y="497"/>
                  </a:cubicBezTo>
                  <a:cubicBezTo>
                    <a:pt x="548" y="511"/>
                    <a:pt x="548" y="511"/>
                    <a:pt x="548" y="511"/>
                  </a:cubicBezTo>
                  <a:cubicBezTo>
                    <a:pt x="545" y="518"/>
                    <a:pt x="545" y="518"/>
                    <a:pt x="545" y="518"/>
                  </a:cubicBezTo>
                  <a:cubicBezTo>
                    <a:pt x="578" y="534"/>
                    <a:pt x="578" y="534"/>
                    <a:pt x="578" y="534"/>
                  </a:cubicBezTo>
                  <a:cubicBezTo>
                    <a:pt x="580" y="525"/>
                    <a:pt x="580" y="525"/>
                    <a:pt x="580" y="525"/>
                  </a:cubicBezTo>
                  <a:cubicBezTo>
                    <a:pt x="580" y="525"/>
                    <a:pt x="572" y="510"/>
                    <a:pt x="565" y="505"/>
                  </a:cubicBezTo>
                  <a:close/>
                  <a:moveTo>
                    <a:pt x="1655" y="327"/>
                  </a:moveTo>
                  <a:cubicBezTo>
                    <a:pt x="1656" y="321"/>
                    <a:pt x="1666" y="322"/>
                    <a:pt x="1673" y="324"/>
                  </a:cubicBezTo>
                  <a:cubicBezTo>
                    <a:pt x="1649" y="298"/>
                    <a:pt x="1649" y="298"/>
                    <a:pt x="1649" y="298"/>
                  </a:cubicBezTo>
                  <a:cubicBezTo>
                    <a:pt x="1636" y="282"/>
                    <a:pt x="1636" y="282"/>
                    <a:pt x="1636" y="282"/>
                  </a:cubicBezTo>
                  <a:cubicBezTo>
                    <a:pt x="1625" y="304"/>
                    <a:pt x="1625" y="304"/>
                    <a:pt x="1625" y="304"/>
                  </a:cubicBezTo>
                  <a:cubicBezTo>
                    <a:pt x="1578" y="300"/>
                    <a:pt x="1578" y="300"/>
                    <a:pt x="1578" y="300"/>
                  </a:cubicBezTo>
                  <a:cubicBezTo>
                    <a:pt x="1578" y="300"/>
                    <a:pt x="1562" y="272"/>
                    <a:pt x="1561" y="268"/>
                  </a:cubicBezTo>
                  <a:cubicBezTo>
                    <a:pt x="1560" y="264"/>
                    <a:pt x="1525" y="259"/>
                    <a:pt x="1525" y="259"/>
                  </a:cubicBezTo>
                  <a:cubicBezTo>
                    <a:pt x="1525" y="259"/>
                    <a:pt x="1504" y="230"/>
                    <a:pt x="1481" y="226"/>
                  </a:cubicBezTo>
                  <a:cubicBezTo>
                    <a:pt x="1458" y="222"/>
                    <a:pt x="1442" y="243"/>
                    <a:pt x="1430" y="244"/>
                  </a:cubicBezTo>
                  <a:cubicBezTo>
                    <a:pt x="1418" y="246"/>
                    <a:pt x="1404" y="230"/>
                    <a:pt x="1404" y="230"/>
                  </a:cubicBezTo>
                  <a:cubicBezTo>
                    <a:pt x="1404" y="230"/>
                    <a:pt x="1386" y="228"/>
                    <a:pt x="1382" y="227"/>
                  </a:cubicBezTo>
                  <a:cubicBezTo>
                    <a:pt x="1378" y="226"/>
                    <a:pt x="1382" y="210"/>
                    <a:pt x="1372" y="207"/>
                  </a:cubicBezTo>
                  <a:cubicBezTo>
                    <a:pt x="1361" y="204"/>
                    <a:pt x="1365" y="234"/>
                    <a:pt x="1348" y="236"/>
                  </a:cubicBezTo>
                  <a:cubicBezTo>
                    <a:pt x="1330" y="239"/>
                    <a:pt x="1306" y="200"/>
                    <a:pt x="1292" y="187"/>
                  </a:cubicBezTo>
                  <a:cubicBezTo>
                    <a:pt x="1277" y="174"/>
                    <a:pt x="1205" y="107"/>
                    <a:pt x="1200" y="104"/>
                  </a:cubicBezTo>
                  <a:cubicBezTo>
                    <a:pt x="1194" y="102"/>
                    <a:pt x="1126" y="70"/>
                    <a:pt x="1126" y="70"/>
                  </a:cubicBezTo>
                  <a:cubicBezTo>
                    <a:pt x="1126" y="70"/>
                    <a:pt x="1146" y="58"/>
                    <a:pt x="1138" y="47"/>
                  </a:cubicBezTo>
                  <a:cubicBezTo>
                    <a:pt x="1130" y="36"/>
                    <a:pt x="1118" y="58"/>
                    <a:pt x="1118" y="58"/>
                  </a:cubicBezTo>
                  <a:cubicBezTo>
                    <a:pt x="1094" y="66"/>
                    <a:pt x="1094" y="66"/>
                    <a:pt x="1094" y="66"/>
                  </a:cubicBezTo>
                  <a:cubicBezTo>
                    <a:pt x="1085" y="76"/>
                    <a:pt x="1085" y="76"/>
                    <a:pt x="1085" y="76"/>
                  </a:cubicBezTo>
                  <a:cubicBezTo>
                    <a:pt x="1085" y="76"/>
                    <a:pt x="1077" y="78"/>
                    <a:pt x="1070" y="82"/>
                  </a:cubicBezTo>
                  <a:cubicBezTo>
                    <a:pt x="1064" y="86"/>
                    <a:pt x="1072" y="94"/>
                    <a:pt x="1064" y="100"/>
                  </a:cubicBezTo>
                  <a:cubicBezTo>
                    <a:pt x="1056" y="107"/>
                    <a:pt x="1041" y="91"/>
                    <a:pt x="1034" y="88"/>
                  </a:cubicBezTo>
                  <a:cubicBezTo>
                    <a:pt x="1028" y="86"/>
                    <a:pt x="1026" y="99"/>
                    <a:pt x="1016" y="98"/>
                  </a:cubicBezTo>
                  <a:cubicBezTo>
                    <a:pt x="1005" y="96"/>
                    <a:pt x="1026" y="80"/>
                    <a:pt x="1017" y="71"/>
                  </a:cubicBezTo>
                  <a:cubicBezTo>
                    <a:pt x="1008" y="62"/>
                    <a:pt x="1002" y="74"/>
                    <a:pt x="1002" y="74"/>
                  </a:cubicBezTo>
                  <a:cubicBezTo>
                    <a:pt x="985" y="63"/>
                    <a:pt x="985" y="63"/>
                    <a:pt x="985" y="63"/>
                  </a:cubicBezTo>
                  <a:cubicBezTo>
                    <a:pt x="972" y="71"/>
                    <a:pt x="972" y="71"/>
                    <a:pt x="972" y="71"/>
                  </a:cubicBezTo>
                  <a:cubicBezTo>
                    <a:pt x="953" y="50"/>
                    <a:pt x="953" y="50"/>
                    <a:pt x="953" y="50"/>
                  </a:cubicBezTo>
                  <a:cubicBezTo>
                    <a:pt x="946" y="60"/>
                    <a:pt x="946" y="60"/>
                    <a:pt x="946" y="60"/>
                  </a:cubicBezTo>
                  <a:cubicBezTo>
                    <a:pt x="946" y="60"/>
                    <a:pt x="918" y="64"/>
                    <a:pt x="913" y="64"/>
                  </a:cubicBezTo>
                  <a:cubicBezTo>
                    <a:pt x="908" y="64"/>
                    <a:pt x="909" y="43"/>
                    <a:pt x="909" y="36"/>
                  </a:cubicBezTo>
                  <a:cubicBezTo>
                    <a:pt x="909" y="30"/>
                    <a:pt x="897" y="30"/>
                    <a:pt x="897" y="30"/>
                  </a:cubicBezTo>
                  <a:cubicBezTo>
                    <a:pt x="897" y="30"/>
                    <a:pt x="892" y="12"/>
                    <a:pt x="884" y="7"/>
                  </a:cubicBezTo>
                  <a:cubicBezTo>
                    <a:pt x="876" y="2"/>
                    <a:pt x="869" y="11"/>
                    <a:pt x="864" y="11"/>
                  </a:cubicBezTo>
                  <a:cubicBezTo>
                    <a:pt x="858" y="11"/>
                    <a:pt x="845" y="0"/>
                    <a:pt x="812" y="2"/>
                  </a:cubicBezTo>
                  <a:cubicBezTo>
                    <a:pt x="778" y="3"/>
                    <a:pt x="781" y="23"/>
                    <a:pt x="781" y="23"/>
                  </a:cubicBezTo>
                  <a:cubicBezTo>
                    <a:pt x="781" y="23"/>
                    <a:pt x="761" y="30"/>
                    <a:pt x="740" y="35"/>
                  </a:cubicBezTo>
                  <a:cubicBezTo>
                    <a:pt x="718" y="40"/>
                    <a:pt x="690" y="36"/>
                    <a:pt x="682" y="36"/>
                  </a:cubicBezTo>
                  <a:cubicBezTo>
                    <a:pt x="674" y="36"/>
                    <a:pt x="674" y="52"/>
                    <a:pt x="674" y="52"/>
                  </a:cubicBezTo>
                  <a:cubicBezTo>
                    <a:pt x="632" y="52"/>
                    <a:pt x="632" y="52"/>
                    <a:pt x="632" y="52"/>
                  </a:cubicBezTo>
                  <a:cubicBezTo>
                    <a:pt x="628" y="64"/>
                    <a:pt x="628" y="64"/>
                    <a:pt x="628" y="64"/>
                  </a:cubicBezTo>
                  <a:cubicBezTo>
                    <a:pt x="628" y="64"/>
                    <a:pt x="596" y="63"/>
                    <a:pt x="550" y="70"/>
                  </a:cubicBezTo>
                  <a:cubicBezTo>
                    <a:pt x="505" y="76"/>
                    <a:pt x="521" y="95"/>
                    <a:pt x="521" y="95"/>
                  </a:cubicBezTo>
                  <a:cubicBezTo>
                    <a:pt x="540" y="96"/>
                    <a:pt x="540" y="96"/>
                    <a:pt x="540" y="96"/>
                  </a:cubicBezTo>
                  <a:cubicBezTo>
                    <a:pt x="529" y="108"/>
                    <a:pt x="529" y="108"/>
                    <a:pt x="529" y="108"/>
                  </a:cubicBezTo>
                  <a:cubicBezTo>
                    <a:pt x="529" y="108"/>
                    <a:pt x="572" y="116"/>
                    <a:pt x="572" y="123"/>
                  </a:cubicBezTo>
                  <a:cubicBezTo>
                    <a:pt x="572" y="130"/>
                    <a:pt x="534" y="123"/>
                    <a:pt x="534" y="123"/>
                  </a:cubicBezTo>
                  <a:cubicBezTo>
                    <a:pt x="528" y="134"/>
                    <a:pt x="528" y="134"/>
                    <a:pt x="528" y="134"/>
                  </a:cubicBezTo>
                  <a:cubicBezTo>
                    <a:pt x="528" y="134"/>
                    <a:pt x="541" y="151"/>
                    <a:pt x="540" y="158"/>
                  </a:cubicBezTo>
                  <a:cubicBezTo>
                    <a:pt x="538" y="164"/>
                    <a:pt x="505" y="170"/>
                    <a:pt x="505" y="170"/>
                  </a:cubicBezTo>
                  <a:cubicBezTo>
                    <a:pt x="528" y="190"/>
                    <a:pt x="528" y="190"/>
                    <a:pt x="528" y="190"/>
                  </a:cubicBezTo>
                  <a:cubicBezTo>
                    <a:pt x="528" y="190"/>
                    <a:pt x="578" y="187"/>
                    <a:pt x="582" y="226"/>
                  </a:cubicBezTo>
                  <a:cubicBezTo>
                    <a:pt x="586" y="264"/>
                    <a:pt x="526" y="234"/>
                    <a:pt x="526" y="234"/>
                  </a:cubicBezTo>
                  <a:cubicBezTo>
                    <a:pt x="520" y="250"/>
                    <a:pt x="520" y="250"/>
                    <a:pt x="520" y="250"/>
                  </a:cubicBezTo>
                  <a:cubicBezTo>
                    <a:pt x="520" y="250"/>
                    <a:pt x="497" y="246"/>
                    <a:pt x="486" y="244"/>
                  </a:cubicBezTo>
                  <a:cubicBezTo>
                    <a:pt x="476" y="243"/>
                    <a:pt x="464" y="222"/>
                    <a:pt x="456" y="220"/>
                  </a:cubicBezTo>
                  <a:cubicBezTo>
                    <a:pt x="448" y="219"/>
                    <a:pt x="437" y="228"/>
                    <a:pt x="421" y="232"/>
                  </a:cubicBezTo>
                  <a:cubicBezTo>
                    <a:pt x="405" y="236"/>
                    <a:pt x="394" y="220"/>
                    <a:pt x="385" y="222"/>
                  </a:cubicBezTo>
                  <a:cubicBezTo>
                    <a:pt x="376" y="223"/>
                    <a:pt x="358" y="243"/>
                    <a:pt x="356" y="247"/>
                  </a:cubicBezTo>
                  <a:cubicBezTo>
                    <a:pt x="353" y="251"/>
                    <a:pt x="312" y="220"/>
                    <a:pt x="301" y="223"/>
                  </a:cubicBezTo>
                  <a:cubicBezTo>
                    <a:pt x="290" y="226"/>
                    <a:pt x="313" y="243"/>
                    <a:pt x="305" y="250"/>
                  </a:cubicBezTo>
                  <a:cubicBezTo>
                    <a:pt x="297" y="256"/>
                    <a:pt x="289" y="236"/>
                    <a:pt x="289" y="236"/>
                  </a:cubicBezTo>
                  <a:cubicBezTo>
                    <a:pt x="282" y="216"/>
                    <a:pt x="282" y="216"/>
                    <a:pt x="282" y="216"/>
                  </a:cubicBezTo>
                  <a:cubicBezTo>
                    <a:pt x="258" y="218"/>
                    <a:pt x="258" y="218"/>
                    <a:pt x="258" y="218"/>
                  </a:cubicBezTo>
                  <a:cubicBezTo>
                    <a:pt x="258" y="218"/>
                    <a:pt x="256" y="206"/>
                    <a:pt x="252" y="202"/>
                  </a:cubicBezTo>
                  <a:cubicBezTo>
                    <a:pt x="248" y="198"/>
                    <a:pt x="224" y="203"/>
                    <a:pt x="214" y="202"/>
                  </a:cubicBezTo>
                  <a:cubicBezTo>
                    <a:pt x="205" y="200"/>
                    <a:pt x="204" y="187"/>
                    <a:pt x="197" y="187"/>
                  </a:cubicBezTo>
                  <a:cubicBezTo>
                    <a:pt x="190" y="187"/>
                    <a:pt x="177" y="200"/>
                    <a:pt x="161" y="200"/>
                  </a:cubicBezTo>
                  <a:cubicBezTo>
                    <a:pt x="145" y="200"/>
                    <a:pt x="153" y="187"/>
                    <a:pt x="130" y="188"/>
                  </a:cubicBezTo>
                  <a:cubicBezTo>
                    <a:pt x="108" y="190"/>
                    <a:pt x="130" y="198"/>
                    <a:pt x="122" y="208"/>
                  </a:cubicBezTo>
                  <a:cubicBezTo>
                    <a:pt x="114" y="219"/>
                    <a:pt x="86" y="224"/>
                    <a:pt x="86" y="224"/>
                  </a:cubicBezTo>
                  <a:cubicBezTo>
                    <a:pt x="86" y="239"/>
                    <a:pt x="86" y="239"/>
                    <a:pt x="86" y="239"/>
                  </a:cubicBezTo>
                  <a:cubicBezTo>
                    <a:pt x="68" y="248"/>
                    <a:pt x="68" y="248"/>
                    <a:pt x="68" y="248"/>
                  </a:cubicBezTo>
                  <a:cubicBezTo>
                    <a:pt x="68" y="248"/>
                    <a:pt x="86" y="263"/>
                    <a:pt x="72" y="278"/>
                  </a:cubicBezTo>
                  <a:cubicBezTo>
                    <a:pt x="57" y="292"/>
                    <a:pt x="29" y="250"/>
                    <a:pt x="17" y="251"/>
                  </a:cubicBezTo>
                  <a:cubicBezTo>
                    <a:pt x="5" y="252"/>
                    <a:pt x="13" y="271"/>
                    <a:pt x="13" y="279"/>
                  </a:cubicBezTo>
                  <a:cubicBezTo>
                    <a:pt x="13" y="287"/>
                    <a:pt x="0" y="284"/>
                    <a:pt x="0" y="284"/>
                  </a:cubicBezTo>
                  <a:cubicBezTo>
                    <a:pt x="2" y="308"/>
                    <a:pt x="2" y="308"/>
                    <a:pt x="2" y="308"/>
                  </a:cubicBezTo>
                  <a:cubicBezTo>
                    <a:pt x="2" y="308"/>
                    <a:pt x="8" y="314"/>
                    <a:pt x="8" y="322"/>
                  </a:cubicBezTo>
                  <a:cubicBezTo>
                    <a:pt x="8" y="330"/>
                    <a:pt x="0" y="342"/>
                    <a:pt x="0" y="358"/>
                  </a:cubicBezTo>
                  <a:cubicBezTo>
                    <a:pt x="0" y="374"/>
                    <a:pt x="10" y="364"/>
                    <a:pt x="22" y="370"/>
                  </a:cubicBezTo>
                  <a:cubicBezTo>
                    <a:pt x="34" y="375"/>
                    <a:pt x="20" y="390"/>
                    <a:pt x="32" y="395"/>
                  </a:cubicBezTo>
                  <a:cubicBezTo>
                    <a:pt x="44" y="400"/>
                    <a:pt x="68" y="391"/>
                    <a:pt x="73" y="394"/>
                  </a:cubicBezTo>
                  <a:cubicBezTo>
                    <a:pt x="78" y="396"/>
                    <a:pt x="117" y="436"/>
                    <a:pt x="117" y="444"/>
                  </a:cubicBezTo>
                  <a:cubicBezTo>
                    <a:pt x="117" y="452"/>
                    <a:pt x="94" y="443"/>
                    <a:pt x="94" y="451"/>
                  </a:cubicBezTo>
                  <a:cubicBezTo>
                    <a:pt x="94" y="459"/>
                    <a:pt x="129" y="470"/>
                    <a:pt x="129" y="470"/>
                  </a:cubicBezTo>
                  <a:cubicBezTo>
                    <a:pt x="136" y="460"/>
                    <a:pt x="136" y="460"/>
                    <a:pt x="136" y="460"/>
                  </a:cubicBezTo>
                  <a:cubicBezTo>
                    <a:pt x="136" y="460"/>
                    <a:pt x="145" y="462"/>
                    <a:pt x="152" y="455"/>
                  </a:cubicBezTo>
                  <a:cubicBezTo>
                    <a:pt x="158" y="448"/>
                    <a:pt x="208" y="427"/>
                    <a:pt x="214" y="430"/>
                  </a:cubicBezTo>
                  <a:cubicBezTo>
                    <a:pt x="221" y="432"/>
                    <a:pt x="242" y="448"/>
                    <a:pt x="252" y="448"/>
                  </a:cubicBezTo>
                  <a:cubicBezTo>
                    <a:pt x="261" y="448"/>
                    <a:pt x="269" y="430"/>
                    <a:pt x="289" y="455"/>
                  </a:cubicBezTo>
                  <a:cubicBezTo>
                    <a:pt x="309" y="480"/>
                    <a:pt x="293" y="488"/>
                    <a:pt x="290" y="496"/>
                  </a:cubicBezTo>
                  <a:cubicBezTo>
                    <a:pt x="288" y="504"/>
                    <a:pt x="309" y="520"/>
                    <a:pt x="316" y="523"/>
                  </a:cubicBezTo>
                  <a:cubicBezTo>
                    <a:pt x="322" y="526"/>
                    <a:pt x="333" y="511"/>
                    <a:pt x="341" y="507"/>
                  </a:cubicBezTo>
                  <a:cubicBezTo>
                    <a:pt x="349" y="503"/>
                    <a:pt x="352" y="516"/>
                    <a:pt x="352" y="524"/>
                  </a:cubicBezTo>
                  <a:cubicBezTo>
                    <a:pt x="352" y="532"/>
                    <a:pt x="364" y="542"/>
                    <a:pt x="364" y="542"/>
                  </a:cubicBezTo>
                  <a:cubicBezTo>
                    <a:pt x="337" y="543"/>
                    <a:pt x="337" y="543"/>
                    <a:pt x="337" y="543"/>
                  </a:cubicBezTo>
                  <a:cubicBezTo>
                    <a:pt x="337" y="543"/>
                    <a:pt x="338" y="563"/>
                    <a:pt x="325" y="554"/>
                  </a:cubicBezTo>
                  <a:cubicBezTo>
                    <a:pt x="312" y="544"/>
                    <a:pt x="338" y="531"/>
                    <a:pt x="338" y="531"/>
                  </a:cubicBezTo>
                  <a:cubicBezTo>
                    <a:pt x="338" y="531"/>
                    <a:pt x="290" y="528"/>
                    <a:pt x="282" y="526"/>
                  </a:cubicBezTo>
                  <a:cubicBezTo>
                    <a:pt x="274" y="523"/>
                    <a:pt x="232" y="515"/>
                    <a:pt x="232" y="515"/>
                  </a:cubicBezTo>
                  <a:cubicBezTo>
                    <a:pt x="240" y="538"/>
                    <a:pt x="240" y="538"/>
                    <a:pt x="240" y="538"/>
                  </a:cubicBezTo>
                  <a:cubicBezTo>
                    <a:pt x="240" y="538"/>
                    <a:pt x="224" y="531"/>
                    <a:pt x="218" y="544"/>
                  </a:cubicBezTo>
                  <a:cubicBezTo>
                    <a:pt x="213" y="558"/>
                    <a:pt x="249" y="559"/>
                    <a:pt x="248" y="567"/>
                  </a:cubicBezTo>
                  <a:cubicBezTo>
                    <a:pt x="246" y="575"/>
                    <a:pt x="198" y="550"/>
                    <a:pt x="193" y="562"/>
                  </a:cubicBezTo>
                  <a:cubicBezTo>
                    <a:pt x="188" y="574"/>
                    <a:pt x="221" y="582"/>
                    <a:pt x="221" y="582"/>
                  </a:cubicBezTo>
                  <a:cubicBezTo>
                    <a:pt x="221" y="582"/>
                    <a:pt x="221" y="590"/>
                    <a:pt x="228" y="598"/>
                  </a:cubicBezTo>
                  <a:cubicBezTo>
                    <a:pt x="234" y="606"/>
                    <a:pt x="248" y="622"/>
                    <a:pt x="248" y="622"/>
                  </a:cubicBezTo>
                  <a:cubicBezTo>
                    <a:pt x="246" y="636"/>
                    <a:pt x="246" y="636"/>
                    <a:pt x="246" y="636"/>
                  </a:cubicBezTo>
                  <a:cubicBezTo>
                    <a:pt x="269" y="639"/>
                    <a:pt x="269" y="639"/>
                    <a:pt x="269" y="639"/>
                  </a:cubicBezTo>
                  <a:cubicBezTo>
                    <a:pt x="274" y="654"/>
                    <a:pt x="274" y="654"/>
                    <a:pt x="274" y="654"/>
                  </a:cubicBezTo>
                  <a:cubicBezTo>
                    <a:pt x="274" y="654"/>
                    <a:pt x="309" y="654"/>
                    <a:pt x="320" y="664"/>
                  </a:cubicBezTo>
                  <a:cubicBezTo>
                    <a:pt x="330" y="675"/>
                    <a:pt x="308" y="686"/>
                    <a:pt x="306" y="696"/>
                  </a:cubicBezTo>
                  <a:cubicBezTo>
                    <a:pt x="305" y="707"/>
                    <a:pt x="316" y="708"/>
                    <a:pt x="316" y="708"/>
                  </a:cubicBezTo>
                  <a:cubicBezTo>
                    <a:pt x="317" y="704"/>
                    <a:pt x="323" y="707"/>
                    <a:pt x="328" y="709"/>
                  </a:cubicBezTo>
                  <a:cubicBezTo>
                    <a:pt x="330" y="703"/>
                    <a:pt x="336" y="683"/>
                    <a:pt x="344" y="682"/>
                  </a:cubicBezTo>
                  <a:cubicBezTo>
                    <a:pt x="349" y="681"/>
                    <a:pt x="357" y="682"/>
                    <a:pt x="363" y="683"/>
                  </a:cubicBezTo>
                  <a:cubicBezTo>
                    <a:pt x="364" y="681"/>
                    <a:pt x="364" y="679"/>
                    <a:pt x="365" y="678"/>
                  </a:cubicBezTo>
                  <a:cubicBezTo>
                    <a:pt x="368" y="674"/>
                    <a:pt x="400" y="686"/>
                    <a:pt x="408" y="690"/>
                  </a:cubicBezTo>
                  <a:cubicBezTo>
                    <a:pt x="416" y="694"/>
                    <a:pt x="426" y="707"/>
                    <a:pt x="426" y="707"/>
                  </a:cubicBezTo>
                  <a:cubicBezTo>
                    <a:pt x="426" y="707"/>
                    <a:pt x="444" y="732"/>
                    <a:pt x="454" y="738"/>
                  </a:cubicBezTo>
                  <a:cubicBezTo>
                    <a:pt x="463" y="742"/>
                    <a:pt x="464" y="732"/>
                    <a:pt x="468" y="729"/>
                  </a:cubicBezTo>
                  <a:cubicBezTo>
                    <a:pt x="468" y="729"/>
                    <a:pt x="468" y="729"/>
                    <a:pt x="468" y="729"/>
                  </a:cubicBezTo>
                  <a:cubicBezTo>
                    <a:pt x="433" y="542"/>
                    <a:pt x="433" y="542"/>
                    <a:pt x="433" y="542"/>
                  </a:cubicBezTo>
                  <a:cubicBezTo>
                    <a:pt x="529" y="511"/>
                    <a:pt x="529" y="511"/>
                    <a:pt x="529" y="511"/>
                  </a:cubicBezTo>
                  <a:cubicBezTo>
                    <a:pt x="536" y="514"/>
                    <a:pt x="536" y="514"/>
                    <a:pt x="536" y="514"/>
                  </a:cubicBezTo>
                  <a:cubicBezTo>
                    <a:pt x="536" y="513"/>
                    <a:pt x="536" y="513"/>
                    <a:pt x="536" y="513"/>
                  </a:cubicBezTo>
                  <a:cubicBezTo>
                    <a:pt x="536" y="513"/>
                    <a:pt x="540" y="501"/>
                    <a:pt x="541" y="491"/>
                  </a:cubicBezTo>
                  <a:cubicBezTo>
                    <a:pt x="542" y="481"/>
                    <a:pt x="561" y="486"/>
                    <a:pt x="561" y="486"/>
                  </a:cubicBezTo>
                  <a:cubicBezTo>
                    <a:pt x="566" y="501"/>
                    <a:pt x="566" y="501"/>
                    <a:pt x="566" y="501"/>
                  </a:cubicBezTo>
                  <a:cubicBezTo>
                    <a:pt x="566" y="501"/>
                    <a:pt x="580" y="495"/>
                    <a:pt x="582" y="492"/>
                  </a:cubicBezTo>
                  <a:cubicBezTo>
                    <a:pt x="584" y="489"/>
                    <a:pt x="568" y="471"/>
                    <a:pt x="568" y="471"/>
                  </a:cubicBezTo>
                  <a:cubicBezTo>
                    <a:pt x="578" y="471"/>
                    <a:pt x="578" y="471"/>
                    <a:pt x="578" y="471"/>
                  </a:cubicBezTo>
                  <a:cubicBezTo>
                    <a:pt x="587" y="480"/>
                    <a:pt x="587" y="480"/>
                    <a:pt x="587" y="480"/>
                  </a:cubicBezTo>
                  <a:cubicBezTo>
                    <a:pt x="604" y="479"/>
                    <a:pt x="604" y="479"/>
                    <a:pt x="604" y="479"/>
                  </a:cubicBezTo>
                  <a:cubicBezTo>
                    <a:pt x="604" y="479"/>
                    <a:pt x="618" y="483"/>
                    <a:pt x="621" y="479"/>
                  </a:cubicBezTo>
                  <a:cubicBezTo>
                    <a:pt x="624" y="475"/>
                    <a:pt x="619" y="471"/>
                    <a:pt x="615" y="471"/>
                  </a:cubicBezTo>
                  <a:cubicBezTo>
                    <a:pt x="611" y="471"/>
                    <a:pt x="603" y="466"/>
                    <a:pt x="603" y="466"/>
                  </a:cubicBezTo>
                  <a:cubicBezTo>
                    <a:pt x="603" y="466"/>
                    <a:pt x="587" y="470"/>
                    <a:pt x="584" y="460"/>
                  </a:cubicBezTo>
                  <a:cubicBezTo>
                    <a:pt x="581" y="450"/>
                    <a:pt x="604" y="452"/>
                    <a:pt x="604" y="452"/>
                  </a:cubicBezTo>
                  <a:cubicBezTo>
                    <a:pt x="613" y="444"/>
                    <a:pt x="613" y="444"/>
                    <a:pt x="613" y="444"/>
                  </a:cubicBezTo>
                  <a:cubicBezTo>
                    <a:pt x="613" y="444"/>
                    <a:pt x="625" y="461"/>
                    <a:pt x="628" y="461"/>
                  </a:cubicBezTo>
                  <a:cubicBezTo>
                    <a:pt x="631" y="461"/>
                    <a:pt x="636" y="455"/>
                    <a:pt x="636" y="455"/>
                  </a:cubicBezTo>
                  <a:cubicBezTo>
                    <a:pt x="636" y="455"/>
                    <a:pt x="645" y="465"/>
                    <a:pt x="642" y="471"/>
                  </a:cubicBezTo>
                  <a:cubicBezTo>
                    <a:pt x="639" y="477"/>
                    <a:pt x="625" y="481"/>
                    <a:pt x="625" y="481"/>
                  </a:cubicBezTo>
                  <a:cubicBezTo>
                    <a:pt x="625" y="481"/>
                    <a:pt x="617" y="488"/>
                    <a:pt x="613" y="492"/>
                  </a:cubicBezTo>
                  <a:cubicBezTo>
                    <a:pt x="609" y="496"/>
                    <a:pt x="593" y="491"/>
                    <a:pt x="590" y="493"/>
                  </a:cubicBezTo>
                  <a:cubicBezTo>
                    <a:pt x="587" y="495"/>
                    <a:pt x="587" y="506"/>
                    <a:pt x="587" y="506"/>
                  </a:cubicBezTo>
                  <a:cubicBezTo>
                    <a:pt x="587" y="506"/>
                    <a:pt x="602" y="512"/>
                    <a:pt x="606" y="513"/>
                  </a:cubicBezTo>
                  <a:cubicBezTo>
                    <a:pt x="610" y="514"/>
                    <a:pt x="613" y="523"/>
                    <a:pt x="607" y="532"/>
                  </a:cubicBezTo>
                  <a:cubicBezTo>
                    <a:pt x="604" y="536"/>
                    <a:pt x="607" y="542"/>
                    <a:pt x="610" y="549"/>
                  </a:cubicBezTo>
                  <a:cubicBezTo>
                    <a:pt x="656" y="571"/>
                    <a:pt x="656" y="571"/>
                    <a:pt x="656" y="571"/>
                  </a:cubicBezTo>
                  <a:cubicBezTo>
                    <a:pt x="705" y="619"/>
                    <a:pt x="705" y="619"/>
                    <a:pt x="705" y="619"/>
                  </a:cubicBezTo>
                  <a:cubicBezTo>
                    <a:pt x="705" y="619"/>
                    <a:pt x="742" y="612"/>
                    <a:pt x="758" y="612"/>
                  </a:cubicBezTo>
                  <a:cubicBezTo>
                    <a:pt x="774" y="612"/>
                    <a:pt x="812" y="616"/>
                    <a:pt x="812" y="616"/>
                  </a:cubicBezTo>
                  <a:cubicBezTo>
                    <a:pt x="812" y="616"/>
                    <a:pt x="830" y="604"/>
                    <a:pt x="837" y="604"/>
                  </a:cubicBezTo>
                  <a:cubicBezTo>
                    <a:pt x="844" y="604"/>
                    <a:pt x="874" y="647"/>
                    <a:pt x="874" y="647"/>
                  </a:cubicBezTo>
                  <a:cubicBezTo>
                    <a:pt x="874" y="647"/>
                    <a:pt x="889" y="646"/>
                    <a:pt x="894" y="647"/>
                  </a:cubicBezTo>
                  <a:cubicBezTo>
                    <a:pt x="900" y="648"/>
                    <a:pt x="893" y="696"/>
                    <a:pt x="902" y="699"/>
                  </a:cubicBezTo>
                  <a:cubicBezTo>
                    <a:pt x="912" y="702"/>
                    <a:pt x="912" y="688"/>
                    <a:pt x="921" y="699"/>
                  </a:cubicBezTo>
                  <a:cubicBezTo>
                    <a:pt x="930" y="710"/>
                    <a:pt x="932" y="734"/>
                    <a:pt x="942" y="739"/>
                  </a:cubicBezTo>
                  <a:cubicBezTo>
                    <a:pt x="953" y="744"/>
                    <a:pt x="1000" y="735"/>
                    <a:pt x="1006" y="744"/>
                  </a:cubicBezTo>
                  <a:cubicBezTo>
                    <a:pt x="1013" y="754"/>
                    <a:pt x="996" y="767"/>
                    <a:pt x="1006" y="770"/>
                  </a:cubicBezTo>
                  <a:cubicBezTo>
                    <a:pt x="1017" y="772"/>
                    <a:pt x="1028" y="778"/>
                    <a:pt x="1028" y="778"/>
                  </a:cubicBezTo>
                  <a:cubicBezTo>
                    <a:pt x="1028" y="778"/>
                    <a:pt x="1020" y="754"/>
                    <a:pt x="1029" y="747"/>
                  </a:cubicBezTo>
                  <a:cubicBezTo>
                    <a:pt x="1038" y="740"/>
                    <a:pt x="1046" y="740"/>
                    <a:pt x="1046" y="740"/>
                  </a:cubicBezTo>
                  <a:cubicBezTo>
                    <a:pt x="1046" y="740"/>
                    <a:pt x="1045" y="722"/>
                    <a:pt x="1056" y="719"/>
                  </a:cubicBezTo>
                  <a:cubicBezTo>
                    <a:pt x="1066" y="716"/>
                    <a:pt x="1078" y="714"/>
                    <a:pt x="1078" y="714"/>
                  </a:cubicBezTo>
                  <a:cubicBezTo>
                    <a:pt x="1086" y="696"/>
                    <a:pt x="1086" y="696"/>
                    <a:pt x="1086" y="696"/>
                  </a:cubicBezTo>
                  <a:cubicBezTo>
                    <a:pt x="1104" y="695"/>
                    <a:pt x="1104" y="695"/>
                    <a:pt x="1104" y="695"/>
                  </a:cubicBezTo>
                  <a:cubicBezTo>
                    <a:pt x="1123" y="686"/>
                    <a:pt x="1123" y="686"/>
                    <a:pt x="1123" y="686"/>
                  </a:cubicBezTo>
                  <a:cubicBezTo>
                    <a:pt x="1117" y="683"/>
                    <a:pt x="1107" y="683"/>
                    <a:pt x="1107" y="683"/>
                  </a:cubicBezTo>
                  <a:cubicBezTo>
                    <a:pt x="1107" y="683"/>
                    <a:pt x="1108" y="654"/>
                    <a:pt x="1131" y="653"/>
                  </a:cubicBezTo>
                  <a:cubicBezTo>
                    <a:pt x="1154" y="652"/>
                    <a:pt x="1185" y="672"/>
                    <a:pt x="1185" y="672"/>
                  </a:cubicBezTo>
                  <a:cubicBezTo>
                    <a:pt x="1208" y="672"/>
                    <a:pt x="1208" y="672"/>
                    <a:pt x="1208" y="672"/>
                  </a:cubicBezTo>
                  <a:cubicBezTo>
                    <a:pt x="1219" y="678"/>
                    <a:pt x="1219" y="678"/>
                    <a:pt x="1219" y="678"/>
                  </a:cubicBezTo>
                  <a:cubicBezTo>
                    <a:pt x="1219" y="678"/>
                    <a:pt x="1211" y="643"/>
                    <a:pt x="1214" y="640"/>
                  </a:cubicBezTo>
                  <a:cubicBezTo>
                    <a:pt x="1217" y="637"/>
                    <a:pt x="1230" y="635"/>
                    <a:pt x="1240" y="635"/>
                  </a:cubicBezTo>
                  <a:cubicBezTo>
                    <a:pt x="1250" y="635"/>
                    <a:pt x="1260" y="647"/>
                    <a:pt x="1264" y="647"/>
                  </a:cubicBezTo>
                  <a:cubicBezTo>
                    <a:pt x="1268" y="647"/>
                    <a:pt x="1296" y="653"/>
                    <a:pt x="1296" y="653"/>
                  </a:cubicBezTo>
                  <a:cubicBezTo>
                    <a:pt x="1308" y="649"/>
                    <a:pt x="1308" y="649"/>
                    <a:pt x="1308" y="649"/>
                  </a:cubicBezTo>
                  <a:cubicBezTo>
                    <a:pt x="1308" y="649"/>
                    <a:pt x="1356" y="649"/>
                    <a:pt x="1364" y="648"/>
                  </a:cubicBezTo>
                  <a:cubicBezTo>
                    <a:pt x="1372" y="647"/>
                    <a:pt x="1402" y="651"/>
                    <a:pt x="1402" y="651"/>
                  </a:cubicBezTo>
                  <a:cubicBezTo>
                    <a:pt x="1434" y="650"/>
                    <a:pt x="1434" y="650"/>
                    <a:pt x="1434" y="650"/>
                  </a:cubicBezTo>
                  <a:cubicBezTo>
                    <a:pt x="1442" y="658"/>
                    <a:pt x="1442" y="658"/>
                    <a:pt x="1442" y="658"/>
                  </a:cubicBezTo>
                  <a:cubicBezTo>
                    <a:pt x="1454" y="658"/>
                    <a:pt x="1454" y="658"/>
                    <a:pt x="1454" y="658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99" y="676"/>
                    <a:pt x="1499" y="676"/>
                    <a:pt x="1499" y="676"/>
                  </a:cubicBezTo>
                  <a:cubicBezTo>
                    <a:pt x="1513" y="681"/>
                    <a:pt x="1513" y="681"/>
                    <a:pt x="1513" y="681"/>
                  </a:cubicBezTo>
                  <a:cubicBezTo>
                    <a:pt x="1512" y="680"/>
                    <a:pt x="1512" y="680"/>
                    <a:pt x="1512" y="680"/>
                  </a:cubicBezTo>
                  <a:cubicBezTo>
                    <a:pt x="1507" y="675"/>
                    <a:pt x="1503" y="664"/>
                    <a:pt x="1503" y="659"/>
                  </a:cubicBezTo>
                  <a:cubicBezTo>
                    <a:pt x="1503" y="654"/>
                    <a:pt x="1517" y="656"/>
                    <a:pt x="1517" y="656"/>
                  </a:cubicBezTo>
                  <a:cubicBezTo>
                    <a:pt x="1517" y="656"/>
                    <a:pt x="1506" y="644"/>
                    <a:pt x="1506" y="641"/>
                  </a:cubicBezTo>
                  <a:cubicBezTo>
                    <a:pt x="1506" y="638"/>
                    <a:pt x="1522" y="641"/>
                    <a:pt x="1522" y="634"/>
                  </a:cubicBezTo>
                  <a:cubicBezTo>
                    <a:pt x="1522" y="627"/>
                    <a:pt x="1492" y="596"/>
                    <a:pt x="1484" y="587"/>
                  </a:cubicBezTo>
                  <a:cubicBezTo>
                    <a:pt x="1476" y="578"/>
                    <a:pt x="1476" y="552"/>
                    <a:pt x="1476" y="552"/>
                  </a:cubicBezTo>
                  <a:cubicBezTo>
                    <a:pt x="1476" y="552"/>
                    <a:pt x="1458" y="555"/>
                    <a:pt x="1451" y="546"/>
                  </a:cubicBezTo>
                  <a:cubicBezTo>
                    <a:pt x="1444" y="537"/>
                    <a:pt x="1475" y="530"/>
                    <a:pt x="1481" y="529"/>
                  </a:cubicBezTo>
                  <a:cubicBezTo>
                    <a:pt x="1487" y="528"/>
                    <a:pt x="1511" y="518"/>
                    <a:pt x="1516" y="518"/>
                  </a:cubicBezTo>
                  <a:cubicBezTo>
                    <a:pt x="1521" y="518"/>
                    <a:pt x="1530" y="532"/>
                    <a:pt x="1530" y="532"/>
                  </a:cubicBezTo>
                  <a:cubicBezTo>
                    <a:pt x="1543" y="525"/>
                    <a:pt x="1543" y="525"/>
                    <a:pt x="1543" y="525"/>
                  </a:cubicBezTo>
                  <a:cubicBezTo>
                    <a:pt x="1543" y="525"/>
                    <a:pt x="1550" y="539"/>
                    <a:pt x="1559" y="528"/>
                  </a:cubicBezTo>
                  <a:cubicBezTo>
                    <a:pt x="1568" y="517"/>
                    <a:pt x="1545" y="515"/>
                    <a:pt x="1541" y="513"/>
                  </a:cubicBezTo>
                  <a:cubicBezTo>
                    <a:pt x="1537" y="511"/>
                    <a:pt x="1541" y="459"/>
                    <a:pt x="1541" y="447"/>
                  </a:cubicBezTo>
                  <a:cubicBezTo>
                    <a:pt x="1541" y="435"/>
                    <a:pt x="1540" y="420"/>
                    <a:pt x="1546" y="420"/>
                  </a:cubicBezTo>
                  <a:cubicBezTo>
                    <a:pt x="1552" y="420"/>
                    <a:pt x="1577" y="432"/>
                    <a:pt x="1585" y="434"/>
                  </a:cubicBezTo>
                  <a:cubicBezTo>
                    <a:pt x="1593" y="436"/>
                    <a:pt x="1614" y="434"/>
                    <a:pt x="1614" y="434"/>
                  </a:cubicBezTo>
                  <a:cubicBezTo>
                    <a:pt x="1623" y="442"/>
                    <a:pt x="1623" y="442"/>
                    <a:pt x="1623" y="442"/>
                  </a:cubicBezTo>
                  <a:cubicBezTo>
                    <a:pt x="1634" y="430"/>
                    <a:pt x="1634" y="430"/>
                    <a:pt x="1634" y="430"/>
                  </a:cubicBezTo>
                  <a:cubicBezTo>
                    <a:pt x="1634" y="430"/>
                    <a:pt x="1642" y="431"/>
                    <a:pt x="1649" y="426"/>
                  </a:cubicBezTo>
                  <a:cubicBezTo>
                    <a:pt x="1656" y="421"/>
                    <a:pt x="1650" y="410"/>
                    <a:pt x="1641" y="397"/>
                  </a:cubicBezTo>
                  <a:cubicBezTo>
                    <a:pt x="1632" y="384"/>
                    <a:pt x="1622" y="375"/>
                    <a:pt x="1627" y="361"/>
                  </a:cubicBezTo>
                  <a:cubicBezTo>
                    <a:pt x="1632" y="347"/>
                    <a:pt x="1661" y="357"/>
                    <a:pt x="1667" y="348"/>
                  </a:cubicBezTo>
                  <a:cubicBezTo>
                    <a:pt x="1673" y="339"/>
                    <a:pt x="1654" y="336"/>
                    <a:pt x="1655" y="327"/>
                  </a:cubicBezTo>
                  <a:close/>
                  <a:moveTo>
                    <a:pt x="1385" y="465"/>
                  </a:moveTo>
                  <a:cubicBezTo>
                    <a:pt x="1380" y="470"/>
                    <a:pt x="1363" y="466"/>
                    <a:pt x="1363" y="466"/>
                  </a:cubicBezTo>
                  <a:cubicBezTo>
                    <a:pt x="1363" y="466"/>
                    <a:pt x="1361" y="472"/>
                    <a:pt x="1356" y="473"/>
                  </a:cubicBezTo>
                  <a:cubicBezTo>
                    <a:pt x="1351" y="474"/>
                    <a:pt x="1340" y="464"/>
                    <a:pt x="1340" y="464"/>
                  </a:cubicBezTo>
                  <a:cubicBezTo>
                    <a:pt x="1320" y="467"/>
                    <a:pt x="1320" y="467"/>
                    <a:pt x="1320" y="467"/>
                  </a:cubicBezTo>
                  <a:cubicBezTo>
                    <a:pt x="1299" y="463"/>
                    <a:pt x="1299" y="463"/>
                    <a:pt x="1299" y="463"/>
                  </a:cubicBezTo>
                  <a:cubicBezTo>
                    <a:pt x="1287" y="464"/>
                    <a:pt x="1287" y="464"/>
                    <a:pt x="1287" y="464"/>
                  </a:cubicBezTo>
                  <a:cubicBezTo>
                    <a:pt x="1270" y="459"/>
                    <a:pt x="1270" y="459"/>
                    <a:pt x="1270" y="459"/>
                  </a:cubicBezTo>
                  <a:cubicBezTo>
                    <a:pt x="1270" y="459"/>
                    <a:pt x="1259" y="460"/>
                    <a:pt x="1246" y="460"/>
                  </a:cubicBezTo>
                  <a:cubicBezTo>
                    <a:pt x="1233" y="460"/>
                    <a:pt x="1236" y="454"/>
                    <a:pt x="1236" y="454"/>
                  </a:cubicBezTo>
                  <a:cubicBezTo>
                    <a:pt x="1236" y="454"/>
                    <a:pt x="1228" y="462"/>
                    <a:pt x="1222" y="464"/>
                  </a:cubicBezTo>
                  <a:cubicBezTo>
                    <a:pt x="1216" y="466"/>
                    <a:pt x="1215" y="476"/>
                    <a:pt x="1209" y="484"/>
                  </a:cubicBezTo>
                  <a:cubicBezTo>
                    <a:pt x="1203" y="492"/>
                    <a:pt x="1195" y="489"/>
                    <a:pt x="1195" y="489"/>
                  </a:cubicBezTo>
                  <a:cubicBezTo>
                    <a:pt x="1199" y="507"/>
                    <a:pt x="1199" y="507"/>
                    <a:pt x="1199" y="507"/>
                  </a:cubicBezTo>
                  <a:cubicBezTo>
                    <a:pt x="1191" y="514"/>
                    <a:pt x="1191" y="514"/>
                    <a:pt x="1191" y="514"/>
                  </a:cubicBezTo>
                  <a:cubicBezTo>
                    <a:pt x="1201" y="525"/>
                    <a:pt x="1201" y="525"/>
                    <a:pt x="1201" y="525"/>
                  </a:cubicBezTo>
                  <a:cubicBezTo>
                    <a:pt x="1200" y="542"/>
                    <a:pt x="1200" y="542"/>
                    <a:pt x="1200" y="542"/>
                  </a:cubicBezTo>
                  <a:cubicBezTo>
                    <a:pt x="1196" y="541"/>
                    <a:pt x="1167" y="507"/>
                    <a:pt x="1167" y="507"/>
                  </a:cubicBezTo>
                  <a:cubicBezTo>
                    <a:pt x="1167" y="507"/>
                    <a:pt x="1163" y="492"/>
                    <a:pt x="1163" y="481"/>
                  </a:cubicBezTo>
                  <a:cubicBezTo>
                    <a:pt x="1163" y="470"/>
                    <a:pt x="1181" y="467"/>
                    <a:pt x="1185" y="466"/>
                  </a:cubicBezTo>
                  <a:cubicBezTo>
                    <a:pt x="1189" y="465"/>
                    <a:pt x="1187" y="454"/>
                    <a:pt x="1193" y="448"/>
                  </a:cubicBezTo>
                  <a:cubicBezTo>
                    <a:pt x="1199" y="442"/>
                    <a:pt x="1224" y="448"/>
                    <a:pt x="1228" y="448"/>
                  </a:cubicBezTo>
                  <a:cubicBezTo>
                    <a:pt x="1232" y="448"/>
                    <a:pt x="1240" y="442"/>
                    <a:pt x="1253" y="443"/>
                  </a:cubicBezTo>
                  <a:cubicBezTo>
                    <a:pt x="1266" y="444"/>
                    <a:pt x="1274" y="451"/>
                    <a:pt x="1281" y="452"/>
                  </a:cubicBezTo>
                  <a:cubicBezTo>
                    <a:pt x="1288" y="453"/>
                    <a:pt x="1293" y="456"/>
                    <a:pt x="1306" y="458"/>
                  </a:cubicBezTo>
                  <a:cubicBezTo>
                    <a:pt x="1319" y="460"/>
                    <a:pt x="1315" y="449"/>
                    <a:pt x="1328" y="449"/>
                  </a:cubicBezTo>
                  <a:cubicBezTo>
                    <a:pt x="1341" y="449"/>
                    <a:pt x="1360" y="454"/>
                    <a:pt x="1360" y="454"/>
                  </a:cubicBezTo>
                  <a:cubicBezTo>
                    <a:pt x="1360" y="454"/>
                    <a:pt x="1370" y="445"/>
                    <a:pt x="1384" y="443"/>
                  </a:cubicBezTo>
                  <a:cubicBezTo>
                    <a:pt x="1398" y="441"/>
                    <a:pt x="1390" y="460"/>
                    <a:pt x="1385" y="46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3" name="Freeform 131">
              <a:extLst>
                <a:ext uri="{FF2B5EF4-FFF2-40B4-BE49-F238E27FC236}">
                  <a16:creationId xmlns:a16="http://schemas.microsoft.com/office/drawing/2014/main" id="{3A9BB94F-DF84-0998-B27E-DEE4EA18D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141" y="4234376"/>
              <a:ext cx="338401" cy="419191"/>
            </a:xfrm>
            <a:custGeom>
              <a:avLst/>
              <a:gdLst>
                <a:gd name="T0" fmla="*/ 1 w 597"/>
                <a:gd name="T1" fmla="*/ 4 h 735"/>
                <a:gd name="T2" fmla="*/ 2 w 597"/>
                <a:gd name="T3" fmla="*/ 2 h 735"/>
                <a:gd name="T4" fmla="*/ 3 w 597"/>
                <a:gd name="T5" fmla="*/ 1 h 735"/>
                <a:gd name="T6" fmla="*/ 2 w 597"/>
                <a:gd name="T7" fmla="*/ 1 h 735"/>
                <a:gd name="T8" fmla="*/ 1 w 597"/>
                <a:gd name="T9" fmla="*/ 1 h 735"/>
                <a:gd name="T10" fmla="*/ 1 w 597"/>
                <a:gd name="T11" fmla="*/ 2 h 735"/>
                <a:gd name="T12" fmla="*/ 30 w 597"/>
                <a:gd name="T13" fmla="*/ 19 h 735"/>
                <a:gd name="T14" fmla="*/ 29 w 597"/>
                <a:gd name="T15" fmla="*/ 19 h 735"/>
                <a:gd name="T16" fmla="*/ 28 w 597"/>
                <a:gd name="T17" fmla="*/ 19 h 735"/>
                <a:gd name="T18" fmla="*/ 26 w 597"/>
                <a:gd name="T19" fmla="*/ 19 h 735"/>
                <a:gd name="T20" fmla="*/ 26 w 597"/>
                <a:gd name="T21" fmla="*/ 18 h 735"/>
                <a:gd name="T22" fmla="*/ 25 w 597"/>
                <a:gd name="T23" fmla="*/ 16 h 735"/>
                <a:gd name="T24" fmla="*/ 25 w 597"/>
                <a:gd name="T25" fmla="*/ 13 h 735"/>
                <a:gd name="T26" fmla="*/ 25 w 597"/>
                <a:gd name="T27" fmla="*/ 12 h 735"/>
                <a:gd name="T28" fmla="*/ 25 w 597"/>
                <a:gd name="T29" fmla="*/ 10 h 735"/>
                <a:gd name="T30" fmla="*/ 25 w 597"/>
                <a:gd name="T31" fmla="*/ 9 h 735"/>
                <a:gd name="T32" fmla="*/ 22 w 597"/>
                <a:gd name="T33" fmla="*/ 8 h 735"/>
                <a:gd name="T34" fmla="*/ 21 w 597"/>
                <a:gd name="T35" fmla="*/ 8 h 735"/>
                <a:gd name="T36" fmla="*/ 20 w 597"/>
                <a:gd name="T37" fmla="*/ 9 h 735"/>
                <a:gd name="T38" fmla="*/ 19 w 597"/>
                <a:gd name="T39" fmla="*/ 10 h 735"/>
                <a:gd name="T40" fmla="*/ 17 w 597"/>
                <a:gd name="T41" fmla="*/ 10 h 735"/>
                <a:gd name="T42" fmla="*/ 16 w 597"/>
                <a:gd name="T43" fmla="*/ 10 h 735"/>
                <a:gd name="T44" fmla="*/ 16 w 597"/>
                <a:gd name="T45" fmla="*/ 10 h 735"/>
                <a:gd name="T46" fmla="*/ 14 w 597"/>
                <a:gd name="T47" fmla="*/ 10 h 735"/>
                <a:gd name="T48" fmla="*/ 14 w 597"/>
                <a:gd name="T49" fmla="*/ 9 h 735"/>
                <a:gd name="T50" fmla="*/ 13 w 597"/>
                <a:gd name="T51" fmla="*/ 7 h 735"/>
                <a:gd name="T52" fmla="*/ 12 w 597"/>
                <a:gd name="T53" fmla="*/ 5 h 735"/>
                <a:gd name="T54" fmla="*/ 11 w 597"/>
                <a:gd name="T55" fmla="*/ 4 h 735"/>
                <a:gd name="T56" fmla="*/ 10 w 597"/>
                <a:gd name="T57" fmla="*/ 4 h 735"/>
                <a:gd name="T58" fmla="*/ 8 w 597"/>
                <a:gd name="T59" fmla="*/ 4 h 735"/>
                <a:gd name="T60" fmla="*/ 6 w 597"/>
                <a:gd name="T61" fmla="*/ 4 h 735"/>
                <a:gd name="T62" fmla="*/ 4 w 597"/>
                <a:gd name="T63" fmla="*/ 4 h 735"/>
                <a:gd name="T64" fmla="*/ 3 w 597"/>
                <a:gd name="T65" fmla="*/ 4 h 735"/>
                <a:gd name="T66" fmla="*/ 2 w 597"/>
                <a:gd name="T67" fmla="*/ 5 h 735"/>
                <a:gd name="T68" fmla="*/ 3 w 597"/>
                <a:gd name="T69" fmla="*/ 7 h 735"/>
                <a:gd name="T70" fmla="*/ 3 w 597"/>
                <a:gd name="T71" fmla="*/ 8 h 735"/>
                <a:gd name="T72" fmla="*/ 4 w 597"/>
                <a:gd name="T73" fmla="*/ 13 h 735"/>
                <a:gd name="T74" fmla="*/ 4 w 597"/>
                <a:gd name="T75" fmla="*/ 14 h 735"/>
                <a:gd name="T76" fmla="*/ 6 w 597"/>
                <a:gd name="T77" fmla="*/ 20 h 735"/>
                <a:gd name="T78" fmla="*/ 5 w 597"/>
                <a:gd name="T79" fmla="*/ 23 h 735"/>
                <a:gd name="T80" fmla="*/ 3 w 597"/>
                <a:gd name="T81" fmla="*/ 24 h 735"/>
                <a:gd name="T82" fmla="*/ 2 w 597"/>
                <a:gd name="T83" fmla="*/ 25 h 735"/>
                <a:gd name="T84" fmla="*/ 2 w 597"/>
                <a:gd name="T85" fmla="*/ 27 h 735"/>
                <a:gd name="T86" fmla="*/ 1 w 597"/>
                <a:gd name="T87" fmla="*/ 30 h 735"/>
                <a:gd name="T88" fmla="*/ 0 w 597"/>
                <a:gd name="T89" fmla="*/ 32 h 735"/>
                <a:gd name="T90" fmla="*/ 1 w 597"/>
                <a:gd name="T91" fmla="*/ 34 h 735"/>
                <a:gd name="T92" fmla="*/ 0 w 597"/>
                <a:gd name="T93" fmla="*/ 36 h 735"/>
                <a:gd name="T94" fmla="*/ 1 w 597"/>
                <a:gd name="T95" fmla="*/ 36 h 735"/>
                <a:gd name="T96" fmla="*/ 3 w 597"/>
                <a:gd name="T97" fmla="*/ 36 h 735"/>
                <a:gd name="T98" fmla="*/ 4 w 597"/>
                <a:gd name="T99" fmla="*/ 36 h 735"/>
                <a:gd name="T100" fmla="*/ 17 w 597"/>
                <a:gd name="T101" fmla="*/ 37 h 735"/>
                <a:gd name="T102" fmla="*/ 19 w 597"/>
                <a:gd name="T103" fmla="*/ 38 h 735"/>
                <a:gd name="T104" fmla="*/ 21 w 597"/>
                <a:gd name="T105" fmla="*/ 38 h 735"/>
                <a:gd name="T106" fmla="*/ 24 w 597"/>
                <a:gd name="T107" fmla="*/ 39 h 735"/>
                <a:gd name="T108" fmla="*/ 25 w 597"/>
                <a:gd name="T109" fmla="*/ 34 h 735"/>
                <a:gd name="T110" fmla="*/ 25 w 597"/>
                <a:gd name="T111" fmla="*/ 33 h 735"/>
                <a:gd name="T112" fmla="*/ 29 w 597"/>
                <a:gd name="T113" fmla="*/ 25 h 735"/>
                <a:gd name="T114" fmla="*/ 30 w 597"/>
                <a:gd name="T115" fmla="*/ 23 h 735"/>
                <a:gd name="T116" fmla="*/ 30 w 597"/>
                <a:gd name="T117" fmla="*/ 22 h 735"/>
                <a:gd name="T118" fmla="*/ 30 w 597"/>
                <a:gd name="T119" fmla="*/ 20 h 73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7"/>
                <a:gd name="T181" fmla="*/ 0 h 735"/>
                <a:gd name="T182" fmla="*/ 597 w 597"/>
                <a:gd name="T183" fmla="*/ 735 h 73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7" h="735">
                  <a:moveTo>
                    <a:pt x="30" y="77"/>
                  </a:moveTo>
                  <a:cubicBezTo>
                    <a:pt x="30" y="77"/>
                    <a:pt x="31" y="78"/>
                    <a:pt x="32" y="79"/>
                  </a:cubicBezTo>
                  <a:cubicBezTo>
                    <a:pt x="37" y="76"/>
                    <a:pt x="42" y="74"/>
                    <a:pt x="45" y="72"/>
                  </a:cubicBezTo>
                  <a:cubicBezTo>
                    <a:pt x="53" y="68"/>
                    <a:pt x="41" y="42"/>
                    <a:pt x="41" y="4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6" y="0"/>
                    <a:pt x="59" y="1"/>
                  </a:cubicBezTo>
                  <a:cubicBezTo>
                    <a:pt x="52" y="2"/>
                    <a:pt x="38" y="15"/>
                    <a:pt x="38" y="1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30" y="77"/>
                  </a:lnTo>
                  <a:close/>
                  <a:moveTo>
                    <a:pt x="583" y="362"/>
                  </a:moveTo>
                  <a:cubicBezTo>
                    <a:pt x="569" y="364"/>
                    <a:pt x="569" y="364"/>
                    <a:pt x="569" y="364"/>
                  </a:cubicBezTo>
                  <a:cubicBezTo>
                    <a:pt x="569" y="364"/>
                    <a:pt x="565" y="357"/>
                    <a:pt x="558" y="357"/>
                  </a:cubicBezTo>
                  <a:cubicBezTo>
                    <a:pt x="551" y="357"/>
                    <a:pt x="551" y="362"/>
                    <a:pt x="551" y="362"/>
                  </a:cubicBezTo>
                  <a:cubicBezTo>
                    <a:pt x="535" y="367"/>
                    <a:pt x="535" y="367"/>
                    <a:pt x="535" y="367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1" y="375"/>
                    <a:pt x="511" y="375"/>
                    <a:pt x="511" y="375"/>
                  </a:cubicBezTo>
                  <a:cubicBezTo>
                    <a:pt x="511" y="375"/>
                    <a:pt x="503" y="373"/>
                    <a:pt x="500" y="369"/>
                  </a:cubicBezTo>
                  <a:cubicBezTo>
                    <a:pt x="497" y="365"/>
                    <a:pt x="500" y="353"/>
                    <a:pt x="503" y="346"/>
                  </a:cubicBezTo>
                  <a:cubicBezTo>
                    <a:pt x="506" y="339"/>
                    <a:pt x="507" y="324"/>
                    <a:pt x="507" y="324"/>
                  </a:cubicBezTo>
                  <a:cubicBezTo>
                    <a:pt x="507" y="324"/>
                    <a:pt x="503" y="306"/>
                    <a:pt x="496" y="299"/>
                  </a:cubicBezTo>
                  <a:cubicBezTo>
                    <a:pt x="489" y="292"/>
                    <a:pt x="483" y="284"/>
                    <a:pt x="483" y="276"/>
                  </a:cubicBezTo>
                  <a:cubicBezTo>
                    <a:pt x="483" y="268"/>
                    <a:pt x="488" y="256"/>
                    <a:pt x="488" y="256"/>
                  </a:cubicBezTo>
                  <a:cubicBezTo>
                    <a:pt x="485" y="240"/>
                    <a:pt x="485" y="240"/>
                    <a:pt x="485" y="240"/>
                  </a:cubicBezTo>
                  <a:cubicBezTo>
                    <a:pt x="485" y="240"/>
                    <a:pt x="493" y="231"/>
                    <a:pt x="493" y="224"/>
                  </a:cubicBezTo>
                  <a:cubicBezTo>
                    <a:pt x="493" y="217"/>
                    <a:pt x="480" y="204"/>
                    <a:pt x="480" y="204"/>
                  </a:cubicBezTo>
                  <a:cubicBezTo>
                    <a:pt x="477" y="190"/>
                    <a:pt x="477" y="190"/>
                    <a:pt x="477" y="190"/>
                  </a:cubicBezTo>
                  <a:cubicBezTo>
                    <a:pt x="484" y="180"/>
                    <a:pt x="484" y="180"/>
                    <a:pt x="484" y="18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24" y="163"/>
                    <a:pt x="424" y="163"/>
                    <a:pt x="424" y="163"/>
                  </a:cubicBezTo>
                  <a:cubicBezTo>
                    <a:pt x="423" y="155"/>
                    <a:pt x="423" y="155"/>
                    <a:pt x="423" y="155"/>
                  </a:cubicBezTo>
                  <a:cubicBezTo>
                    <a:pt x="423" y="155"/>
                    <a:pt x="427" y="146"/>
                    <a:pt x="418" y="143"/>
                  </a:cubicBezTo>
                  <a:cubicBezTo>
                    <a:pt x="409" y="140"/>
                    <a:pt x="409" y="148"/>
                    <a:pt x="409" y="148"/>
                  </a:cubicBezTo>
                  <a:cubicBezTo>
                    <a:pt x="409" y="148"/>
                    <a:pt x="380" y="145"/>
                    <a:pt x="375" y="149"/>
                  </a:cubicBezTo>
                  <a:cubicBezTo>
                    <a:pt x="370" y="153"/>
                    <a:pt x="381" y="165"/>
                    <a:pt x="381" y="170"/>
                  </a:cubicBezTo>
                  <a:cubicBezTo>
                    <a:pt x="381" y="175"/>
                    <a:pt x="374" y="175"/>
                    <a:pt x="371" y="179"/>
                  </a:cubicBezTo>
                  <a:cubicBezTo>
                    <a:pt x="368" y="183"/>
                    <a:pt x="369" y="197"/>
                    <a:pt x="369" y="197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5" y="195"/>
                    <a:pt x="335" y="195"/>
                    <a:pt x="335" y="195"/>
                  </a:cubicBezTo>
                  <a:cubicBezTo>
                    <a:pt x="328" y="201"/>
                    <a:pt x="328" y="201"/>
                    <a:pt x="328" y="201"/>
                  </a:cubicBezTo>
                  <a:cubicBezTo>
                    <a:pt x="313" y="201"/>
                    <a:pt x="313" y="201"/>
                    <a:pt x="313" y="201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281" y="204"/>
                    <a:pt x="281" y="204"/>
                    <a:pt x="281" y="204"/>
                  </a:cubicBezTo>
                  <a:cubicBezTo>
                    <a:pt x="278" y="194"/>
                    <a:pt x="278" y="194"/>
                    <a:pt x="278" y="194"/>
                  </a:cubicBezTo>
                  <a:cubicBezTo>
                    <a:pt x="272" y="186"/>
                    <a:pt x="272" y="186"/>
                    <a:pt x="272" y="186"/>
                  </a:cubicBezTo>
                  <a:cubicBezTo>
                    <a:pt x="272" y="186"/>
                    <a:pt x="270" y="178"/>
                    <a:pt x="265" y="172"/>
                  </a:cubicBezTo>
                  <a:cubicBezTo>
                    <a:pt x="260" y="166"/>
                    <a:pt x="254" y="163"/>
                    <a:pt x="254" y="163"/>
                  </a:cubicBezTo>
                  <a:cubicBezTo>
                    <a:pt x="254" y="163"/>
                    <a:pt x="256" y="147"/>
                    <a:pt x="255" y="141"/>
                  </a:cubicBezTo>
                  <a:cubicBezTo>
                    <a:pt x="254" y="135"/>
                    <a:pt x="244" y="128"/>
                    <a:pt x="244" y="12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37" y="94"/>
                    <a:pt x="232" y="85"/>
                  </a:cubicBezTo>
                  <a:cubicBezTo>
                    <a:pt x="227" y="76"/>
                    <a:pt x="209" y="84"/>
                    <a:pt x="209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85" y="86"/>
                    <a:pt x="185" y="86"/>
                    <a:pt x="185" y="86"/>
                  </a:cubicBezTo>
                  <a:cubicBezTo>
                    <a:pt x="185" y="86"/>
                    <a:pt x="178" y="86"/>
                    <a:pt x="173" y="86"/>
                  </a:cubicBezTo>
                  <a:cubicBezTo>
                    <a:pt x="168" y="86"/>
                    <a:pt x="155" y="84"/>
                    <a:pt x="155" y="84"/>
                  </a:cubicBezTo>
                  <a:cubicBezTo>
                    <a:pt x="155" y="84"/>
                    <a:pt x="137" y="87"/>
                    <a:pt x="130" y="88"/>
                  </a:cubicBezTo>
                  <a:cubicBezTo>
                    <a:pt x="123" y="89"/>
                    <a:pt x="112" y="82"/>
                    <a:pt x="112" y="82"/>
                  </a:cubicBezTo>
                  <a:cubicBezTo>
                    <a:pt x="97" y="86"/>
                    <a:pt x="97" y="86"/>
                    <a:pt x="97" y="8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4" y="95"/>
                    <a:pt x="44" y="96"/>
                    <a:pt x="43" y="97"/>
                  </a:cubicBezTo>
                  <a:cubicBezTo>
                    <a:pt x="37" y="101"/>
                    <a:pt x="32" y="102"/>
                    <a:pt x="32" y="102"/>
                  </a:cubicBezTo>
                  <a:cubicBezTo>
                    <a:pt x="32" y="102"/>
                    <a:pt x="45" y="121"/>
                    <a:pt x="48" y="128"/>
                  </a:cubicBezTo>
                  <a:cubicBezTo>
                    <a:pt x="51" y="135"/>
                    <a:pt x="60" y="138"/>
                    <a:pt x="60" y="138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57"/>
                    <a:pt x="88" y="194"/>
                    <a:pt x="85" y="221"/>
                  </a:cubicBezTo>
                  <a:cubicBezTo>
                    <a:pt x="82" y="248"/>
                    <a:pt x="69" y="254"/>
                    <a:pt x="69" y="254"/>
                  </a:cubicBezTo>
                  <a:cubicBezTo>
                    <a:pt x="68" y="271"/>
                    <a:pt x="68" y="271"/>
                    <a:pt x="68" y="271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75" y="270"/>
                    <a:pt x="71" y="293"/>
                    <a:pt x="85" y="314"/>
                  </a:cubicBezTo>
                  <a:cubicBezTo>
                    <a:pt x="99" y="335"/>
                    <a:pt x="111" y="373"/>
                    <a:pt x="108" y="388"/>
                  </a:cubicBezTo>
                  <a:cubicBezTo>
                    <a:pt x="105" y="403"/>
                    <a:pt x="94" y="420"/>
                    <a:pt x="94" y="420"/>
                  </a:cubicBezTo>
                  <a:cubicBezTo>
                    <a:pt x="94" y="420"/>
                    <a:pt x="101" y="436"/>
                    <a:pt x="93" y="442"/>
                  </a:cubicBezTo>
                  <a:cubicBezTo>
                    <a:pt x="85" y="448"/>
                    <a:pt x="72" y="446"/>
                    <a:pt x="72" y="446"/>
                  </a:cubicBezTo>
                  <a:cubicBezTo>
                    <a:pt x="66" y="460"/>
                    <a:pt x="66" y="460"/>
                    <a:pt x="66" y="460"/>
                  </a:cubicBezTo>
                  <a:cubicBezTo>
                    <a:pt x="68" y="475"/>
                    <a:pt x="68" y="475"/>
                    <a:pt x="68" y="475"/>
                  </a:cubicBezTo>
                  <a:cubicBezTo>
                    <a:pt x="68" y="475"/>
                    <a:pt x="43" y="472"/>
                    <a:pt x="44" y="484"/>
                  </a:cubicBezTo>
                  <a:cubicBezTo>
                    <a:pt x="45" y="496"/>
                    <a:pt x="41" y="514"/>
                    <a:pt x="41" y="514"/>
                  </a:cubicBezTo>
                  <a:cubicBezTo>
                    <a:pt x="34" y="524"/>
                    <a:pt x="34" y="524"/>
                    <a:pt x="34" y="524"/>
                  </a:cubicBezTo>
                  <a:cubicBezTo>
                    <a:pt x="34" y="524"/>
                    <a:pt x="38" y="556"/>
                    <a:pt x="35" y="566"/>
                  </a:cubicBezTo>
                  <a:cubicBezTo>
                    <a:pt x="32" y="576"/>
                    <a:pt x="21" y="579"/>
                    <a:pt x="21" y="579"/>
                  </a:cubicBezTo>
                  <a:cubicBezTo>
                    <a:pt x="21" y="606"/>
                    <a:pt x="21" y="606"/>
                    <a:pt x="21" y="606"/>
                  </a:cubicBezTo>
                  <a:cubicBezTo>
                    <a:pt x="6" y="618"/>
                    <a:pt x="6" y="618"/>
                    <a:pt x="6" y="618"/>
                  </a:cubicBezTo>
                  <a:cubicBezTo>
                    <a:pt x="6" y="645"/>
                    <a:pt x="6" y="645"/>
                    <a:pt x="6" y="645"/>
                  </a:cubicBezTo>
                  <a:cubicBezTo>
                    <a:pt x="13" y="654"/>
                    <a:pt x="13" y="654"/>
                    <a:pt x="13" y="654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3" y="696"/>
                    <a:pt x="3" y="696"/>
                    <a:pt x="3" y="696"/>
                  </a:cubicBezTo>
                  <a:cubicBezTo>
                    <a:pt x="13" y="695"/>
                    <a:pt x="13" y="695"/>
                    <a:pt x="13" y="695"/>
                  </a:cubicBezTo>
                  <a:cubicBezTo>
                    <a:pt x="24" y="691"/>
                    <a:pt x="24" y="691"/>
                    <a:pt x="24" y="691"/>
                  </a:cubicBezTo>
                  <a:cubicBezTo>
                    <a:pt x="31" y="696"/>
                    <a:pt x="31" y="696"/>
                    <a:pt x="31" y="696"/>
                  </a:cubicBezTo>
                  <a:cubicBezTo>
                    <a:pt x="31" y="696"/>
                    <a:pt x="43" y="696"/>
                    <a:pt x="50" y="695"/>
                  </a:cubicBezTo>
                  <a:cubicBezTo>
                    <a:pt x="57" y="694"/>
                    <a:pt x="61" y="680"/>
                    <a:pt x="61" y="680"/>
                  </a:cubicBezTo>
                  <a:cubicBezTo>
                    <a:pt x="61" y="680"/>
                    <a:pt x="82" y="682"/>
                    <a:pt x="81" y="681"/>
                  </a:cubicBezTo>
                  <a:cubicBezTo>
                    <a:pt x="85" y="692"/>
                    <a:pt x="119" y="705"/>
                    <a:pt x="119" y="705"/>
                  </a:cubicBezTo>
                  <a:cubicBezTo>
                    <a:pt x="322" y="703"/>
                    <a:pt x="322" y="703"/>
                    <a:pt x="322" y="703"/>
                  </a:cubicBezTo>
                  <a:cubicBezTo>
                    <a:pt x="322" y="703"/>
                    <a:pt x="331" y="722"/>
                    <a:pt x="338" y="724"/>
                  </a:cubicBezTo>
                  <a:cubicBezTo>
                    <a:pt x="345" y="726"/>
                    <a:pt x="361" y="724"/>
                    <a:pt x="361" y="724"/>
                  </a:cubicBezTo>
                  <a:cubicBezTo>
                    <a:pt x="365" y="730"/>
                    <a:pt x="365" y="730"/>
                    <a:pt x="365" y="730"/>
                  </a:cubicBezTo>
                  <a:cubicBezTo>
                    <a:pt x="411" y="729"/>
                    <a:pt x="411" y="729"/>
                    <a:pt x="411" y="729"/>
                  </a:cubicBezTo>
                  <a:cubicBezTo>
                    <a:pt x="417" y="735"/>
                    <a:pt x="417" y="735"/>
                    <a:pt x="417" y="735"/>
                  </a:cubicBezTo>
                  <a:cubicBezTo>
                    <a:pt x="417" y="735"/>
                    <a:pt x="435" y="735"/>
                    <a:pt x="463" y="735"/>
                  </a:cubicBezTo>
                  <a:cubicBezTo>
                    <a:pt x="491" y="735"/>
                    <a:pt x="551" y="715"/>
                    <a:pt x="551" y="715"/>
                  </a:cubicBezTo>
                  <a:cubicBezTo>
                    <a:pt x="493" y="657"/>
                    <a:pt x="493" y="657"/>
                    <a:pt x="493" y="657"/>
                  </a:cubicBezTo>
                  <a:cubicBezTo>
                    <a:pt x="493" y="645"/>
                    <a:pt x="493" y="645"/>
                    <a:pt x="493" y="645"/>
                  </a:cubicBezTo>
                  <a:cubicBezTo>
                    <a:pt x="487" y="635"/>
                    <a:pt x="487" y="635"/>
                    <a:pt x="487" y="635"/>
                  </a:cubicBezTo>
                  <a:cubicBezTo>
                    <a:pt x="488" y="468"/>
                    <a:pt x="488" y="468"/>
                    <a:pt x="488" y="468"/>
                  </a:cubicBezTo>
                  <a:cubicBezTo>
                    <a:pt x="571" y="470"/>
                    <a:pt x="571" y="470"/>
                    <a:pt x="571" y="470"/>
                  </a:cubicBezTo>
                  <a:cubicBezTo>
                    <a:pt x="571" y="470"/>
                    <a:pt x="582" y="470"/>
                    <a:pt x="584" y="463"/>
                  </a:cubicBezTo>
                  <a:cubicBezTo>
                    <a:pt x="586" y="456"/>
                    <a:pt x="580" y="440"/>
                    <a:pt x="580" y="440"/>
                  </a:cubicBezTo>
                  <a:cubicBezTo>
                    <a:pt x="593" y="437"/>
                    <a:pt x="593" y="437"/>
                    <a:pt x="593" y="437"/>
                  </a:cubicBezTo>
                  <a:cubicBezTo>
                    <a:pt x="585" y="426"/>
                    <a:pt x="585" y="426"/>
                    <a:pt x="585" y="426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3" y="391"/>
                    <a:pt x="591" y="389"/>
                    <a:pt x="594" y="386"/>
                  </a:cubicBezTo>
                  <a:cubicBezTo>
                    <a:pt x="597" y="383"/>
                    <a:pt x="583" y="362"/>
                    <a:pt x="583" y="36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4" name="Freeform 132">
              <a:extLst>
                <a:ext uri="{FF2B5EF4-FFF2-40B4-BE49-F238E27FC236}">
                  <a16:creationId xmlns:a16="http://schemas.microsoft.com/office/drawing/2014/main" id="{EAC1F933-C36F-6088-1F99-FFD3D77BE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30" y="4478268"/>
              <a:ext cx="233223" cy="423763"/>
            </a:xfrm>
            <a:custGeom>
              <a:avLst/>
              <a:gdLst>
                <a:gd name="T0" fmla="*/ 4 w 409"/>
                <a:gd name="T1" fmla="*/ 12 h 746"/>
                <a:gd name="T2" fmla="*/ 6 w 409"/>
                <a:gd name="T3" fmla="*/ 11 h 746"/>
                <a:gd name="T4" fmla="*/ 7 w 409"/>
                <a:gd name="T5" fmla="*/ 11 h 746"/>
                <a:gd name="T6" fmla="*/ 7 w 409"/>
                <a:gd name="T7" fmla="*/ 10 h 746"/>
                <a:gd name="T8" fmla="*/ 9 w 409"/>
                <a:gd name="T9" fmla="*/ 11 h 746"/>
                <a:gd name="T10" fmla="*/ 10 w 409"/>
                <a:gd name="T11" fmla="*/ 10 h 746"/>
                <a:gd name="T12" fmla="*/ 11 w 409"/>
                <a:gd name="T13" fmla="*/ 10 h 746"/>
                <a:gd name="T14" fmla="*/ 11 w 409"/>
                <a:gd name="T15" fmla="*/ 9 h 746"/>
                <a:gd name="T16" fmla="*/ 12 w 409"/>
                <a:gd name="T17" fmla="*/ 8 h 746"/>
                <a:gd name="T18" fmla="*/ 12 w 409"/>
                <a:gd name="T19" fmla="*/ 9 h 746"/>
                <a:gd name="T20" fmla="*/ 12 w 409"/>
                <a:gd name="T21" fmla="*/ 10 h 746"/>
                <a:gd name="T22" fmla="*/ 12 w 409"/>
                <a:gd name="T23" fmla="*/ 8 h 746"/>
                <a:gd name="T24" fmla="*/ 13 w 409"/>
                <a:gd name="T25" fmla="*/ 6 h 746"/>
                <a:gd name="T26" fmla="*/ 13 w 409"/>
                <a:gd name="T27" fmla="*/ 7 h 746"/>
                <a:gd name="T28" fmla="*/ 14 w 409"/>
                <a:gd name="T29" fmla="*/ 7 h 746"/>
                <a:gd name="T30" fmla="*/ 14 w 409"/>
                <a:gd name="T31" fmla="*/ 4 h 746"/>
                <a:gd name="T32" fmla="*/ 15 w 409"/>
                <a:gd name="T33" fmla="*/ 4 h 746"/>
                <a:gd name="T34" fmla="*/ 16 w 409"/>
                <a:gd name="T35" fmla="*/ 3 h 746"/>
                <a:gd name="T36" fmla="*/ 16 w 409"/>
                <a:gd name="T37" fmla="*/ 1 h 746"/>
                <a:gd name="T38" fmla="*/ 18 w 409"/>
                <a:gd name="T39" fmla="*/ 0 h 746"/>
                <a:gd name="T40" fmla="*/ 19 w 409"/>
                <a:gd name="T41" fmla="*/ 2 h 746"/>
                <a:gd name="T42" fmla="*/ 19 w 409"/>
                <a:gd name="T43" fmla="*/ 3 h 746"/>
                <a:gd name="T44" fmla="*/ 21 w 409"/>
                <a:gd name="T45" fmla="*/ 6 h 746"/>
                <a:gd name="T46" fmla="*/ 20 w 409"/>
                <a:gd name="T47" fmla="*/ 7 h 746"/>
                <a:gd name="T48" fmla="*/ 21 w 409"/>
                <a:gd name="T49" fmla="*/ 10 h 746"/>
                <a:gd name="T50" fmla="*/ 19 w 409"/>
                <a:gd name="T51" fmla="*/ 10 h 746"/>
                <a:gd name="T52" fmla="*/ 18 w 409"/>
                <a:gd name="T53" fmla="*/ 10 h 746"/>
                <a:gd name="T54" fmla="*/ 19 w 409"/>
                <a:gd name="T55" fmla="*/ 12 h 746"/>
                <a:gd name="T56" fmla="*/ 18 w 409"/>
                <a:gd name="T57" fmla="*/ 13 h 746"/>
                <a:gd name="T58" fmla="*/ 18 w 409"/>
                <a:gd name="T59" fmla="*/ 16 h 746"/>
                <a:gd name="T60" fmla="*/ 14 w 409"/>
                <a:gd name="T61" fmla="*/ 25 h 746"/>
                <a:gd name="T62" fmla="*/ 11 w 409"/>
                <a:gd name="T63" fmla="*/ 32 h 746"/>
                <a:gd name="T64" fmla="*/ 10 w 409"/>
                <a:gd name="T65" fmla="*/ 35 h 746"/>
                <a:gd name="T66" fmla="*/ 8 w 409"/>
                <a:gd name="T67" fmla="*/ 37 h 746"/>
                <a:gd name="T68" fmla="*/ 7 w 409"/>
                <a:gd name="T69" fmla="*/ 37 h 746"/>
                <a:gd name="T70" fmla="*/ 3 w 409"/>
                <a:gd name="T71" fmla="*/ 37 h 746"/>
                <a:gd name="T72" fmla="*/ 1 w 409"/>
                <a:gd name="T73" fmla="*/ 35 h 746"/>
                <a:gd name="T74" fmla="*/ 2 w 409"/>
                <a:gd name="T75" fmla="*/ 34 h 746"/>
                <a:gd name="T76" fmla="*/ 0 w 409"/>
                <a:gd name="T77" fmla="*/ 29 h 746"/>
                <a:gd name="T78" fmla="*/ 2 w 409"/>
                <a:gd name="T79" fmla="*/ 25 h 746"/>
                <a:gd name="T80" fmla="*/ 4 w 409"/>
                <a:gd name="T81" fmla="*/ 22 h 746"/>
                <a:gd name="T82" fmla="*/ 4 w 409"/>
                <a:gd name="T83" fmla="*/ 18 h 746"/>
                <a:gd name="T84" fmla="*/ 3 w 409"/>
                <a:gd name="T85" fmla="*/ 14 h 746"/>
                <a:gd name="T86" fmla="*/ 5 w 409"/>
                <a:gd name="T87" fmla="*/ 12 h 746"/>
                <a:gd name="T88" fmla="*/ 4 w 409"/>
                <a:gd name="T89" fmla="*/ 12 h 7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9"/>
                <a:gd name="T136" fmla="*/ 0 h 746"/>
                <a:gd name="T137" fmla="*/ 409 w 409"/>
                <a:gd name="T138" fmla="*/ 746 h 7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5" name="Freeform 133">
              <a:extLst>
                <a:ext uri="{FF2B5EF4-FFF2-40B4-BE49-F238E27FC236}">
                  <a16:creationId xmlns:a16="http://schemas.microsoft.com/office/drawing/2014/main" id="{BF5279DA-5F87-A498-E284-5DDB2E0E1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4696" y="3714580"/>
              <a:ext cx="70119" cy="57924"/>
            </a:xfrm>
            <a:custGeom>
              <a:avLst/>
              <a:gdLst>
                <a:gd name="T0" fmla="*/ 4 w 125"/>
                <a:gd name="T1" fmla="*/ 3 h 103"/>
                <a:gd name="T2" fmla="*/ 5 w 125"/>
                <a:gd name="T3" fmla="*/ 3 h 103"/>
                <a:gd name="T4" fmla="*/ 6 w 125"/>
                <a:gd name="T5" fmla="*/ 3 h 103"/>
                <a:gd name="T6" fmla="*/ 6 w 125"/>
                <a:gd name="T7" fmla="*/ 1 h 103"/>
                <a:gd name="T8" fmla="*/ 6 w 125"/>
                <a:gd name="T9" fmla="*/ 1 h 103"/>
                <a:gd name="T10" fmla="*/ 6 w 125"/>
                <a:gd name="T11" fmla="*/ 0 h 103"/>
                <a:gd name="T12" fmla="*/ 3 w 125"/>
                <a:gd name="T13" fmla="*/ 0 h 103"/>
                <a:gd name="T14" fmla="*/ 2 w 125"/>
                <a:gd name="T15" fmla="*/ 1 h 103"/>
                <a:gd name="T16" fmla="*/ 0 w 125"/>
                <a:gd name="T17" fmla="*/ 1 h 103"/>
                <a:gd name="T18" fmla="*/ 0 w 125"/>
                <a:gd name="T19" fmla="*/ 1 h 103"/>
                <a:gd name="T20" fmla="*/ 0 w 125"/>
                <a:gd name="T21" fmla="*/ 3 h 103"/>
                <a:gd name="T22" fmla="*/ 1 w 125"/>
                <a:gd name="T23" fmla="*/ 3 h 103"/>
                <a:gd name="T24" fmla="*/ 2 w 125"/>
                <a:gd name="T25" fmla="*/ 2 h 103"/>
                <a:gd name="T26" fmla="*/ 3 w 125"/>
                <a:gd name="T27" fmla="*/ 2 h 103"/>
                <a:gd name="T28" fmla="*/ 3 w 125"/>
                <a:gd name="T29" fmla="*/ 3 h 103"/>
                <a:gd name="T30" fmla="*/ 2 w 125"/>
                <a:gd name="T31" fmla="*/ 3 h 103"/>
                <a:gd name="T32" fmla="*/ 2 w 125"/>
                <a:gd name="T33" fmla="*/ 3 h 103"/>
                <a:gd name="T34" fmla="*/ 3 w 125"/>
                <a:gd name="T35" fmla="*/ 3 h 103"/>
                <a:gd name="T36" fmla="*/ 2 w 125"/>
                <a:gd name="T37" fmla="*/ 4 h 103"/>
                <a:gd name="T38" fmla="*/ 3 w 125"/>
                <a:gd name="T39" fmla="*/ 5 h 103"/>
                <a:gd name="T40" fmla="*/ 3 w 125"/>
                <a:gd name="T41" fmla="*/ 4 h 103"/>
                <a:gd name="T42" fmla="*/ 4 w 125"/>
                <a:gd name="T43" fmla="*/ 3 h 103"/>
                <a:gd name="T44" fmla="*/ 4 w 125"/>
                <a:gd name="T45" fmla="*/ 3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5"/>
                <a:gd name="T70" fmla="*/ 0 h 103"/>
                <a:gd name="T71" fmla="*/ 125 w 125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5" h="103">
                  <a:moveTo>
                    <a:pt x="85" y="67"/>
                  </a:moveTo>
                  <a:cubicBezTo>
                    <a:pt x="85" y="67"/>
                    <a:pt x="92" y="60"/>
                    <a:pt x="102" y="60"/>
                  </a:cubicBezTo>
                  <a:cubicBezTo>
                    <a:pt x="112" y="60"/>
                    <a:pt x="123" y="64"/>
                    <a:pt x="124" y="49"/>
                  </a:cubicBezTo>
                  <a:cubicBezTo>
                    <a:pt x="125" y="34"/>
                    <a:pt x="108" y="39"/>
                    <a:pt x="108" y="28"/>
                  </a:cubicBezTo>
                  <a:cubicBezTo>
                    <a:pt x="108" y="17"/>
                    <a:pt x="124" y="19"/>
                    <a:pt x="124" y="19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8" y="56"/>
                    <a:pt x="15" y="50"/>
                  </a:cubicBezTo>
                  <a:cubicBezTo>
                    <a:pt x="22" y="44"/>
                    <a:pt x="46" y="45"/>
                    <a:pt x="46" y="45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39" y="42"/>
                    <a:pt x="37" y="52"/>
                  </a:cubicBezTo>
                  <a:cubicBezTo>
                    <a:pt x="35" y="62"/>
                    <a:pt x="42" y="68"/>
                    <a:pt x="42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72" y="68"/>
                    <a:pt x="72" y="68"/>
                    <a:pt x="72" y="68"/>
                  </a:cubicBezTo>
                  <a:lnTo>
                    <a:pt x="85" y="6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6" name="Freeform 134">
              <a:extLst>
                <a:ext uri="{FF2B5EF4-FFF2-40B4-BE49-F238E27FC236}">
                  <a16:creationId xmlns:a16="http://schemas.microsoft.com/office/drawing/2014/main" id="{6E9F7FEB-0377-5F2C-9F4A-5017E9ABE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501" y="3679520"/>
              <a:ext cx="86887" cy="22865"/>
            </a:xfrm>
            <a:custGeom>
              <a:avLst/>
              <a:gdLst>
                <a:gd name="T0" fmla="*/ 0 w 154"/>
                <a:gd name="T1" fmla="*/ 1 h 39"/>
                <a:gd name="T2" fmla="*/ 0 w 154"/>
                <a:gd name="T3" fmla="*/ 2 h 39"/>
                <a:gd name="T4" fmla="*/ 0 w 154"/>
                <a:gd name="T5" fmla="*/ 2 h 39"/>
                <a:gd name="T6" fmla="*/ 2 w 154"/>
                <a:gd name="T7" fmla="*/ 2 h 39"/>
                <a:gd name="T8" fmla="*/ 2 w 154"/>
                <a:gd name="T9" fmla="*/ 2 h 39"/>
                <a:gd name="T10" fmla="*/ 4 w 154"/>
                <a:gd name="T11" fmla="*/ 2 h 39"/>
                <a:gd name="T12" fmla="*/ 4 w 154"/>
                <a:gd name="T13" fmla="*/ 1 h 39"/>
                <a:gd name="T14" fmla="*/ 6 w 154"/>
                <a:gd name="T15" fmla="*/ 2 h 39"/>
                <a:gd name="T16" fmla="*/ 7 w 154"/>
                <a:gd name="T17" fmla="*/ 1 h 39"/>
                <a:gd name="T18" fmla="*/ 6 w 154"/>
                <a:gd name="T19" fmla="*/ 1 h 39"/>
                <a:gd name="T20" fmla="*/ 5 w 154"/>
                <a:gd name="T21" fmla="*/ 0 h 39"/>
                <a:gd name="T22" fmla="*/ 5 w 154"/>
                <a:gd name="T23" fmla="*/ 1 h 39"/>
                <a:gd name="T24" fmla="*/ 4 w 154"/>
                <a:gd name="T25" fmla="*/ 0 h 39"/>
                <a:gd name="T26" fmla="*/ 3 w 154"/>
                <a:gd name="T27" fmla="*/ 0 h 39"/>
                <a:gd name="T28" fmla="*/ 3 w 154"/>
                <a:gd name="T29" fmla="*/ 1 h 39"/>
                <a:gd name="T30" fmla="*/ 0 w 154"/>
                <a:gd name="T31" fmla="*/ 1 h 39"/>
                <a:gd name="T32" fmla="*/ 0 w 154"/>
                <a:gd name="T33" fmla="*/ 1 h 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4"/>
                <a:gd name="T52" fmla="*/ 0 h 39"/>
                <a:gd name="T53" fmla="*/ 154 w 154"/>
                <a:gd name="T54" fmla="*/ 39 h 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4" h="39">
                  <a:moveTo>
                    <a:pt x="11" y="15"/>
                  </a:moveTo>
                  <a:cubicBezTo>
                    <a:pt x="11" y="15"/>
                    <a:pt x="1" y="30"/>
                    <a:pt x="0" y="37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11" y="39"/>
                    <a:pt x="41" y="39"/>
                    <a:pt x="43" y="39"/>
                  </a:cubicBezTo>
                  <a:cubicBezTo>
                    <a:pt x="46" y="39"/>
                    <a:pt x="47" y="30"/>
                    <a:pt x="47" y="30"/>
                  </a:cubicBezTo>
                  <a:cubicBezTo>
                    <a:pt x="47" y="30"/>
                    <a:pt x="66" y="28"/>
                    <a:pt x="72" y="27"/>
                  </a:cubicBezTo>
                  <a:cubicBezTo>
                    <a:pt x="78" y="26"/>
                    <a:pt x="84" y="15"/>
                    <a:pt x="84" y="15"/>
                  </a:cubicBezTo>
                  <a:cubicBezTo>
                    <a:pt x="84" y="15"/>
                    <a:pt x="100" y="34"/>
                    <a:pt x="118" y="34"/>
                  </a:cubicBezTo>
                  <a:cubicBezTo>
                    <a:pt x="136" y="34"/>
                    <a:pt x="154" y="19"/>
                    <a:pt x="137" y="15"/>
                  </a:cubicBezTo>
                  <a:cubicBezTo>
                    <a:pt x="120" y="11"/>
                    <a:pt x="121" y="21"/>
                    <a:pt x="116" y="20"/>
                  </a:cubicBezTo>
                  <a:cubicBezTo>
                    <a:pt x="111" y="19"/>
                    <a:pt x="103" y="8"/>
                    <a:pt x="103" y="8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7" y="0"/>
                    <a:pt x="84" y="2"/>
                  </a:cubicBezTo>
                  <a:cubicBezTo>
                    <a:pt x="71" y="4"/>
                    <a:pt x="59" y="3"/>
                    <a:pt x="59" y="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1" y="15"/>
                    <a:pt x="11" y="1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7" name="Freeform 135">
              <a:extLst>
                <a:ext uri="{FF2B5EF4-FFF2-40B4-BE49-F238E27FC236}">
                  <a16:creationId xmlns:a16="http://schemas.microsoft.com/office/drawing/2014/main" id="{ECB4E9C3-BFB8-8864-0825-D9693D95C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593" y="3838051"/>
              <a:ext cx="117374" cy="132617"/>
            </a:xfrm>
            <a:custGeom>
              <a:avLst/>
              <a:gdLst>
                <a:gd name="T0" fmla="*/ 11 w 207"/>
                <a:gd name="T1" fmla="*/ 9 h 236"/>
                <a:gd name="T2" fmla="*/ 10 w 207"/>
                <a:gd name="T3" fmla="*/ 7 h 236"/>
                <a:gd name="T4" fmla="*/ 10 w 207"/>
                <a:gd name="T5" fmla="*/ 7 h 236"/>
                <a:gd name="T6" fmla="*/ 8 w 207"/>
                <a:gd name="T7" fmla="*/ 7 h 236"/>
                <a:gd name="T8" fmla="*/ 8 w 207"/>
                <a:gd name="T9" fmla="*/ 6 h 236"/>
                <a:gd name="T10" fmla="*/ 7 w 207"/>
                <a:gd name="T11" fmla="*/ 6 h 236"/>
                <a:gd name="T12" fmla="*/ 8 w 207"/>
                <a:gd name="T13" fmla="*/ 4 h 236"/>
                <a:gd name="T14" fmla="*/ 7 w 207"/>
                <a:gd name="T15" fmla="*/ 3 h 236"/>
                <a:gd name="T16" fmla="*/ 7 w 207"/>
                <a:gd name="T17" fmla="*/ 3 h 236"/>
                <a:gd name="T18" fmla="*/ 7 w 207"/>
                <a:gd name="T19" fmla="*/ 4 h 236"/>
                <a:gd name="T20" fmla="*/ 6 w 207"/>
                <a:gd name="T21" fmla="*/ 4 h 236"/>
                <a:gd name="T22" fmla="*/ 6 w 207"/>
                <a:gd name="T23" fmla="*/ 4 h 236"/>
                <a:gd name="T24" fmla="*/ 5 w 207"/>
                <a:gd name="T25" fmla="*/ 1 h 236"/>
                <a:gd name="T26" fmla="*/ 4 w 207"/>
                <a:gd name="T27" fmla="*/ 1 h 236"/>
                <a:gd name="T28" fmla="*/ 3 w 207"/>
                <a:gd name="T29" fmla="*/ 1 h 236"/>
                <a:gd name="T30" fmla="*/ 4 w 207"/>
                <a:gd name="T31" fmla="*/ 1 h 236"/>
                <a:gd name="T32" fmla="*/ 3 w 207"/>
                <a:gd name="T33" fmla="*/ 2 h 236"/>
                <a:gd name="T34" fmla="*/ 3 w 207"/>
                <a:gd name="T35" fmla="*/ 3 h 236"/>
                <a:gd name="T36" fmla="*/ 1 w 207"/>
                <a:gd name="T37" fmla="*/ 4 h 236"/>
                <a:gd name="T38" fmla="*/ 1 w 207"/>
                <a:gd name="T39" fmla="*/ 5 h 236"/>
                <a:gd name="T40" fmla="*/ 0 w 207"/>
                <a:gd name="T41" fmla="*/ 4 h 236"/>
                <a:gd name="T42" fmla="*/ 0 w 207"/>
                <a:gd name="T43" fmla="*/ 4 h 236"/>
                <a:gd name="T44" fmla="*/ 1 w 207"/>
                <a:gd name="T45" fmla="*/ 6 h 236"/>
                <a:gd name="T46" fmla="*/ 2 w 207"/>
                <a:gd name="T47" fmla="*/ 6 h 236"/>
                <a:gd name="T48" fmla="*/ 3 w 207"/>
                <a:gd name="T49" fmla="*/ 7 h 236"/>
                <a:gd name="T50" fmla="*/ 4 w 207"/>
                <a:gd name="T51" fmla="*/ 7 h 236"/>
                <a:gd name="T52" fmla="*/ 6 w 207"/>
                <a:gd name="T53" fmla="*/ 9 h 236"/>
                <a:gd name="T54" fmla="*/ 8 w 207"/>
                <a:gd name="T55" fmla="*/ 11 h 236"/>
                <a:gd name="T56" fmla="*/ 10 w 207"/>
                <a:gd name="T57" fmla="*/ 12 h 236"/>
                <a:gd name="T58" fmla="*/ 10 w 207"/>
                <a:gd name="T59" fmla="*/ 12 h 236"/>
                <a:gd name="T60" fmla="*/ 10 w 207"/>
                <a:gd name="T61" fmla="*/ 10 h 236"/>
                <a:gd name="T62" fmla="*/ 11 w 207"/>
                <a:gd name="T63" fmla="*/ 9 h 2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7"/>
                <a:gd name="T97" fmla="*/ 0 h 236"/>
                <a:gd name="T98" fmla="*/ 207 w 207"/>
                <a:gd name="T99" fmla="*/ 236 h 2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7" h="236">
                  <a:moveTo>
                    <a:pt x="207" y="175"/>
                  </a:moveTo>
                  <a:cubicBezTo>
                    <a:pt x="207" y="162"/>
                    <a:pt x="186" y="146"/>
                    <a:pt x="186" y="146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23"/>
                    <a:pt x="149" y="124"/>
                    <a:pt x="148" y="121"/>
                  </a:cubicBezTo>
                  <a:cubicBezTo>
                    <a:pt x="147" y="118"/>
                    <a:pt x="162" y="104"/>
                    <a:pt x="162" y="89"/>
                  </a:cubicBezTo>
                  <a:cubicBezTo>
                    <a:pt x="162" y="79"/>
                    <a:pt x="154" y="65"/>
                    <a:pt x="149" y="55"/>
                  </a:cubicBezTo>
                  <a:cubicBezTo>
                    <a:pt x="147" y="55"/>
                    <a:pt x="146" y="55"/>
                    <a:pt x="145" y="56"/>
                  </a:cubicBezTo>
                  <a:cubicBezTo>
                    <a:pt x="140" y="60"/>
                    <a:pt x="140" y="82"/>
                    <a:pt x="129" y="82"/>
                  </a:cubicBezTo>
                  <a:cubicBezTo>
                    <a:pt x="118" y="82"/>
                    <a:pt x="117" y="72"/>
                    <a:pt x="117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18" y="26"/>
                    <a:pt x="99" y="13"/>
                  </a:cubicBezTo>
                  <a:cubicBezTo>
                    <a:pt x="80" y="0"/>
                    <a:pt x="83" y="18"/>
                    <a:pt x="83" y="1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9" y="38"/>
                    <a:pt x="55" y="48"/>
                  </a:cubicBezTo>
                  <a:cubicBezTo>
                    <a:pt x="51" y="58"/>
                    <a:pt x="17" y="75"/>
                    <a:pt x="16" y="82"/>
                  </a:cubicBezTo>
                  <a:cubicBezTo>
                    <a:pt x="15" y="86"/>
                    <a:pt x="15" y="97"/>
                    <a:pt x="14" y="1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35"/>
                    <a:pt x="66" y="131"/>
                    <a:pt x="70" y="139"/>
                  </a:cubicBezTo>
                  <a:cubicBezTo>
                    <a:pt x="74" y="147"/>
                    <a:pt x="89" y="173"/>
                    <a:pt x="105" y="187"/>
                  </a:cubicBezTo>
                  <a:cubicBezTo>
                    <a:pt x="121" y="201"/>
                    <a:pt x="149" y="208"/>
                    <a:pt x="156" y="213"/>
                  </a:cubicBezTo>
                  <a:cubicBezTo>
                    <a:pt x="163" y="218"/>
                    <a:pt x="180" y="236"/>
                    <a:pt x="195" y="236"/>
                  </a:cubicBezTo>
                  <a:cubicBezTo>
                    <a:pt x="196" y="236"/>
                    <a:pt x="197" y="236"/>
                    <a:pt x="198" y="236"/>
                  </a:cubicBezTo>
                  <a:cubicBezTo>
                    <a:pt x="197" y="209"/>
                    <a:pt x="197" y="209"/>
                    <a:pt x="197" y="209"/>
                  </a:cubicBezTo>
                  <a:cubicBezTo>
                    <a:pt x="197" y="209"/>
                    <a:pt x="207" y="188"/>
                    <a:pt x="207" y="17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8" name="Freeform 136">
              <a:extLst>
                <a:ext uri="{FF2B5EF4-FFF2-40B4-BE49-F238E27FC236}">
                  <a16:creationId xmlns:a16="http://schemas.microsoft.com/office/drawing/2014/main" id="{509A1D6A-F600-F54D-A8FD-5050CBF2A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961" y="3795369"/>
              <a:ext cx="79265" cy="100606"/>
            </a:xfrm>
            <a:custGeom>
              <a:avLst/>
              <a:gdLst>
                <a:gd name="T0" fmla="*/ 6 w 140"/>
                <a:gd name="T1" fmla="*/ 6 h 179"/>
                <a:gd name="T2" fmla="*/ 6 w 140"/>
                <a:gd name="T3" fmla="*/ 6 h 179"/>
                <a:gd name="T4" fmla="*/ 7 w 140"/>
                <a:gd name="T5" fmla="*/ 5 h 179"/>
                <a:gd name="T6" fmla="*/ 7 w 140"/>
                <a:gd name="T7" fmla="*/ 4 h 179"/>
                <a:gd name="T8" fmla="*/ 6 w 140"/>
                <a:gd name="T9" fmla="*/ 5 h 179"/>
                <a:gd name="T10" fmla="*/ 6 w 140"/>
                <a:gd name="T11" fmla="*/ 4 h 179"/>
                <a:gd name="T12" fmla="*/ 7 w 140"/>
                <a:gd name="T13" fmla="*/ 4 h 179"/>
                <a:gd name="T14" fmla="*/ 6 w 140"/>
                <a:gd name="T15" fmla="*/ 3 h 179"/>
                <a:gd name="T16" fmla="*/ 6 w 140"/>
                <a:gd name="T17" fmla="*/ 2 h 179"/>
                <a:gd name="T18" fmla="*/ 5 w 140"/>
                <a:gd name="T19" fmla="*/ 0 h 179"/>
                <a:gd name="T20" fmla="*/ 4 w 140"/>
                <a:gd name="T21" fmla="*/ 0 h 179"/>
                <a:gd name="T22" fmla="*/ 3 w 140"/>
                <a:gd name="T23" fmla="*/ 0 h 179"/>
                <a:gd name="T24" fmla="*/ 2 w 140"/>
                <a:gd name="T25" fmla="*/ 0 h 179"/>
                <a:gd name="T26" fmla="*/ 0 w 140"/>
                <a:gd name="T27" fmla="*/ 3 h 179"/>
                <a:gd name="T28" fmla="*/ 0 w 140"/>
                <a:gd name="T29" fmla="*/ 3 h 179"/>
                <a:gd name="T30" fmla="*/ 0 w 140"/>
                <a:gd name="T31" fmla="*/ 3 h 179"/>
                <a:gd name="T32" fmla="*/ 0 w 140"/>
                <a:gd name="T33" fmla="*/ 4 h 179"/>
                <a:gd name="T34" fmla="*/ 1 w 140"/>
                <a:gd name="T35" fmla="*/ 5 h 179"/>
                <a:gd name="T36" fmla="*/ 1 w 140"/>
                <a:gd name="T37" fmla="*/ 6 h 179"/>
                <a:gd name="T38" fmla="*/ 1 w 140"/>
                <a:gd name="T39" fmla="*/ 7 h 179"/>
                <a:gd name="T40" fmla="*/ 2 w 140"/>
                <a:gd name="T41" fmla="*/ 7 h 179"/>
                <a:gd name="T42" fmla="*/ 3 w 140"/>
                <a:gd name="T43" fmla="*/ 8 h 179"/>
                <a:gd name="T44" fmla="*/ 4 w 140"/>
                <a:gd name="T45" fmla="*/ 9 h 179"/>
                <a:gd name="T46" fmla="*/ 4 w 140"/>
                <a:gd name="T47" fmla="*/ 8 h 179"/>
                <a:gd name="T48" fmla="*/ 6 w 140"/>
                <a:gd name="T49" fmla="*/ 6 h 17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0"/>
                <a:gd name="T76" fmla="*/ 0 h 179"/>
                <a:gd name="T77" fmla="*/ 140 w 140"/>
                <a:gd name="T78" fmla="*/ 179 h 17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0" h="179">
                  <a:moveTo>
                    <a:pt x="126" y="122"/>
                  </a:moveTo>
                  <a:cubicBezTo>
                    <a:pt x="130" y="112"/>
                    <a:pt x="126" y="108"/>
                    <a:pt x="126" y="10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8" y="88"/>
                    <a:pt x="138" y="88"/>
                    <a:pt x="138" y="88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31" y="78"/>
                    <a:pt x="131" y="70"/>
                  </a:cubicBezTo>
                  <a:cubicBezTo>
                    <a:pt x="131" y="62"/>
                    <a:pt x="120" y="50"/>
                    <a:pt x="120" y="5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21" y="54"/>
                    <a:pt x="9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1" y="75"/>
                    <a:pt x="1" y="84"/>
                  </a:cubicBezTo>
                  <a:cubicBezTo>
                    <a:pt x="1" y="93"/>
                    <a:pt x="16" y="103"/>
                    <a:pt x="16" y="103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29" y="132"/>
                    <a:pt x="28" y="139"/>
                    <a:pt x="37" y="148"/>
                  </a:cubicBezTo>
                  <a:cubicBezTo>
                    <a:pt x="46" y="157"/>
                    <a:pt x="65" y="157"/>
                    <a:pt x="65" y="157"/>
                  </a:cubicBezTo>
                  <a:cubicBezTo>
                    <a:pt x="85" y="179"/>
                    <a:pt x="85" y="179"/>
                    <a:pt x="85" y="179"/>
                  </a:cubicBezTo>
                  <a:cubicBezTo>
                    <a:pt x="86" y="171"/>
                    <a:pt x="86" y="160"/>
                    <a:pt x="87" y="156"/>
                  </a:cubicBezTo>
                  <a:cubicBezTo>
                    <a:pt x="88" y="149"/>
                    <a:pt x="122" y="132"/>
                    <a:pt x="126" y="12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29" name="Freeform 137">
              <a:extLst>
                <a:ext uri="{FF2B5EF4-FFF2-40B4-BE49-F238E27FC236}">
                  <a16:creationId xmlns:a16="http://schemas.microsoft.com/office/drawing/2014/main" id="{42B8FBB2-D1FF-5460-8629-0C3BBB9C3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990" y="4976723"/>
              <a:ext cx="62498" cy="64022"/>
            </a:xfrm>
            <a:custGeom>
              <a:avLst/>
              <a:gdLst>
                <a:gd name="T0" fmla="*/ 0 w 111"/>
                <a:gd name="T1" fmla="*/ 3 h 114"/>
                <a:gd name="T2" fmla="*/ 1 w 111"/>
                <a:gd name="T3" fmla="*/ 4 h 114"/>
                <a:gd name="T4" fmla="*/ 1 w 111"/>
                <a:gd name="T5" fmla="*/ 5 h 114"/>
                <a:gd name="T6" fmla="*/ 2 w 111"/>
                <a:gd name="T7" fmla="*/ 6 h 114"/>
                <a:gd name="T8" fmla="*/ 3 w 111"/>
                <a:gd name="T9" fmla="*/ 6 h 114"/>
                <a:gd name="T10" fmla="*/ 3 w 111"/>
                <a:gd name="T11" fmla="*/ 4 h 114"/>
                <a:gd name="T12" fmla="*/ 4 w 111"/>
                <a:gd name="T13" fmla="*/ 4 h 114"/>
                <a:gd name="T14" fmla="*/ 5 w 111"/>
                <a:gd name="T15" fmla="*/ 4 h 114"/>
                <a:gd name="T16" fmla="*/ 5 w 111"/>
                <a:gd name="T17" fmla="*/ 3 h 114"/>
                <a:gd name="T18" fmla="*/ 6 w 111"/>
                <a:gd name="T19" fmla="*/ 3 h 114"/>
                <a:gd name="T20" fmla="*/ 6 w 111"/>
                <a:gd name="T21" fmla="*/ 2 h 114"/>
                <a:gd name="T22" fmla="*/ 5 w 111"/>
                <a:gd name="T23" fmla="*/ 1 h 114"/>
                <a:gd name="T24" fmla="*/ 4 w 111"/>
                <a:gd name="T25" fmla="*/ 0 h 114"/>
                <a:gd name="T26" fmla="*/ 3 w 111"/>
                <a:gd name="T27" fmla="*/ 0 h 114"/>
                <a:gd name="T28" fmla="*/ 3 w 111"/>
                <a:gd name="T29" fmla="*/ 0 h 114"/>
                <a:gd name="T30" fmla="*/ 3 w 111"/>
                <a:gd name="T31" fmla="*/ 1 h 114"/>
                <a:gd name="T32" fmla="*/ 2 w 111"/>
                <a:gd name="T33" fmla="*/ 1 h 114"/>
                <a:gd name="T34" fmla="*/ 1 w 111"/>
                <a:gd name="T35" fmla="*/ 1 h 114"/>
                <a:gd name="T36" fmla="*/ 1 w 111"/>
                <a:gd name="T37" fmla="*/ 2 h 114"/>
                <a:gd name="T38" fmla="*/ 1 w 111"/>
                <a:gd name="T39" fmla="*/ 3 h 114"/>
                <a:gd name="T40" fmla="*/ 0 w 111"/>
                <a:gd name="T41" fmla="*/ 3 h 1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1"/>
                <a:gd name="T64" fmla="*/ 0 h 114"/>
                <a:gd name="T65" fmla="*/ 111 w 111"/>
                <a:gd name="T66" fmla="*/ 114 h 11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1" h="114">
                  <a:moveTo>
                    <a:pt x="0" y="58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0" y="113"/>
                    <a:pt x="51" y="93"/>
                    <a:pt x="61" y="89"/>
                  </a:cubicBezTo>
                  <a:cubicBezTo>
                    <a:pt x="71" y="85"/>
                    <a:pt x="74" y="87"/>
                    <a:pt x="82" y="85"/>
                  </a:cubicBezTo>
                  <a:cubicBezTo>
                    <a:pt x="90" y="83"/>
                    <a:pt x="99" y="75"/>
                    <a:pt x="99" y="75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88" y="12"/>
                    <a:pt x="83" y="6"/>
                  </a:cubicBezTo>
                  <a:cubicBezTo>
                    <a:pt x="78" y="0"/>
                    <a:pt x="62" y="5"/>
                    <a:pt x="62" y="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43" y="15"/>
                    <a:pt x="38" y="19"/>
                  </a:cubicBezTo>
                  <a:cubicBezTo>
                    <a:pt x="33" y="23"/>
                    <a:pt x="31" y="33"/>
                    <a:pt x="31" y="33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6"/>
                    <a:pt x="17" y="56"/>
                    <a:pt x="17" y="56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0" name="Freeform 138">
              <a:extLst>
                <a:ext uri="{FF2B5EF4-FFF2-40B4-BE49-F238E27FC236}">
                  <a16:creationId xmlns:a16="http://schemas.microsoft.com/office/drawing/2014/main" id="{019D4B32-A567-DA47-5B5C-A65D46DCD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400" y="4031640"/>
              <a:ext cx="158530" cy="193590"/>
            </a:xfrm>
            <a:custGeom>
              <a:avLst/>
              <a:gdLst>
                <a:gd name="T0" fmla="*/ 13 w 281"/>
                <a:gd name="T1" fmla="*/ 8 h 339"/>
                <a:gd name="T2" fmla="*/ 12 w 281"/>
                <a:gd name="T3" fmla="*/ 7 h 339"/>
                <a:gd name="T4" fmla="*/ 13 w 281"/>
                <a:gd name="T5" fmla="*/ 5 h 339"/>
                <a:gd name="T6" fmla="*/ 14 w 281"/>
                <a:gd name="T7" fmla="*/ 4 h 339"/>
                <a:gd name="T8" fmla="*/ 13 w 281"/>
                <a:gd name="T9" fmla="*/ 3 h 339"/>
                <a:gd name="T10" fmla="*/ 11 w 281"/>
                <a:gd name="T11" fmla="*/ 3 h 339"/>
                <a:gd name="T12" fmla="*/ 11 w 281"/>
                <a:gd name="T13" fmla="*/ 2 h 339"/>
                <a:gd name="T14" fmla="*/ 11 w 281"/>
                <a:gd name="T15" fmla="*/ 0 h 339"/>
                <a:gd name="T16" fmla="*/ 9 w 281"/>
                <a:gd name="T17" fmla="*/ 0 h 339"/>
                <a:gd name="T18" fmla="*/ 7 w 281"/>
                <a:gd name="T19" fmla="*/ 0 h 339"/>
                <a:gd name="T20" fmla="*/ 6 w 281"/>
                <a:gd name="T21" fmla="*/ 0 h 339"/>
                <a:gd name="T22" fmla="*/ 6 w 281"/>
                <a:gd name="T23" fmla="*/ 2 h 339"/>
                <a:gd name="T24" fmla="*/ 3 w 281"/>
                <a:gd name="T25" fmla="*/ 4 h 339"/>
                <a:gd name="T26" fmla="*/ 2 w 281"/>
                <a:gd name="T27" fmla="*/ 4 h 339"/>
                <a:gd name="T28" fmla="*/ 2 w 281"/>
                <a:gd name="T29" fmla="*/ 4 h 339"/>
                <a:gd name="T30" fmla="*/ 1 w 281"/>
                <a:gd name="T31" fmla="*/ 6 h 339"/>
                <a:gd name="T32" fmla="*/ 0 w 281"/>
                <a:gd name="T33" fmla="*/ 9 h 339"/>
                <a:gd name="T34" fmla="*/ 1 w 281"/>
                <a:gd name="T35" fmla="*/ 10 h 339"/>
                <a:gd name="T36" fmla="*/ 1 w 281"/>
                <a:gd name="T37" fmla="*/ 12 h 339"/>
                <a:gd name="T38" fmla="*/ 2 w 281"/>
                <a:gd name="T39" fmla="*/ 13 h 339"/>
                <a:gd name="T40" fmla="*/ 3 w 281"/>
                <a:gd name="T41" fmla="*/ 14 h 339"/>
                <a:gd name="T42" fmla="*/ 5 w 281"/>
                <a:gd name="T43" fmla="*/ 16 h 339"/>
                <a:gd name="T44" fmla="*/ 6 w 281"/>
                <a:gd name="T45" fmla="*/ 18 h 339"/>
                <a:gd name="T46" fmla="*/ 7 w 281"/>
                <a:gd name="T47" fmla="*/ 17 h 339"/>
                <a:gd name="T48" fmla="*/ 8 w 281"/>
                <a:gd name="T49" fmla="*/ 16 h 339"/>
                <a:gd name="T50" fmla="*/ 7 w 281"/>
                <a:gd name="T51" fmla="*/ 15 h 339"/>
                <a:gd name="T52" fmla="*/ 7 w 281"/>
                <a:gd name="T53" fmla="*/ 15 h 339"/>
                <a:gd name="T54" fmla="*/ 9 w 281"/>
                <a:gd name="T55" fmla="*/ 13 h 339"/>
                <a:gd name="T56" fmla="*/ 9 w 281"/>
                <a:gd name="T57" fmla="*/ 12 h 339"/>
                <a:gd name="T58" fmla="*/ 10 w 281"/>
                <a:gd name="T59" fmla="*/ 13 h 339"/>
                <a:gd name="T60" fmla="*/ 12 w 281"/>
                <a:gd name="T61" fmla="*/ 13 h 339"/>
                <a:gd name="T62" fmla="*/ 13 w 281"/>
                <a:gd name="T63" fmla="*/ 13 h 339"/>
                <a:gd name="T64" fmla="*/ 14 w 281"/>
                <a:gd name="T65" fmla="*/ 11 h 339"/>
                <a:gd name="T66" fmla="*/ 14 w 281"/>
                <a:gd name="T67" fmla="*/ 9 h 33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81"/>
                <a:gd name="T103" fmla="*/ 0 h 339"/>
                <a:gd name="T104" fmla="*/ 281 w 281"/>
                <a:gd name="T105" fmla="*/ 339 h 33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81" h="339">
                  <a:moveTo>
                    <a:pt x="279" y="160"/>
                  </a:moveTo>
                  <a:cubicBezTo>
                    <a:pt x="277" y="154"/>
                    <a:pt x="261" y="153"/>
                    <a:pt x="261" y="153"/>
                  </a:cubicBezTo>
                  <a:cubicBezTo>
                    <a:pt x="256" y="141"/>
                    <a:pt x="256" y="141"/>
                    <a:pt x="256" y="14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54" y="100"/>
                    <a:pt x="261" y="101"/>
                    <a:pt x="267" y="94"/>
                  </a:cubicBezTo>
                  <a:cubicBezTo>
                    <a:pt x="273" y="87"/>
                    <a:pt x="273" y="74"/>
                    <a:pt x="273" y="74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6" y="60"/>
                    <a:pt x="263" y="56"/>
                  </a:cubicBezTo>
                  <a:cubicBezTo>
                    <a:pt x="260" y="52"/>
                    <a:pt x="248" y="47"/>
                    <a:pt x="243" y="47"/>
                  </a:cubicBezTo>
                  <a:cubicBezTo>
                    <a:pt x="238" y="47"/>
                    <a:pt x="238" y="62"/>
                    <a:pt x="229" y="62"/>
                  </a:cubicBezTo>
                  <a:cubicBezTo>
                    <a:pt x="220" y="62"/>
                    <a:pt x="212" y="57"/>
                    <a:pt x="212" y="57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8" y="5"/>
                    <a:pt x="181" y="1"/>
                    <a:pt x="177" y="1"/>
                  </a:cubicBezTo>
                  <a:cubicBezTo>
                    <a:pt x="173" y="1"/>
                    <a:pt x="168" y="9"/>
                    <a:pt x="168" y="9"/>
                  </a:cubicBezTo>
                  <a:cubicBezTo>
                    <a:pt x="147" y="9"/>
                    <a:pt x="147" y="9"/>
                    <a:pt x="147" y="9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72"/>
                    <a:pt x="123" y="73"/>
                  </a:cubicBezTo>
                  <a:cubicBezTo>
                    <a:pt x="118" y="74"/>
                    <a:pt x="56" y="75"/>
                    <a:pt x="56" y="75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2"/>
                    <a:pt x="48" y="72"/>
                    <a:pt x="48" y="72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9" y="105"/>
                    <a:pt x="45" y="107"/>
                  </a:cubicBezTo>
                  <a:cubicBezTo>
                    <a:pt x="41" y="109"/>
                    <a:pt x="30" y="107"/>
                    <a:pt x="30" y="107"/>
                  </a:cubicBezTo>
                  <a:cubicBezTo>
                    <a:pt x="30" y="107"/>
                    <a:pt x="33" y="148"/>
                    <a:pt x="23" y="159"/>
                  </a:cubicBezTo>
                  <a:cubicBezTo>
                    <a:pt x="13" y="170"/>
                    <a:pt x="0" y="166"/>
                    <a:pt x="0" y="166"/>
                  </a:cubicBezTo>
                  <a:cubicBezTo>
                    <a:pt x="17" y="203"/>
                    <a:pt x="17" y="203"/>
                    <a:pt x="17" y="203"/>
                  </a:cubicBezTo>
                  <a:cubicBezTo>
                    <a:pt x="28" y="195"/>
                    <a:pt x="28" y="195"/>
                    <a:pt x="28" y="195"/>
                  </a:cubicBezTo>
                  <a:cubicBezTo>
                    <a:pt x="34" y="208"/>
                    <a:pt x="34" y="208"/>
                    <a:pt x="34" y="208"/>
                  </a:cubicBezTo>
                  <a:cubicBezTo>
                    <a:pt x="34" y="208"/>
                    <a:pt x="25" y="221"/>
                    <a:pt x="27" y="228"/>
                  </a:cubicBezTo>
                  <a:cubicBezTo>
                    <a:pt x="29" y="235"/>
                    <a:pt x="42" y="232"/>
                    <a:pt x="42" y="232"/>
                  </a:cubicBezTo>
                  <a:cubicBezTo>
                    <a:pt x="46" y="259"/>
                    <a:pt x="46" y="259"/>
                    <a:pt x="46" y="259"/>
                  </a:cubicBezTo>
                  <a:cubicBezTo>
                    <a:pt x="66" y="263"/>
                    <a:pt x="66" y="263"/>
                    <a:pt x="66" y="263"/>
                  </a:cubicBezTo>
                  <a:cubicBezTo>
                    <a:pt x="61" y="271"/>
                    <a:pt x="61" y="271"/>
                    <a:pt x="61" y="271"/>
                  </a:cubicBezTo>
                  <a:cubicBezTo>
                    <a:pt x="94" y="306"/>
                    <a:pt x="94" y="306"/>
                    <a:pt x="94" y="306"/>
                  </a:cubicBezTo>
                  <a:cubicBezTo>
                    <a:pt x="91" y="311"/>
                    <a:pt x="91" y="311"/>
                    <a:pt x="91" y="311"/>
                  </a:cubicBezTo>
                  <a:cubicBezTo>
                    <a:pt x="113" y="338"/>
                    <a:pt x="113" y="338"/>
                    <a:pt x="113" y="338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9" y="326"/>
                    <a:pt x="119" y="326"/>
                    <a:pt x="119" y="326"/>
                  </a:cubicBezTo>
                  <a:cubicBezTo>
                    <a:pt x="133" y="317"/>
                    <a:pt x="133" y="317"/>
                    <a:pt x="133" y="317"/>
                  </a:cubicBezTo>
                  <a:cubicBezTo>
                    <a:pt x="133" y="317"/>
                    <a:pt x="148" y="335"/>
                    <a:pt x="152" y="326"/>
                  </a:cubicBezTo>
                  <a:cubicBezTo>
                    <a:pt x="156" y="317"/>
                    <a:pt x="152" y="304"/>
                    <a:pt x="152" y="304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9" y="287"/>
                    <a:pt x="149" y="287"/>
                    <a:pt x="149" y="287"/>
                  </a:cubicBezTo>
                  <a:cubicBezTo>
                    <a:pt x="132" y="274"/>
                    <a:pt x="132" y="274"/>
                    <a:pt x="132" y="274"/>
                  </a:cubicBezTo>
                  <a:cubicBezTo>
                    <a:pt x="139" y="274"/>
                    <a:pt x="139" y="274"/>
                    <a:pt x="139" y="274"/>
                  </a:cubicBezTo>
                  <a:cubicBezTo>
                    <a:pt x="139" y="274"/>
                    <a:pt x="132" y="249"/>
                    <a:pt x="138" y="251"/>
                  </a:cubicBezTo>
                  <a:cubicBezTo>
                    <a:pt x="144" y="253"/>
                    <a:pt x="168" y="262"/>
                    <a:pt x="172" y="257"/>
                  </a:cubicBezTo>
                  <a:cubicBezTo>
                    <a:pt x="176" y="252"/>
                    <a:pt x="185" y="244"/>
                    <a:pt x="185" y="244"/>
                  </a:cubicBezTo>
                  <a:cubicBezTo>
                    <a:pt x="185" y="244"/>
                    <a:pt x="172" y="226"/>
                    <a:pt x="178" y="225"/>
                  </a:cubicBezTo>
                  <a:cubicBezTo>
                    <a:pt x="184" y="224"/>
                    <a:pt x="195" y="226"/>
                    <a:pt x="195" y="226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18" y="256"/>
                    <a:pt x="226" y="254"/>
                  </a:cubicBezTo>
                  <a:cubicBezTo>
                    <a:pt x="234" y="252"/>
                    <a:pt x="237" y="236"/>
                    <a:pt x="241" y="239"/>
                  </a:cubicBezTo>
                  <a:cubicBezTo>
                    <a:pt x="245" y="242"/>
                    <a:pt x="238" y="264"/>
                    <a:pt x="248" y="264"/>
                  </a:cubicBezTo>
                  <a:cubicBezTo>
                    <a:pt x="258" y="264"/>
                    <a:pt x="260" y="258"/>
                    <a:pt x="260" y="244"/>
                  </a:cubicBezTo>
                  <a:cubicBezTo>
                    <a:pt x="260" y="230"/>
                    <a:pt x="273" y="226"/>
                    <a:pt x="273" y="226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1"/>
                    <a:pt x="281" y="166"/>
                    <a:pt x="279" y="16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1" name="Freeform 139">
              <a:extLst>
                <a:ext uri="{FF2B5EF4-FFF2-40B4-BE49-F238E27FC236}">
                  <a16:creationId xmlns:a16="http://schemas.microsoft.com/office/drawing/2014/main" id="{A6D4D4EE-322D-58AB-6934-DB7DA8798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121" y="4891361"/>
              <a:ext cx="42681" cy="48778"/>
            </a:xfrm>
            <a:custGeom>
              <a:avLst/>
              <a:gdLst>
                <a:gd name="T0" fmla="*/ 3 w 73"/>
                <a:gd name="T1" fmla="*/ 2 h 87"/>
                <a:gd name="T2" fmla="*/ 3 w 73"/>
                <a:gd name="T3" fmla="*/ 0 h 87"/>
                <a:gd name="T4" fmla="*/ 3 w 73"/>
                <a:gd name="T5" fmla="*/ 1 h 87"/>
                <a:gd name="T6" fmla="*/ 2 w 73"/>
                <a:gd name="T7" fmla="*/ 0 h 87"/>
                <a:gd name="T8" fmla="*/ 1 w 73"/>
                <a:gd name="T9" fmla="*/ 1 h 87"/>
                <a:gd name="T10" fmla="*/ 0 w 73"/>
                <a:gd name="T11" fmla="*/ 3 h 87"/>
                <a:gd name="T12" fmla="*/ 2 w 73"/>
                <a:gd name="T13" fmla="*/ 4 h 87"/>
                <a:gd name="T14" fmla="*/ 3 w 73"/>
                <a:gd name="T15" fmla="*/ 4 h 87"/>
                <a:gd name="T16" fmla="*/ 3 w 73"/>
                <a:gd name="T17" fmla="*/ 3 h 87"/>
                <a:gd name="T18" fmla="*/ 4 w 73"/>
                <a:gd name="T19" fmla="*/ 3 h 87"/>
                <a:gd name="T20" fmla="*/ 4 w 73"/>
                <a:gd name="T21" fmla="*/ 2 h 87"/>
                <a:gd name="T22" fmla="*/ 3 w 73"/>
                <a:gd name="T23" fmla="*/ 2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3"/>
                <a:gd name="T37" fmla="*/ 0 h 87"/>
                <a:gd name="T38" fmla="*/ 73 w 73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3" h="87">
                  <a:moveTo>
                    <a:pt x="59" y="35"/>
                  </a:moveTo>
                  <a:cubicBezTo>
                    <a:pt x="57" y="28"/>
                    <a:pt x="62" y="11"/>
                    <a:pt x="62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34" y="0"/>
                    <a:pt x="27" y="0"/>
                  </a:cubicBezTo>
                  <a:cubicBezTo>
                    <a:pt x="20" y="0"/>
                    <a:pt x="14" y="25"/>
                    <a:pt x="11" y="29"/>
                  </a:cubicBezTo>
                  <a:cubicBezTo>
                    <a:pt x="8" y="33"/>
                    <a:pt x="0" y="46"/>
                    <a:pt x="2" y="58"/>
                  </a:cubicBezTo>
                  <a:cubicBezTo>
                    <a:pt x="4" y="70"/>
                    <a:pt x="27" y="86"/>
                    <a:pt x="34" y="86"/>
                  </a:cubicBezTo>
                  <a:cubicBezTo>
                    <a:pt x="41" y="86"/>
                    <a:pt x="56" y="87"/>
                    <a:pt x="56" y="8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8" y="59"/>
                    <a:pt x="73" y="58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62" y="42"/>
                    <a:pt x="59" y="3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2" name="Freeform 140">
              <a:extLst>
                <a:ext uri="{FF2B5EF4-FFF2-40B4-BE49-F238E27FC236}">
                  <a16:creationId xmlns:a16="http://schemas.microsoft.com/office/drawing/2014/main" id="{78E745DD-52B5-AC3C-78BF-9C1B2A544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4665" y="4621555"/>
              <a:ext cx="361266" cy="368887"/>
            </a:xfrm>
            <a:custGeom>
              <a:avLst/>
              <a:gdLst>
                <a:gd name="T0" fmla="*/ 13 w 635"/>
                <a:gd name="T1" fmla="*/ 32 h 648"/>
                <a:gd name="T2" fmla="*/ 15 w 635"/>
                <a:gd name="T3" fmla="*/ 33 h 648"/>
                <a:gd name="T4" fmla="*/ 16 w 635"/>
                <a:gd name="T5" fmla="*/ 34 h 648"/>
                <a:gd name="T6" fmla="*/ 17 w 635"/>
                <a:gd name="T7" fmla="*/ 34 h 648"/>
                <a:gd name="T8" fmla="*/ 18 w 635"/>
                <a:gd name="T9" fmla="*/ 33 h 648"/>
                <a:gd name="T10" fmla="*/ 19 w 635"/>
                <a:gd name="T11" fmla="*/ 32 h 648"/>
                <a:gd name="T12" fmla="*/ 20 w 635"/>
                <a:gd name="T13" fmla="*/ 14 h 648"/>
                <a:gd name="T14" fmla="*/ 22 w 635"/>
                <a:gd name="T15" fmla="*/ 10 h 648"/>
                <a:gd name="T16" fmla="*/ 22 w 635"/>
                <a:gd name="T17" fmla="*/ 4 h 648"/>
                <a:gd name="T18" fmla="*/ 28 w 635"/>
                <a:gd name="T19" fmla="*/ 3 h 648"/>
                <a:gd name="T20" fmla="*/ 29 w 635"/>
                <a:gd name="T21" fmla="*/ 4 h 648"/>
                <a:gd name="T22" fmla="*/ 30 w 635"/>
                <a:gd name="T23" fmla="*/ 3 h 648"/>
                <a:gd name="T24" fmla="*/ 31 w 635"/>
                <a:gd name="T25" fmla="*/ 3 h 648"/>
                <a:gd name="T26" fmla="*/ 33 w 635"/>
                <a:gd name="T27" fmla="*/ 2 h 648"/>
                <a:gd name="T28" fmla="*/ 31 w 635"/>
                <a:gd name="T29" fmla="*/ 2 h 648"/>
                <a:gd name="T30" fmla="*/ 30 w 635"/>
                <a:gd name="T31" fmla="*/ 1 h 648"/>
                <a:gd name="T32" fmla="*/ 29 w 635"/>
                <a:gd name="T33" fmla="*/ 2 h 648"/>
                <a:gd name="T34" fmla="*/ 22 w 635"/>
                <a:gd name="T35" fmla="*/ 3 h 648"/>
                <a:gd name="T36" fmla="*/ 19 w 635"/>
                <a:gd name="T37" fmla="*/ 3 h 648"/>
                <a:gd name="T38" fmla="*/ 18 w 635"/>
                <a:gd name="T39" fmla="*/ 2 h 648"/>
                <a:gd name="T40" fmla="*/ 6 w 635"/>
                <a:gd name="T41" fmla="*/ 1 h 648"/>
                <a:gd name="T42" fmla="*/ 3 w 635"/>
                <a:gd name="T43" fmla="*/ 0 h 648"/>
                <a:gd name="T44" fmla="*/ 1 w 635"/>
                <a:gd name="T45" fmla="*/ 1 h 648"/>
                <a:gd name="T46" fmla="*/ 0 w 635"/>
                <a:gd name="T47" fmla="*/ 1 h 648"/>
                <a:gd name="T48" fmla="*/ 0 w 635"/>
                <a:gd name="T49" fmla="*/ 3 h 648"/>
                <a:gd name="T50" fmla="*/ 3 w 635"/>
                <a:gd name="T51" fmla="*/ 9 h 648"/>
                <a:gd name="T52" fmla="*/ 5 w 635"/>
                <a:gd name="T53" fmla="*/ 13 h 648"/>
                <a:gd name="T54" fmla="*/ 7 w 635"/>
                <a:gd name="T55" fmla="*/ 15 h 648"/>
                <a:gd name="T56" fmla="*/ 7 w 635"/>
                <a:gd name="T57" fmla="*/ 22 h 648"/>
                <a:gd name="T58" fmla="*/ 8 w 635"/>
                <a:gd name="T59" fmla="*/ 25 h 648"/>
                <a:gd name="T60" fmla="*/ 8 w 635"/>
                <a:gd name="T61" fmla="*/ 27 h 648"/>
                <a:gd name="T62" fmla="*/ 9 w 635"/>
                <a:gd name="T63" fmla="*/ 28 h 648"/>
                <a:gd name="T64" fmla="*/ 10 w 635"/>
                <a:gd name="T65" fmla="*/ 31 h 648"/>
                <a:gd name="T66" fmla="*/ 11 w 635"/>
                <a:gd name="T67" fmla="*/ 32 h 648"/>
                <a:gd name="T68" fmla="*/ 13 w 635"/>
                <a:gd name="T69" fmla="*/ 31 h 6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35"/>
                <a:gd name="T106" fmla="*/ 0 h 648"/>
                <a:gd name="T107" fmla="*/ 635 w 635"/>
                <a:gd name="T108" fmla="*/ 648 h 6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35" h="648">
                  <a:moveTo>
                    <a:pt x="243" y="596"/>
                  </a:moveTo>
                  <a:cubicBezTo>
                    <a:pt x="247" y="597"/>
                    <a:pt x="257" y="609"/>
                    <a:pt x="257" y="609"/>
                  </a:cubicBezTo>
                  <a:cubicBezTo>
                    <a:pt x="257" y="609"/>
                    <a:pt x="256" y="624"/>
                    <a:pt x="261" y="631"/>
                  </a:cubicBezTo>
                  <a:cubicBezTo>
                    <a:pt x="265" y="638"/>
                    <a:pt x="274" y="632"/>
                    <a:pt x="281" y="636"/>
                  </a:cubicBezTo>
                  <a:cubicBezTo>
                    <a:pt x="288" y="640"/>
                    <a:pt x="292" y="648"/>
                    <a:pt x="292" y="648"/>
                  </a:cubicBezTo>
                  <a:cubicBezTo>
                    <a:pt x="304" y="648"/>
                    <a:pt x="304" y="648"/>
                    <a:pt x="304" y="648"/>
                  </a:cubicBezTo>
                  <a:cubicBezTo>
                    <a:pt x="304" y="648"/>
                    <a:pt x="310" y="640"/>
                    <a:pt x="318" y="640"/>
                  </a:cubicBezTo>
                  <a:cubicBezTo>
                    <a:pt x="326" y="640"/>
                    <a:pt x="330" y="646"/>
                    <a:pt x="330" y="646"/>
                  </a:cubicBezTo>
                  <a:cubicBezTo>
                    <a:pt x="330" y="646"/>
                    <a:pt x="337" y="646"/>
                    <a:pt x="342" y="646"/>
                  </a:cubicBezTo>
                  <a:cubicBezTo>
                    <a:pt x="348" y="646"/>
                    <a:pt x="345" y="632"/>
                    <a:pt x="345" y="632"/>
                  </a:cubicBezTo>
                  <a:cubicBezTo>
                    <a:pt x="353" y="630"/>
                    <a:pt x="353" y="630"/>
                    <a:pt x="353" y="630"/>
                  </a:cubicBezTo>
                  <a:cubicBezTo>
                    <a:pt x="353" y="630"/>
                    <a:pt x="351" y="625"/>
                    <a:pt x="358" y="622"/>
                  </a:cubicBezTo>
                  <a:cubicBezTo>
                    <a:pt x="365" y="619"/>
                    <a:pt x="379" y="618"/>
                    <a:pt x="379" y="618"/>
                  </a:cubicBezTo>
                  <a:cubicBezTo>
                    <a:pt x="384" y="273"/>
                    <a:pt x="384" y="273"/>
                    <a:pt x="384" y="273"/>
                  </a:cubicBezTo>
                  <a:cubicBezTo>
                    <a:pt x="432" y="273"/>
                    <a:pt x="432" y="273"/>
                    <a:pt x="432" y="273"/>
                  </a:cubicBezTo>
                  <a:cubicBezTo>
                    <a:pt x="431" y="192"/>
                    <a:pt x="431" y="192"/>
                    <a:pt x="431" y="192"/>
                  </a:cubicBezTo>
                  <a:cubicBezTo>
                    <a:pt x="435" y="188"/>
                    <a:pt x="435" y="188"/>
                    <a:pt x="435" y="188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435" y="71"/>
                    <a:pt x="474" y="68"/>
                    <a:pt x="496" y="65"/>
                  </a:cubicBezTo>
                  <a:cubicBezTo>
                    <a:pt x="517" y="63"/>
                    <a:pt x="533" y="55"/>
                    <a:pt x="541" y="55"/>
                  </a:cubicBezTo>
                  <a:cubicBezTo>
                    <a:pt x="550" y="55"/>
                    <a:pt x="548" y="69"/>
                    <a:pt x="548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6" y="83"/>
                    <a:pt x="559" y="82"/>
                  </a:cubicBezTo>
                  <a:cubicBezTo>
                    <a:pt x="562" y="81"/>
                    <a:pt x="572" y="68"/>
                    <a:pt x="577" y="63"/>
                  </a:cubicBezTo>
                  <a:cubicBezTo>
                    <a:pt x="583" y="57"/>
                    <a:pt x="593" y="55"/>
                    <a:pt x="593" y="55"/>
                  </a:cubicBezTo>
                  <a:cubicBezTo>
                    <a:pt x="601" y="55"/>
                    <a:pt x="601" y="55"/>
                    <a:pt x="601" y="55"/>
                  </a:cubicBezTo>
                  <a:cubicBezTo>
                    <a:pt x="612" y="47"/>
                    <a:pt x="612" y="47"/>
                    <a:pt x="612" y="47"/>
                  </a:cubicBezTo>
                  <a:cubicBezTo>
                    <a:pt x="635" y="45"/>
                    <a:pt x="635" y="45"/>
                    <a:pt x="635" y="45"/>
                  </a:cubicBezTo>
                  <a:cubicBezTo>
                    <a:pt x="622" y="32"/>
                    <a:pt x="622" y="32"/>
                    <a:pt x="622" y="32"/>
                  </a:cubicBezTo>
                  <a:cubicBezTo>
                    <a:pt x="602" y="34"/>
                    <a:pt x="602" y="34"/>
                    <a:pt x="602" y="34"/>
                  </a:cubicBezTo>
                  <a:cubicBezTo>
                    <a:pt x="602" y="34"/>
                    <a:pt x="601" y="26"/>
                    <a:pt x="592" y="26"/>
                  </a:cubicBezTo>
                  <a:cubicBezTo>
                    <a:pt x="583" y="26"/>
                    <a:pt x="576" y="31"/>
                    <a:pt x="576" y="31"/>
                  </a:cubicBezTo>
                  <a:cubicBezTo>
                    <a:pt x="563" y="39"/>
                    <a:pt x="563" y="39"/>
                    <a:pt x="563" y="39"/>
                  </a:cubicBezTo>
                  <a:cubicBezTo>
                    <a:pt x="548" y="35"/>
                    <a:pt x="548" y="35"/>
                    <a:pt x="548" y="35"/>
                  </a:cubicBezTo>
                  <a:cubicBezTo>
                    <a:pt x="548" y="35"/>
                    <a:pt x="488" y="55"/>
                    <a:pt x="460" y="55"/>
                  </a:cubicBezTo>
                  <a:cubicBezTo>
                    <a:pt x="432" y="55"/>
                    <a:pt x="414" y="55"/>
                    <a:pt x="414" y="55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58" y="44"/>
                    <a:pt x="358" y="44"/>
                    <a:pt x="358" y="44"/>
                  </a:cubicBezTo>
                  <a:cubicBezTo>
                    <a:pt x="358" y="44"/>
                    <a:pt x="342" y="46"/>
                    <a:pt x="335" y="44"/>
                  </a:cubicBezTo>
                  <a:cubicBezTo>
                    <a:pt x="328" y="42"/>
                    <a:pt x="319" y="23"/>
                    <a:pt x="319" y="23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82" y="12"/>
                    <a:pt x="78" y="1"/>
                  </a:cubicBezTo>
                  <a:cubicBezTo>
                    <a:pt x="79" y="2"/>
                    <a:pt x="58" y="0"/>
                    <a:pt x="58" y="0"/>
                  </a:cubicBezTo>
                  <a:cubicBezTo>
                    <a:pt x="58" y="0"/>
                    <a:pt x="54" y="14"/>
                    <a:pt x="47" y="15"/>
                  </a:cubicBezTo>
                  <a:cubicBezTo>
                    <a:pt x="40" y="16"/>
                    <a:pt x="28" y="16"/>
                    <a:pt x="28" y="16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13" y="79"/>
                    <a:pt x="22" y="92"/>
                  </a:cubicBezTo>
                  <a:cubicBezTo>
                    <a:pt x="31" y="105"/>
                    <a:pt x="64" y="153"/>
                    <a:pt x="65" y="170"/>
                  </a:cubicBezTo>
                  <a:cubicBezTo>
                    <a:pt x="66" y="187"/>
                    <a:pt x="79" y="204"/>
                    <a:pt x="83" y="217"/>
                  </a:cubicBezTo>
                  <a:cubicBezTo>
                    <a:pt x="87" y="230"/>
                    <a:pt x="102" y="245"/>
                    <a:pt x="102" y="245"/>
                  </a:cubicBezTo>
                  <a:cubicBezTo>
                    <a:pt x="102" y="259"/>
                    <a:pt x="102" y="259"/>
                    <a:pt x="102" y="259"/>
                  </a:cubicBezTo>
                  <a:cubicBezTo>
                    <a:pt x="102" y="259"/>
                    <a:pt x="131" y="280"/>
                    <a:pt x="131" y="296"/>
                  </a:cubicBezTo>
                  <a:cubicBezTo>
                    <a:pt x="131" y="312"/>
                    <a:pt x="129" y="386"/>
                    <a:pt x="129" y="386"/>
                  </a:cubicBezTo>
                  <a:cubicBezTo>
                    <a:pt x="129" y="386"/>
                    <a:pt x="144" y="411"/>
                    <a:pt x="146" y="431"/>
                  </a:cubicBezTo>
                  <a:cubicBezTo>
                    <a:pt x="148" y="451"/>
                    <a:pt x="140" y="451"/>
                    <a:pt x="140" y="451"/>
                  </a:cubicBezTo>
                  <a:cubicBezTo>
                    <a:pt x="149" y="484"/>
                    <a:pt x="149" y="484"/>
                    <a:pt x="149" y="484"/>
                  </a:cubicBezTo>
                  <a:cubicBezTo>
                    <a:pt x="151" y="508"/>
                    <a:pt x="151" y="508"/>
                    <a:pt x="151" y="508"/>
                  </a:cubicBezTo>
                  <a:cubicBezTo>
                    <a:pt x="159" y="508"/>
                    <a:pt x="159" y="508"/>
                    <a:pt x="159" y="508"/>
                  </a:cubicBezTo>
                  <a:cubicBezTo>
                    <a:pt x="159" y="508"/>
                    <a:pt x="156" y="528"/>
                    <a:pt x="157" y="532"/>
                  </a:cubicBezTo>
                  <a:cubicBezTo>
                    <a:pt x="158" y="536"/>
                    <a:pt x="168" y="544"/>
                    <a:pt x="168" y="544"/>
                  </a:cubicBezTo>
                  <a:cubicBezTo>
                    <a:pt x="169" y="563"/>
                    <a:pt x="169" y="563"/>
                    <a:pt x="169" y="563"/>
                  </a:cubicBezTo>
                  <a:cubicBezTo>
                    <a:pt x="169" y="563"/>
                    <a:pt x="184" y="595"/>
                    <a:pt x="190" y="606"/>
                  </a:cubicBezTo>
                  <a:cubicBezTo>
                    <a:pt x="196" y="617"/>
                    <a:pt x="216" y="624"/>
                    <a:pt x="216" y="624"/>
                  </a:cubicBezTo>
                  <a:cubicBezTo>
                    <a:pt x="216" y="624"/>
                    <a:pt x="216" y="624"/>
                    <a:pt x="216" y="625"/>
                  </a:cubicBezTo>
                  <a:cubicBezTo>
                    <a:pt x="228" y="619"/>
                    <a:pt x="228" y="619"/>
                    <a:pt x="228" y="619"/>
                  </a:cubicBezTo>
                  <a:cubicBezTo>
                    <a:pt x="228" y="619"/>
                    <a:pt x="239" y="595"/>
                    <a:pt x="243" y="59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3" name="Freeform 141">
              <a:extLst>
                <a:ext uri="{FF2B5EF4-FFF2-40B4-BE49-F238E27FC236}">
                  <a16:creationId xmlns:a16="http://schemas.microsoft.com/office/drawing/2014/main" id="{9C91A798-10A3-B12D-7EE2-5BCB3CFE8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931" y="4581923"/>
              <a:ext cx="211882" cy="208833"/>
            </a:xfrm>
            <a:custGeom>
              <a:avLst/>
              <a:gdLst>
                <a:gd name="T0" fmla="*/ 0 w 372"/>
                <a:gd name="T1" fmla="*/ 7 h 366"/>
                <a:gd name="T2" fmla="*/ 0 w 372"/>
                <a:gd name="T3" fmla="*/ 8 h 366"/>
                <a:gd name="T4" fmla="*/ 1 w 372"/>
                <a:gd name="T5" fmla="*/ 8 h 366"/>
                <a:gd name="T6" fmla="*/ 1 w 372"/>
                <a:gd name="T7" fmla="*/ 9 h 366"/>
                <a:gd name="T8" fmla="*/ 2 w 372"/>
                <a:gd name="T9" fmla="*/ 11 h 366"/>
                <a:gd name="T10" fmla="*/ 4 w 372"/>
                <a:gd name="T11" fmla="*/ 12 h 366"/>
                <a:gd name="T12" fmla="*/ 5 w 372"/>
                <a:gd name="T13" fmla="*/ 12 h 366"/>
                <a:gd name="T14" fmla="*/ 5 w 372"/>
                <a:gd name="T15" fmla="*/ 13 h 366"/>
                <a:gd name="T16" fmla="*/ 6 w 372"/>
                <a:gd name="T17" fmla="*/ 14 h 366"/>
                <a:gd name="T18" fmla="*/ 6 w 372"/>
                <a:gd name="T19" fmla="*/ 15 h 366"/>
                <a:gd name="T20" fmla="*/ 6 w 372"/>
                <a:gd name="T21" fmla="*/ 15 h 366"/>
                <a:gd name="T22" fmla="*/ 6 w 372"/>
                <a:gd name="T23" fmla="*/ 16 h 366"/>
                <a:gd name="T24" fmla="*/ 6 w 372"/>
                <a:gd name="T25" fmla="*/ 16 h 366"/>
                <a:gd name="T26" fmla="*/ 6 w 372"/>
                <a:gd name="T27" fmla="*/ 17 h 366"/>
                <a:gd name="T28" fmla="*/ 8 w 372"/>
                <a:gd name="T29" fmla="*/ 17 h 366"/>
                <a:gd name="T30" fmla="*/ 9 w 372"/>
                <a:gd name="T31" fmla="*/ 18 h 366"/>
                <a:gd name="T32" fmla="*/ 9 w 372"/>
                <a:gd name="T33" fmla="*/ 18 h 366"/>
                <a:gd name="T34" fmla="*/ 11 w 372"/>
                <a:gd name="T35" fmla="*/ 18 h 366"/>
                <a:gd name="T36" fmla="*/ 12 w 372"/>
                <a:gd name="T37" fmla="*/ 19 h 366"/>
                <a:gd name="T38" fmla="*/ 14 w 372"/>
                <a:gd name="T39" fmla="*/ 19 h 366"/>
                <a:gd name="T40" fmla="*/ 15 w 372"/>
                <a:gd name="T41" fmla="*/ 19 h 366"/>
                <a:gd name="T42" fmla="*/ 17 w 372"/>
                <a:gd name="T43" fmla="*/ 16 h 366"/>
                <a:gd name="T44" fmla="*/ 18 w 372"/>
                <a:gd name="T45" fmla="*/ 16 h 366"/>
                <a:gd name="T46" fmla="*/ 17 w 372"/>
                <a:gd name="T47" fmla="*/ 15 h 366"/>
                <a:gd name="T48" fmla="*/ 17 w 372"/>
                <a:gd name="T49" fmla="*/ 15 h 366"/>
                <a:gd name="T50" fmla="*/ 18 w 372"/>
                <a:gd name="T51" fmla="*/ 14 h 366"/>
                <a:gd name="T52" fmla="*/ 18 w 372"/>
                <a:gd name="T53" fmla="*/ 13 h 366"/>
                <a:gd name="T54" fmla="*/ 18 w 372"/>
                <a:gd name="T55" fmla="*/ 13 h 366"/>
                <a:gd name="T56" fmla="*/ 19 w 372"/>
                <a:gd name="T57" fmla="*/ 12 h 366"/>
                <a:gd name="T58" fmla="*/ 18 w 372"/>
                <a:gd name="T59" fmla="*/ 11 h 366"/>
                <a:gd name="T60" fmla="*/ 19 w 372"/>
                <a:gd name="T61" fmla="*/ 10 h 366"/>
                <a:gd name="T62" fmla="*/ 18 w 372"/>
                <a:gd name="T63" fmla="*/ 9 h 366"/>
                <a:gd name="T64" fmla="*/ 19 w 372"/>
                <a:gd name="T65" fmla="*/ 9 h 366"/>
                <a:gd name="T66" fmla="*/ 19 w 372"/>
                <a:gd name="T67" fmla="*/ 8 h 366"/>
                <a:gd name="T68" fmla="*/ 19 w 372"/>
                <a:gd name="T69" fmla="*/ 7 h 366"/>
                <a:gd name="T70" fmla="*/ 19 w 372"/>
                <a:gd name="T71" fmla="*/ 6 h 366"/>
                <a:gd name="T72" fmla="*/ 19 w 372"/>
                <a:gd name="T73" fmla="*/ 6 h 366"/>
                <a:gd name="T74" fmla="*/ 19 w 372"/>
                <a:gd name="T75" fmla="*/ 5 h 366"/>
                <a:gd name="T76" fmla="*/ 19 w 372"/>
                <a:gd name="T77" fmla="*/ 5 h 366"/>
                <a:gd name="T78" fmla="*/ 19 w 372"/>
                <a:gd name="T79" fmla="*/ 4 h 366"/>
                <a:gd name="T80" fmla="*/ 19 w 372"/>
                <a:gd name="T81" fmla="*/ 3 h 366"/>
                <a:gd name="T82" fmla="*/ 18 w 372"/>
                <a:gd name="T83" fmla="*/ 3 h 366"/>
                <a:gd name="T84" fmla="*/ 18 w 372"/>
                <a:gd name="T85" fmla="*/ 2 h 366"/>
                <a:gd name="T86" fmla="*/ 16 w 372"/>
                <a:gd name="T87" fmla="*/ 2 h 366"/>
                <a:gd name="T88" fmla="*/ 16 w 372"/>
                <a:gd name="T89" fmla="*/ 1 h 366"/>
                <a:gd name="T90" fmla="*/ 15 w 372"/>
                <a:gd name="T91" fmla="*/ 1 h 366"/>
                <a:gd name="T92" fmla="*/ 15 w 372"/>
                <a:gd name="T93" fmla="*/ 1 h 366"/>
                <a:gd name="T94" fmla="*/ 13 w 372"/>
                <a:gd name="T95" fmla="*/ 1 h 366"/>
                <a:gd name="T96" fmla="*/ 13 w 372"/>
                <a:gd name="T97" fmla="*/ 0 h 366"/>
                <a:gd name="T98" fmla="*/ 11 w 372"/>
                <a:gd name="T99" fmla="*/ 0 h 366"/>
                <a:gd name="T100" fmla="*/ 9 w 372"/>
                <a:gd name="T101" fmla="*/ 1 h 366"/>
                <a:gd name="T102" fmla="*/ 9 w 372"/>
                <a:gd name="T103" fmla="*/ 3 h 366"/>
                <a:gd name="T104" fmla="*/ 7 w 372"/>
                <a:gd name="T105" fmla="*/ 3 h 366"/>
                <a:gd name="T106" fmla="*/ 6 w 372"/>
                <a:gd name="T107" fmla="*/ 5 h 366"/>
                <a:gd name="T108" fmla="*/ 4 w 372"/>
                <a:gd name="T109" fmla="*/ 7 h 366"/>
                <a:gd name="T110" fmla="*/ 3 w 372"/>
                <a:gd name="T111" fmla="*/ 6 h 366"/>
                <a:gd name="T112" fmla="*/ 2 w 372"/>
                <a:gd name="T113" fmla="*/ 7 h 366"/>
                <a:gd name="T114" fmla="*/ 1 w 372"/>
                <a:gd name="T115" fmla="*/ 6 h 366"/>
                <a:gd name="T116" fmla="*/ 0 w 372"/>
                <a:gd name="T117" fmla="*/ 6 h 366"/>
                <a:gd name="T118" fmla="*/ 0 w 372"/>
                <a:gd name="T119" fmla="*/ 7 h 366"/>
                <a:gd name="T120" fmla="*/ 0 w 372"/>
                <a:gd name="T121" fmla="*/ 7 h 36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2"/>
                <a:gd name="T184" fmla="*/ 0 h 366"/>
                <a:gd name="T185" fmla="*/ 372 w 372"/>
                <a:gd name="T186" fmla="*/ 366 h 36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2" h="366">
                  <a:moveTo>
                    <a:pt x="11" y="136"/>
                  </a:move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9" y="150"/>
                    <a:pt x="23" y="160"/>
                  </a:cubicBezTo>
                  <a:cubicBezTo>
                    <a:pt x="27" y="170"/>
                    <a:pt x="33" y="181"/>
                    <a:pt x="33" y="181"/>
                  </a:cubicBezTo>
                  <a:cubicBezTo>
                    <a:pt x="33" y="181"/>
                    <a:pt x="35" y="204"/>
                    <a:pt x="42" y="213"/>
                  </a:cubicBezTo>
                  <a:cubicBezTo>
                    <a:pt x="49" y="222"/>
                    <a:pt x="70" y="234"/>
                    <a:pt x="70" y="234"/>
                  </a:cubicBezTo>
                  <a:cubicBezTo>
                    <a:pt x="70" y="234"/>
                    <a:pt x="88" y="231"/>
                    <a:pt x="90" y="238"/>
                  </a:cubicBezTo>
                  <a:cubicBezTo>
                    <a:pt x="92" y="245"/>
                    <a:pt x="91" y="260"/>
                    <a:pt x="91" y="260"/>
                  </a:cubicBezTo>
                  <a:cubicBezTo>
                    <a:pt x="112" y="261"/>
                    <a:pt x="112" y="261"/>
                    <a:pt x="112" y="261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0" y="281"/>
                    <a:pt x="110" y="281"/>
                    <a:pt x="110" y="281"/>
                  </a:cubicBezTo>
                  <a:cubicBezTo>
                    <a:pt x="110" y="299"/>
                    <a:pt x="110" y="299"/>
                    <a:pt x="110" y="299"/>
                  </a:cubicBezTo>
                  <a:cubicBezTo>
                    <a:pt x="110" y="299"/>
                    <a:pt x="122" y="297"/>
                    <a:pt x="122" y="304"/>
                  </a:cubicBezTo>
                  <a:cubicBezTo>
                    <a:pt x="122" y="311"/>
                    <a:pt x="122" y="319"/>
                    <a:pt x="122" y="319"/>
                  </a:cubicBezTo>
                  <a:cubicBezTo>
                    <a:pt x="122" y="319"/>
                    <a:pt x="148" y="322"/>
                    <a:pt x="161" y="327"/>
                  </a:cubicBezTo>
                  <a:cubicBezTo>
                    <a:pt x="171" y="331"/>
                    <a:pt x="177" y="345"/>
                    <a:pt x="180" y="352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206" y="351"/>
                    <a:pt x="206" y="351"/>
                    <a:pt x="206" y="351"/>
                  </a:cubicBezTo>
                  <a:cubicBezTo>
                    <a:pt x="206" y="351"/>
                    <a:pt x="222" y="358"/>
                    <a:pt x="230" y="359"/>
                  </a:cubicBezTo>
                  <a:cubicBezTo>
                    <a:pt x="238" y="360"/>
                    <a:pt x="265" y="359"/>
                    <a:pt x="265" y="359"/>
                  </a:cubicBezTo>
                  <a:cubicBezTo>
                    <a:pt x="277" y="366"/>
                    <a:pt x="277" y="366"/>
                    <a:pt x="277" y="366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34" y="307"/>
                    <a:pt x="334" y="307"/>
                    <a:pt x="334" y="307"/>
                  </a:cubicBezTo>
                  <a:cubicBezTo>
                    <a:pt x="325" y="294"/>
                    <a:pt x="325" y="294"/>
                    <a:pt x="325" y="294"/>
                  </a:cubicBezTo>
                  <a:cubicBezTo>
                    <a:pt x="333" y="289"/>
                    <a:pt x="333" y="289"/>
                    <a:pt x="333" y="289"/>
                  </a:cubicBezTo>
                  <a:cubicBezTo>
                    <a:pt x="334" y="266"/>
                    <a:pt x="334" y="266"/>
                    <a:pt x="334" y="266"/>
                  </a:cubicBezTo>
                  <a:cubicBezTo>
                    <a:pt x="334" y="266"/>
                    <a:pt x="349" y="265"/>
                    <a:pt x="350" y="257"/>
                  </a:cubicBezTo>
                  <a:cubicBezTo>
                    <a:pt x="352" y="249"/>
                    <a:pt x="354" y="242"/>
                    <a:pt x="354" y="242"/>
                  </a:cubicBezTo>
                  <a:cubicBezTo>
                    <a:pt x="354" y="242"/>
                    <a:pt x="365" y="235"/>
                    <a:pt x="364" y="229"/>
                  </a:cubicBezTo>
                  <a:cubicBezTo>
                    <a:pt x="362" y="222"/>
                    <a:pt x="345" y="211"/>
                    <a:pt x="346" y="206"/>
                  </a:cubicBezTo>
                  <a:cubicBezTo>
                    <a:pt x="348" y="201"/>
                    <a:pt x="360" y="190"/>
                    <a:pt x="360" y="190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60" y="167"/>
                    <a:pt x="360" y="167"/>
                    <a:pt x="360" y="167"/>
                  </a:cubicBezTo>
                  <a:cubicBezTo>
                    <a:pt x="360" y="158"/>
                    <a:pt x="360" y="158"/>
                    <a:pt x="360" y="158"/>
                  </a:cubicBezTo>
                  <a:cubicBezTo>
                    <a:pt x="360" y="158"/>
                    <a:pt x="369" y="158"/>
                    <a:pt x="366" y="145"/>
                  </a:cubicBezTo>
                  <a:cubicBezTo>
                    <a:pt x="364" y="131"/>
                    <a:pt x="356" y="125"/>
                    <a:pt x="358" y="119"/>
                  </a:cubicBezTo>
                  <a:cubicBezTo>
                    <a:pt x="361" y="114"/>
                    <a:pt x="366" y="107"/>
                    <a:pt x="366" y="107"/>
                  </a:cubicBezTo>
                  <a:cubicBezTo>
                    <a:pt x="360" y="99"/>
                    <a:pt x="360" y="99"/>
                    <a:pt x="360" y="99"/>
                  </a:cubicBezTo>
                  <a:cubicBezTo>
                    <a:pt x="366" y="90"/>
                    <a:pt x="366" y="90"/>
                    <a:pt x="366" y="90"/>
                  </a:cubicBezTo>
                  <a:cubicBezTo>
                    <a:pt x="358" y="81"/>
                    <a:pt x="358" y="81"/>
                    <a:pt x="358" y="81"/>
                  </a:cubicBezTo>
                  <a:cubicBezTo>
                    <a:pt x="358" y="81"/>
                    <a:pt x="372" y="71"/>
                    <a:pt x="368" y="63"/>
                  </a:cubicBezTo>
                  <a:cubicBezTo>
                    <a:pt x="364" y="55"/>
                    <a:pt x="349" y="55"/>
                    <a:pt x="349" y="55"/>
                  </a:cubicBezTo>
                  <a:cubicBezTo>
                    <a:pt x="349" y="55"/>
                    <a:pt x="344" y="43"/>
                    <a:pt x="336" y="43"/>
                  </a:cubicBezTo>
                  <a:cubicBezTo>
                    <a:pt x="328" y="43"/>
                    <a:pt x="318" y="46"/>
                    <a:pt x="318" y="46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293" y="33"/>
                    <a:pt x="293" y="33"/>
                    <a:pt x="293" y="33"/>
                  </a:cubicBezTo>
                  <a:cubicBezTo>
                    <a:pt x="285" y="21"/>
                    <a:pt x="285" y="21"/>
                    <a:pt x="285" y="21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36" y="0"/>
                    <a:pt x="218" y="0"/>
                    <a:pt x="205" y="5"/>
                  </a:cubicBezTo>
                  <a:cubicBezTo>
                    <a:pt x="188" y="11"/>
                    <a:pt x="170" y="25"/>
                    <a:pt x="170" y="25"/>
                  </a:cubicBezTo>
                  <a:cubicBezTo>
                    <a:pt x="170" y="25"/>
                    <a:pt x="173" y="48"/>
                    <a:pt x="172" y="49"/>
                  </a:cubicBezTo>
                  <a:cubicBezTo>
                    <a:pt x="171" y="50"/>
                    <a:pt x="132" y="61"/>
                    <a:pt x="125" y="68"/>
                  </a:cubicBezTo>
                  <a:cubicBezTo>
                    <a:pt x="118" y="75"/>
                    <a:pt x="116" y="91"/>
                    <a:pt x="116" y="91"/>
                  </a:cubicBezTo>
                  <a:cubicBezTo>
                    <a:pt x="116" y="91"/>
                    <a:pt x="95" y="118"/>
                    <a:pt x="77" y="127"/>
                  </a:cubicBezTo>
                  <a:cubicBezTo>
                    <a:pt x="59" y="136"/>
                    <a:pt x="58" y="127"/>
                    <a:pt x="51" y="121"/>
                  </a:cubicBezTo>
                  <a:cubicBezTo>
                    <a:pt x="44" y="115"/>
                    <a:pt x="42" y="127"/>
                    <a:pt x="38" y="127"/>
                  </a:cubicBezTo>
                  <a:cubicBezTo>
                    <a:pt x="34" y="127"/>
                    <a:pt x="28" y="121"/>
                    <a:pt x="26" y="117"/>
                  </a:cubicBezTo>
                  <a:cubicBezTo>
                    <a:pt x="24" y="113"/>
                    <a:pt x="0" y="117"/>
                    <a:pt x="0" y="117"/>
                  </a:cubicBezTo>
                  <a:cubicBezTo>
                    <a:pt x="2" y="127"/>
                    <a:pt x="2" y="127"/>
                    <a:pt x="2" y="127"/>
                  </a:cubicBezTo>
                  <a:lnTo>
                    <a:pt x="11" y="136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4" name="Freeform 142">
              <a:extLst>
                <a:ext uri="{FF2B5EF4-FFF2-40B4-BE49-F238E27FC236}">
                  <a16:creationId xmlns:a16="http://schemas.microsoft.com/office/drawing/2014/main" id="{CEF5A8B6-023E-F035-87F4-D81D2652C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20" y="4647468"/>
              <a:ext cx="246941" cy="278952"/>
            </a:xfrm>
            <a:custGeom>
              <a:avLst/>
              <a:gdLst>
                <a:gd name="T0" fmla="*/ 0 w 433"/>
                <a:gd name="T1" fmla="*/ 20 h 490"/>
                <a:gd name="T2" fmla="*/ 1 w 433"/>
                <a:gd name="T3" fmla="*/ 21 h 490"/>
                <a:gd name="T4" fmla="*/ 1 w 433"/>
                <a:gd name="T5" fmla="*/ 22 h 490"/>
                <a:gd name="T6" fmla="*/ 2 w 433"/>
                <a:gd name="T7" fmla="*/ 23 h 490"/>
                <a:gd name="T8" fmla="*/ 1 w 433"/>
                <a:gd name="T9" fmla="*/ 24 h 490"/>
                <a:gd name="T10" fmla="*/ 1 w 433"/>
                <a:gd name="T11" fmla="*/ 25 h 490"/>
                <a:gd name="T12" fmla="*/ 4 w 433"/>
                <a:gd name="T13" fmla="*/ 25 h 490"/>
                <a:gd name="T14" fmla="*/ 4 w 433"/>
                <a:gd name="T15" fmla="*/ 25 h 490"/>
                <a:gd name="T16" fmla="*/ 5 w 433"/>
                <a:gd name="T17" fmla="*/ 25 h 490"/>
                <a:gd name="T18" fmla="*/ 6 w 433"/>
                <a:gd name="T19" fmla="*/ 24 h 490"/>
                <a:gd name="T20" fmla="*/ 6 w 433"/>
                <a:gd name="T21" fmla="*/ 23 h 490"/>
                <a:gd name="T22" fmla="*/ 7 w 433"/>
                <a:gd name="T23" fmla="*/ 21 h 490"/>
                <a:gd name="T24" fmla="*/ 9 w 433"/>
                <a:gd name="T25" fmla="*/ 22 h 490"/>
                <a:gd name="T26" fmla="*/ 9 w 433"/>
                <a:gd name="T27" fmla="*/ 22 h 490"/>
                <a:gd name="T28" fmla="*/ 10 w 433"/>
                <a:gd name="T29" fmla="*/ 22 h 490"/>
                <a:gd name="T30" fmla="*/ 12 w 433"/>
                <a:gd name="T31" fmla="*/ 23 h 490"/>
                <a:gd name="T32" fmla="*/ 12 w 433"/>
                <a:gd name="T33" fmla="*/ 22 h 490"/>
                <a:gd name="T34" fmla="*/ 13 w 433"/>
                <a:gd name="T35" fmla="*/ 22 h 490"/>
                <a:gd name="T36" fmla="*/ 14 w 433"/>
                <a:gd name="T37" fmla="*/ 20 h 490"/>
                <a:gd name="T38" fmla="*/ 15 w 433"/>
                <a:gd name="T39" fmla="*/ 19 h 490"/>
                <a:gd name="T40" fmla="*/ 15 w 433"/>
                <a:gd name="T41" fmla="*/ 19 h 490"/>
                <a:gd name="T42" fmla="*/ 17 w 433"/>
                <a:gd name="T43" fmla="*/ 18 h 490"/>
                <a:gd name="T44" fmla="*/ 17 w 433"/>
                <a:gd name="T45" fmla="*/ 16 h 490"/>
                <a:gd name="T46" fmla="*/ 18 w 433"/>
                <a:gd name="T47" fmla="*/ 15 h 490"/>
                <a:gd name="T48" fmla="*/ 20 w 433"/>
                <a:gd name="T49" fmla="*/ 13 h 490"/>
                <a:gd name="T50" fmla="*/ 22 w 433"/>
                <a:gd name="T51" fmla="*/ 13 h 490"/>
                <a:gd name="T52" fmla="*/ 22 w 433"/>
                <a:gd name="T53" fmla="*/ 12 h 490"/>
                <a:gd name="T54" fmla="*/ 23 w 433"/>
                <a:gd name="T55" fmla="*/ 12 h 490"/>
                <a:gd name="T56" fmla="*/ 22 w 433"/>
                <a:gd name="T57" fmla="*/ 11 h 490"/>
                <a:gd name="T58" fmla="*/ 19 w 433"/>
                <a:gd name="T59" fmla="*/ 10 h 490"/>
                <a:gd name="T60" fmla="*/ 19 w 433"/>
                <a:gd name="T61" fmla="*/ 10 h 490"/>
                <a:gd name="T62" fmla="*/ 19 w 433"/>
                <a:gd name="T63" fmla="*/ 9 h 490"/>
                <a:gd name="T64" fmla="*/ 19 w 433"/>
                <a:gd name="T65" fmla="*/ 9 h 490"/>
                <a:gd name="T66" fmla="*/ 19 w 433"/>
                <a:gd name="T67" fmla="*/ 8 h 490"/>
                <a:gd name="T68" fmla="*/ 19 w 433"/>
                <a:gd name="T69" fmla="*/ 7 h 490"/>
                <a:gd name="T70" fmla="*/ 18 w 433"/>
                <a:gd name="T71" fmla="*/ 7 h 490"/>
                <a:gd name="T72" fmla="*/ 18 w 433"/>
                <a:gd name="T73" fmla="*/ 6 h 490"/>
                <a:gd name="T74" fmla="*/ 17 w 433"/>
                <a:gd name="T75" fmla="*/ 6 h 490"/>
                <a:gd name="T76" fmla="*/ 15 w 433"/>
                <a:gd name="T77" fmla="*/ 5 h 490"/>
                <a:gd name="T78" fmla="*/ 15 w 433"/>
                <a:gd name="T79" fmla="*/ 3 h 490"/>
                <a:gd name="T80" fmla="*/ 15 w 433"/>
                <a:gd name="T81" fmla="*/ 2 h 490"/>
                <a:gd name="T82" fmla="*/ 14 w 433"/>
                <a:gd name="T83" fmla="*/ 2 h 490"/>
                <a:gd name="T84" fmla="*/ 14 w 433"/>
                <a:gd name="T85" fmla="*/ 1 h 490"/>
                <a:gd name="T86" fmla="*/ 13 w 433"/>
                <a:gd name="T87" fmla="*/ 0 h 490"/>
                <a:gd name="T88" fmla="*/ 13 w 433"/>
                <a:gd name="T89" fmla="*/ 0 h 490"/>
                <a:gd name="T90" fmla="*/ 12 w 433"/>
                <a:gd name="T91" fmla="*/ 0 h 490"/>
                <a:gd name="T92" fmla="*/ 12 w 433"/>
                <a:gd name="T93" fmla="*/ 0 h 490"/>
                <a:gd name="T94" fmla="*/ 11 w 433"/>
                <a:gd name="T95" fmla="*/ 0 h 490"/>
                <a:gd name="T96" fmla="*/ 10 w 433"/>
                <a:gd name="T97" fmla="*/ 1 h 490"/>
                <a:gd name="T98" fmla="*/ 9 w 433"/>
                <a:gd name="T99" fmla="*/ 2 h 490"/>
                <a:gd name="T100" fmla="*/ 9 w 433"/>
                <a:gd name="T101" fmla="*/ 1 h 490"/>
                <a:gd name="T102" fmla="*/ 9 w 433"/>
                <a:gd name="T103" fmla="*/ 1 h 490"/>
                <a:gd name="T104" fmla="*/ 8 w 433"/>
                <a:gd name="T105" fmla="*/ 0 h 490"/>
                <a:gd name="T106" fmla="*/ 6 w 433"/>
                <a:gd name="T107" fmla="*/ 1 h 490"/>
                <a:gd name="T108" fmla="*/ 3 w 433"/>
                <a:gd name="T109" fmla="*/ 1 h 490"/>
                <a:gd name="T110" fmla="*/ 3 w 433"/>
                <a:gd name="T111" fmla="*/ 7 h 490"/>
                <a:gd name="T112" fmla="*/ 3 w 433"/>
                <a:gd name="T113" fmla="*/ 8 h 490"/>
                <a:gd name="T114" fmla="*/ 3 w 433"/>
                <a:gd name="T115" fmla="*/ 12 h 490"/>
                <a:gd name="T116" fmla="*/ 0 w 433"/>
                <a:gd name="T117" fmla="*/ 12 h 490"/>
                <a:gd name="T118" fmla="*/ 0 w 433"/>
                <a:gd name="T119" fmla="*/ 20 h 4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33"/>
                <a:gd name="T181" fmla="*/ 0 h 490"/>
                <a:gd name="T182" fmla="*/ 433 w 433"/>
                <a:gd name="T183" fmla="*/ 490 h 4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33" h="490">
                  <a:moveTo>
                    <a:pt x="0" y="377"/>
                  </a:moveTo>
                  <a:cubicBezTo>
                    <a:pt x="9" y="381"/>
                    <a:pt x="18" y="386"/>
                    <a:pt x="22" y="394"/>
                  </a:cubicBezTo>
                  <a:cubicBezTo>
                    <a:pt x="31" y="413"/>
                    <a:pt x="30" y="423"/>
                    <a:pt x="30" y="423"/>
                  </a:cubicBezTo>
                  <a:cubicBezTo>
                    <a:pt x="30" y="423"/>
                    <a:pt x="39" y="434"/>
                    <a:pt x="37" y="443"/>
                  </a:cubicBezTo>
                  <a:cubicBezTo>
                    <a:pt x="35" y="452"/>
                    <a:pt x="27" y="465"/>
                    <a:pt x="27" y="465"/>
                  </a:cubicBezTo>
                  <a:cubicBezTo>
                    <a:pt x="27" y="465"/>
                    <a:pt x="22" y="484"/>
                    <a:pt x="27" y="487"/>
                  </a:cubicBezTo>
                  <a:cubicBezTo>
                    <a:pt x="32" y="490"/>
                    <a:pt x="78" y="485"/>
                    <a:pt x="78" y="485"/>
                  </a:cubicBezTo>
                  <a:cubicBezTo>
                    <a:pt x="78" y="485"/>
                    <a:pt x="79" y="474"/>
                    <a:pt x="83" y="473"/>
                  </a:cubicBezTo>
                  <a:cubicBezTo>
                    <a:pt x="87" y="472"/>
                    <a:pt x="97" y="474"/>
                    <a:pt x="97" y="474"/>
                  </a:cubicBezTo>
                  <a:cubicBezTo>
                    <a:pt x="97" y="474"/>
                    <a:pt x="99" y="457"/>
                    <a:pt x="106" y="454"/>
                  </a:cubicBezTo>
                  <a:cubicBezTo>
                    <a:pt x="113" y="451"/>
                    <a:pt x="124" y="453"/>
                    <a:pt x="124" y="446"/>
                  </a:cubicBezTo>
                  <a:cubicBezTo>
                    <a:pt x="124" y="439"/>
                    <a:pt x="129" y="401"/>
                    <a:pt x="142" y="401"/>
                  </a:cubicBezTo>
                  <a:cubicBezTo>
                    <a:pt x="155" y="401"/>
                    <a:pt x="171" y="413"/>
                    <a:pt x="171" y="413"/>
                  </a:cubicBezTo>
                  <a:cubicBezTo>
                    <a:pt x="181" y="423"/>
                    <a:pt x="181" y="423"/>
                    <a:pt x="181" y="423"/>
                  </a:cubicBezTo>
                  <a:cubicBezTo>
                    <a:pt x="198" y="424"/>
                    <a:pt x="198" y="424"/>
                    <a:pt x="198" y="424"/>
                  </a:cubicBezTo>
                  <a:cubicBezTo>
                    <a:pt x="198" y="424"/>
                    <a:pt x="213" y="435"/>
                    <a:pt x="223" y="433"/>
                  </a:cubicBezTo>
                  <a:cubicBezTo>
                    <a:pt x="233" y="431"/>
                    <a:pt x="236" y="426"/>
                    <a:pt x="236" y="426"/>
                  </a:cubicBezTo>
                  <a:cubicBezTo>
                    <a:pt x="236" y="426"/>
                    <a:pt x="244" y="433"/>
                    <a:pt x="255" y="426"/>
                  </a:cubicBezTo>
                  <a:cubicBezTo>
                    <a:pt x="266" y="419"/>
                    <a:pt x="270" y="386"/>
                    <a:pt x="270" y="386"/>
                  </a:cubicBezTo>
                  <a:cubicBezTo>
                    <a:pt x="284" y="374"/>
                    <a:pt x="284" y="374"/>
                    <a:pt x="284" y="374"/>
                  </a:cubicBezTo>
                  <a:cubicBezTo>
                    <a:pt x="295" y="371"/>
                    <a:pt x="295" y="371"/>
                    <a:pt x="295" y="371"/>
                  </a:cubicBezTo>
                  <a:cubicBezTo>
                    <a:pt x="295" y="371"/>
                    <a:pt x="318" y="353"/>
                    <a:pt x="318" y="347"/>
                  </a:cubicBezTo>
                  <a:cubicBezTo>
                    <a:pt x="318" y="341"/>
                    <a:pt x="319" y="318"/>
                    <a:pt x="329" y="311"/>
                  </a:cubicBezTo>
                  <a:cubicBezTo>
                    <a:pt x="339" y="304"/>
                    <a:pt x="342" y="305"/>
                    <a:pt x="353" y="298"/>
                  </a:cubicBezTo>
                  <a:cubicBezTo>
                    <a:pt x="364" y="291"/>
                    <a:pt x="378" y="265"/>
                    <a:pt x="383" y="259"/>
                  </a:cubicBezTo>
                  <a:cubicBezTo>
                    <a:pt x="388" y="253"/>
                    <a:pt x="412" y="252"/>
                    <a:pt x="412" y="252"/>
                  </a:cubicBezTo>
                  <a:cubicBezTo>
                    <a:pt x="420" y="236"/>
                    <a:pt x="420" y="236"/>
                    <a:pt x="420" y="236"/>
                  </a:cubicBezTo>
                  <a:cubicBezTo>
                    <a:pt x="433" y="235"/>
                    <a:pt x="433" y="235"/>
                    <a:pt x="433" y="235"/>
                  </a:cubicBezTo>
                  <a:cubicBezTo>
                    <a:pt x="430" y="228"/>
                    <a:pt x="424" y="214"/>
                    <a:pt x="414" y="210"/>
                  </a:cubicBezTo>
                  <a:cubicBezTo>
                    <a:pt x="401" y="205"/>
                    <a:pt x="375" y="202"/>
                    <a:pt x="375" y="202"/>
                  </a:cubicBezTo>
                  <a:cubicBezTo>
                    <a:pt x="375" y="202"/>
                    <a:pt x="375" y="194"/>
                    <a:pt x="375" y="187"/>
                  </a:cubicBezTo>
                  <a:cubicBezTo>
                    <a:pt x="375" y="180"/>
                    <a:pt x="363" y="182"/>
                    <a:pt x="363" y="182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7" y="159"/>
                    <a:pt x="367" y="159"/>
                    <a:pt x="367" y="159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44" y="143"/>
                    <a:pt x="344" y="143"/>
                    <a:pt x="344" y="143"/>
                  </a:cubicBezTo>
                  <a:cubicBezTo>
                    <a:pt x="344" y="143"/>
                    <a:pt x="345" y="128"/>
                    <a:pt x="343" y="121"/>
                  </a:cubicBezTo>
                  <a:cubicBezTo>
                    <a:pt x="341" y="114"/>
                    <a:pt x="323" y="117"/>
                    <a:pt x="323" y="117"/>
                  </a:cubicBezTo>
                  <a:cubicBezTo>
                    <a:pt x="323" y="117"/>
                    <a:pt x="302" y="105"/>
                    <a:pt x="295" y="96"/>
                  </a:cubicBezTo>
                  <a:cubicBezTo>
                    <a:pt x="288" y="87"/>
                    <a:pt x="286" y="64"/>
                    <a:pt x="286" y="64"/>
                  </a:cubicBezTo>
                  <a:cubicBezTo>
                    <a:pt x="286" y="64"/>
                    <a:pt x="280" y="53"/>
                    <a:pt x="276" y="43"/>
                  </a:cubicBezTo>
                  <a:cubicBezTo>
                    <a:pt x="272" y="33"/>
                    <a:pt x="264" y="39"/>
                    <a:pt x="264" y="39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11" y="10"/>
                    <a:pt x="211" y="10"/>
                    <a:pt x="211" y="10"/>
                  </a:cubicBezTo>
                  <a:cubicBezTo>
                    <a:pt x="211" y="10"/>
                    <a:pt x="201" y="12"/>
                    <a:pt x="195" y="18"/>
                  </a:cubicBezTo>
                  <a:cubicBezTo>
                    <a:pt x="190" y="23"/>
                    <a:pt x="180" y="36"/>
                    <a:pt x="177" y="37"/>
                  </a:cubicBezTo>
                  <a:cubicBezTo>
                    <a:pt x="174" y="38"/>
                    <a:pt x="172" y="24"/>
                    <a:pt x="172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66" y="24"/>
                    <a:pt x="168" y="10"/>
                    <a:pt x="159" y="10"/>
                  </a:cubicBezTo>
                  <a:cubicBezTo>
                    <a:pt x="151" y="10"/>
                    <a:pt x="135" y="18"/>
                    <a:pt x="114" y="20"/>
                  </a:cubicBezTo>
                  <a:cubicBezTo>
                    <a:pt x="92" y="23"/>
                    <a:pt x="53" y="26"/>
                    <a:pt x="53" y="26"/>
                  </a:cubicBezTo>
                  <a:cubicBezTo>
                    <a:pt x="53" y="143"/>
                    <a:pt x="53" y="143"/>
                    <a:pt x="53" y="143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2" y="228"/>
                    <a:pt x="2" y="228"/>
                    <a:pt x="2" y="228"/>
                  </a:cubicBezTo>
                  <a:lnTo>
                    <a:pt x="0" y="37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5" name="Freeform 143">
              <a:extLst>
                <a:ext uri="{FF2B5EF4-FFF2-40B4-BE49-F238E27FC236}">
                  <a16:creationId xmlns:a16="http://schemas.microsoft.com/office/drawing/2014/main" id="{25255EC2-916B-FCCF-A618-B99F06EE1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828" y="3702385"/>
              <a:ext cx="205785" cy="349072"/>
            </a:xfrm>
            <a:custGeom>
              <a:avLst/>
              <a:gdLst>
                <a:gd name="T0" fmla="*/ 14 w 363"/>
                <a:gd name="T1" fmla="*/ 0 h 614"/>
                <a:gd name="T2" fmla="*/ 13 w 363"/>
                <a:gd name="T3" fmla="*/ 2 h 614"/>
                <a:gd name="T4" fmla="*/ 15 w 363"/>
                <a:gd name="T5" fmla="*/ 4 h 614"/>
                <a:gd name="T6" fmla="*/ 13 w 363"/>
                <a:gd name="T7" fmla="*/ 5 h 614"/>
                <a:gd name="T8" fmla="*/ 12 w 363"/>
                <a:gd name="T9" fmla="*/ 7 h 614"/>
                <a:gd name="T10" fmla="*/ 12 w 363"/>
                <a:gd name="T11" fmla="*/ 8 h 614"/>
                <a:gd name="T12" fmla="*/ 11 w 363"/>
                <a:gd name="T13" fmla="*/ 10 h 614"/>
                <a:gd name="T14" fmla="*/ 9 w 363"/>
                <a:gd name="T15" fmla="*/ 13 h 614"/>
                <a:gd name="T16" fmla="*/ 8 w 363"/>
                <a:gd name="T17" fmla="*/ 16 h 614"/>
                <a:gd name="T18" fmla="*/ 7 w 363"/>
                <a:gd name="T19" fmla="*/ 18 h 614"/>
                <a:gd name="T20" fmla="*/ 6 w 363"/>
                <a:gd name="T21" fmla="*/ 18 h 614"/>
                <a:gd name="T22" fmla="*/ 5 w 363"/>
                <a:gd name="T23" fmla="*/ 18 h 614"/>
                <a:gd name="T24" fmla="*/ 3 w 363"/>
                <a:gd name="T25" fmla="*/ 18 h 614"/>
                <a:gd name="T26" fmla="*/ 1 w 363"/>
                <a:gd name="T27" fmla="*/ 22 h 614"/>
                <a:gd name="T28" fmla="*/ 0 w 363"/>
                <a:gd name="T29" fmla="*/ 23 h 614"/>
                <a:gd name="T30" fmla="*/ 1 w 363"/>
                <a:gd name="T31" fmla="*/ 23 h 614"/>
                <a:gd name="T32" fmla="*/ 2 w 363"/>
                <a:gd name="T33" fmla="*/ 26 h 614"/>
                <a:gd name="T34" fmla="*/ 2 w 363"/>
                <a:gd name="T35" fmla="*/ 26 h 614"/>
                <a:gd name="T36" fmla="*/ 4 w 363"/>
                <a:gd name="T37" fmla="*/ 27 h 614"/>
                <a:gd name="T38" fmla="*/ 3 w 363"/>
                <a:gd name="T39" fmla="*/ 29 h 614"/>
                <a:gd name="T40" fmla="*/ 3 w 363"/>
                <a:gd name="T41" fmla="*/ 31 h 614"/>
                <a:gd name="T42" fmla="*/ 7 w 363"/>
                <a:gd name="T43" fmla="*/ 30 h 614"/>
                <a:gd name="T44" fmla="*/ 9 w 363"/>
                <a:gd name="T45" fmla="*/ 30 h 614"/>
                <a:gd name="T46" fmla="*/ 10 w 363"/>
                <a:gd name="T47" fmla="*/ 30 h 614"/>
                <a:gd name="T48" fmla="*/ 12 w 363"/>
                <a:gd name="T49" fmla="*/ 31 h 614"/>
                <a:gd name="T50" fmla="*/ 16 w 363"/>
                <a:gd name="T51" fmla="*/ 31 h 614"/>
                <a:gd name="T52" fmla="*/ 18 w 363"/>
                <a:gd name="T53" fmla="*/ 32 h 614"/>
                <a:gd name="T54" fmla="*/ 19 w 363"/>
                <a:gd name="T55" fmla="*/ 30 h 614"/>
                <a:gd name="T56" fmla="*/ 18 w 363"/>
                <a:gd name="T57" fmla="*/ 29 h 614"/>
                <a:gd name="T58" fmla="*/ 17 w 363"/>
                <a:gd name="T59" fmla="*/ 27 h 614"/>
                <a:gd name="T60" fmla="*/ 16 w 363"/>
                <a:gd name="T61" fmla="*/ 25 h 614"/>
                <a:gd name="T62" fmla="*/ 15 w 363"/>
                <a:gd name="T63" fmla="*/ 22 h 614"/>
                <a:gd name="T64" fmla="*/ 15 w 363"/>
                <a:gd name="T65" fmla="*/ 21 h 614"/>
                <a:gd name="T66" fmla="*/ 14 w 363"/>
                <a:gd name="T67" fmla="*/ 20 h 614"/>
                <a:gd name="T68" fmla="*/ 16 w 363"/>
                <a:gd name="T69" fmla="*/ 18 h 614"/>
                <a:gd name="T70" fmla="*/ 16 w 363"/>
                <a:gd name="T71" fmla="*/ 16 h 614"/>
                <a:gd name="T72" fmla="*/ 16 w 363"/>
                <a:gd name="T73" fmla="*/ 13 h 614"/>
                <a:gd name="T74" fmla="*/ 13 w 363"/>
                <a:gd name="T75" fmla="*/ 9 h 614"/>
                <a:gd name="T76" fmla="*/ 17 w 363"/>
                <a:gd name="T77" fmla="*/ 9 h 614"/>
                <a:gd name="T78" fmla="*/ 16 w 363"/>
                <a:gd name="T79" fmla="*/ 5 h 614"/>
                <a:gd name="T80" fmla="*/ 15 w 363"/>
                <a:gd name="T81" fmla="*/ 3 h 614"/>
                <a:gd name="T82" fmla="*/ 15 w 363"/>
                <a:gd name="T83" fmla="*/ 1 h 6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3"/>
                <a:gd name="T127" fmla="*/ 0 h 614"/>
                <a:gd name="T128" fmla="*/ 363 w 363"/>
                <a:gd name="T129" fmla="*/ 614 h 6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3" h="614">
                  <a:moveTo>
                    <a:pt x="280" y="17"/>
                  </a:moveTo>
                  <a:cubicBezTo>
                    <a:pt x="276" y="12"/>
                    <a:pt x="275" y="0"/>
                    <a:pt x="275" y="0"/>
                  </a:cubicBezTo>
                  <a:cubicBezTo>
                    <a:pt x="259" y="2"/>
                    <a:pt x="259" y="2"/>
                    <a:pt x="259" y="2"/>
                  </a:cubicBezTo>
                  <a:cubicBezTo>
                    <a:pt x="260" y="11"/>
                    <a:pt x="261" y="40"/>
                    <a:pt x="263" y="43"/>
                  </a:cubicBezTo>
                  <a:cubicBezTo>
                    <a:pt x="265" y="46"/>
                    <a:pt x="284" y="35"/>
                    <a:pt x="285" y="46"/>
                  </a:cubicBezTo>
                  <a:cubicBezTo>
                    <a:pt x="286" y="57"/>
                    <a:pt x="282" y="70"/>
                    <a:pt x="282" y="70"/>
                  </a:cubicBezTo>
                  <a:cubicBezTo>
                    <a:pt x="282" y="70"/>
                    <a:pt x="290" y="79"/>
                    <a:pt x="280" y="88"/>
                  </a:cubicBezTo>
                  <a:cubicBezTo>
                    <a:pt x="270" y="97"/>
                    <a:pt x="256" y="100"/>
                    <a:pt x="256" y="100"/>
                  </a:cubicBezTo>
                  <a:cubicBezTo>
                    <a:pt x="256" y="100"/>
                    <a:pt x="248" y="117"/>
                    <a:pt x="247" y="120"/>
                  </a:cubicBezTo>
                  <a:cubicBezTo>
                    <a:pt x="246" y="123"/>
                    <a:pt x="236" y="136"/>
                    <a:pt x="236" y="136"/>
                  </a:cubicBezTo>
                  <a:cubicBezTo>
                    <a:pt x="234" y="155"/>
                    <a:pt x="234" y="155"/>
                    <a:pt x="234" y="15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9"/>
                    <a:pt x="229" y="180"/>
                    <a:pt x="224" y="189"/>
                  </a:cubicBezTo>
                  <a:cubicBezTo>
                    <a:pt x="219" y="198"/>
                    <a:pt x="209" y="191"/>
                    <a:pt x="207" y="198"/>
                  </a:cubicBezTo>
                  <a:cubicBezTo>
                    <a:pt x="205" y="205"/>
                    <a:pt x="210" y="223"/>
                    <a:pt x="205" y="233"/>
                  </a:cubicBezTo>
                  <a:cubicBezTo>
                    <a:pt x="200" y="243"/>
                    <a:pt x="181" y="250"/>
                    <a:pt x="181" y="250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57" y="302"/>
                    <a:pt x="157" y="302"/>
                    <a:pt x="157" y="302"/>
                  </a:cubicBezTo>
                  <a:cubicBezTo>
                    <a:pt x="157" y="302"/>
                    <a:pt x="161" y="316"/>
                    <a:pt x="156" y="322"/>
                  </a:cubicBezTo>
                  <a:cubicBezTo>
                    <a:pt x="151" y="328"/>
                    <a:pt x="140" y="337"/>
                    <a:pt x="140" y="337"/>
                  </a:cubicBezTo>
                  <a:cubicBezTo>
                    <a:pt x="140" y="337"/>
                    <a:pt x="140" y="358"/>
                    <a:pt x="128" y="358"/>
                  </a:cubicBezTo>
                  <a:cubicBezTo>
                    <a:pt x="116" y="358"/>
                    <a:pt x="119" y="342"/>
                    <a:pt x="119" y="342"/>
                  </a:cubicBezTo>
                  <a:cubicBezTo>
                    <a:pt x="119" y="342"/>
                    <a:pt x="105" y="318"/>
                    <a:pt x="98" y="318"/>
                  </a:cubicBezTo>
                  <a:cubicBezTo>
                    <a:pt x="91" y="318"/>
                    <a:pt x="104" y="332"/>
                    <a:pt x="95" y="334"/>
                  </a:cubicBezTo>
                  <a:cubicBezTo>
                    <a:pt x="86" y="336"/>
                    <a:pt x="78" y="323"/>
                    <a:pt x="72" y="328"/>
                  </a:cubicBezTo>
                  <a:cubicBezTo>
                    <a:pt x="66" y="333"/>
                    <a:pt x="56" y="353"/>
                    <a:pt x="56" y="353"/>
                  </a:cubicBezTo>
                  <a:cubicBezTo>
                    <a:pt x="13" y="390"/>
                    <a:pt x="13" y="390"/>
                    <a:pt x="13" y="390"/>
                  </a:cubicBezTo>
                  <a:cubicBezTo>
                    <a:pt x="13" y="390"/>
                    <a:pt x="15" y="422"/>
                    <a:pt x="13" y="428"/>
                  </a:cubicBezTo>
                  <a:cubicBezTo>
                    <a:pt x="11" y="434"/>
                    <a:pt x="4" y="449"/>
                    <a:pt x="4" y="449"/>
                  </a:cubicBezTo>
                  <a:cubicBezTo>
                    <a:pt x="4" y="449"/>
                    <a:pt x="4" y="449"/>
                    <a:pt x="4" y="44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18" y="455"/>
                    <a:pt x="18" y="455"/>
                    <a:pt x="18" y="455"/>
                  </a:cubicBezTo>
                  <a:cubicBezTo>
                    <a:pt x="18" y="455"/>
                    <a:pt x="17" y="477"/>
                    <a:pt x="27" y="486"/>
                  </a:cubicBezTo>
                  <a:cubicBezTo>
                    <a:pt x="37" y="495"/>
                    <a:pt x="44" y="497"/>
                    <a:pt x="44" y="497"/>
                  </a:cubicBezTo>
                  <a:cubicBezTo>
                    <a:pt x="58" y="484"/>
                    <a:pt x="58" y="484"/>
                    <a:pt x="58" y="484"/>
                  </a:cubicBezTo>
                  <a:cubicBezTo>
                    <a:pt x="45" y="504"/>
                    <a:pt x="45" y="504"/>
                    <a:pt x="45" y="504"/>
                  </a:cubicBezTo>
                  <a:cubicBezTo>
                    <a:pt x="57" y="522"/>
                    <a:pt x="57" y="522"/>
                    <a:pt x="57" y="522"/>
                  </a:cubicBezTo>
                  <a:cubicBezTo>
                    <a:pt x="70" y="527"/>
                    <a:pt x="70" y="527"/>
                    <a:pt x="70" y="527"/>
                  </a:cubicBezTo>
                  <a:cubicBezTo>
                    <a:pt x="68" y="557"/>
                    <a:pt x="68" y="557"/>
                    <a:pt x="68" y="557"/>
                  </a:cubicBezTo>
                  <a:cubicBezTo>
                    <a:pt x="61" y="559"/>
                    <a:pt x="61" y="559"/>
                    <a:pt x="61" y="559"/>
                  </a:cubicBezTo>
                  <a:cubicBezTo>
                    <a:pt x="62" y="580"/>
                    <a:pt x="62" y="580"/>
                    <a:pt x="62" y="580"/>
                  </a:cubicBezTo>
                  <a:cubicBezTo>
                    <a:pt x="68" y="586"/>
                    <a:pt x="68" y="586"/>
                    <a:pt x="68" y="586"/>
                  </a:cubicBezTo>
                  <a:cubicBezTo>
                    <a:pt x="132" y="586"/>
                    <a:pt x="132" y="586"/>
                    <a:pt x="132" y="586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154" y="585"/>
                    <a:pt x="154" y="585"/>
                    <a:pt x="154" y="585"/>
                  </a:cubicBezTo>
                  <a:cubicBezTo>
                    <a:pt x="175" y="585"/>
                    <a:pt x="175" y="585"/>
                    <a:pt x="175" y="585"/>
                  </a:cubicBezTo>
                  <a:cubicBezTo>
                    <a:pt x="175" y="585"/>
                    <a:pt x="180" y="577"/>
                    <a:pt x="184" y="577"/>
                  </a:cubicBezTo>
                  <a:cubicBezTo>
                    <a:pt x="188" y="577"/>
                    <a:pt x="195" y="581"/>
                    <a:pt x="195" y="581"/>
                  </a:cubicBezTo>
                  <a:cubicBezTo>
                    <a:pt x="227" y="580"/>
                    <a:pt x="227" y="580"/>
                    <a:pt x="227" y="58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7" y="590"/>
                    <a:pt x="282" y="587"/>
                    <a:pt x="287" y="587"/>
                  </a:cubicBezTo>
                  <a:cubicBezTo>
                    <a:pt x="292" y="587"/>
                    <a:pt x="320" y="600"/>
                    <a:pt x="320" y="600"/>
                  </a:cubicBezTo>
                  <a:cubicBezTo>
                    <a:pt x="340" y="599"/>
                    <a:pt x="340" y="599"/>
                    <a:pt x="340" y="599"/>
                  </a:cubicBezTo>
                  <a:cubicBezTo>
                    <a:pt x="358" y="614"/>
                    <a:pt x="358" y="614"/>
                    <a:pt x="358" y="614"/>
                  </a:cubicBezTo>
                  <a:cubicBezTo>
                    <a:pt x="359" y="587"/>
                    <a:pt x="359" y="587"/>
                    <a:pt x="359" y="587"/>
                  </a:cubicBezTo>
                  <a:cubicBezTo>
                    <a:pt x="363" y="581"/>
                    <a:pt x="363" y="581"/>
                    <a:pt x="363" y="581"/>
                  </a:cubicBezTo>
                  <a:cubicBezTo>
                    <a:pt x="358" y="575"/>
                    <a:pt x="358" y="575"/>
                    <a:pt x="358" y="575"/>
                  </a:cubicBezTo>
                  <a:cubicBezTo>
                    <a:pt x="358" y="556"/>
                    <a:pt x="358" y="556"/>
                    <a:pt x="358" y="556"/>
                  </a:cubicBezTo>
                  <a:cubicBezTo>
                    <a:pt x="354" y="542"/>
                    <a:pt x="354" y="542"/>
                    <a:pt x="354" y="542"/>
                  </a:cubicBezTo>
                  <a:cubicBezTo>
                    <a:pt x="354" y="542"/>
                    <a:pt x="342" y="534"/>
                    <a:pt x="332" y="526"/>
                  </a:cubicBezTo>
                  <a:cubicBezTo>
                    <a:pt x="322" y="518"/>
                    <a:pt x="311" y="495"/>
                    <a:pt x="311" y="495"/>
                  </a:cubicBezTo>
                  <a:cubicBezTo>
                    <a:pt x="311" y="495"/>
                    <a:pt x="315" y="475"/>
                    <a:pt x="313" y="472"/>
                  </a:cubicBezTo>
                  <a:cubicBezTo>
                    <a:pt x="311" y="469"/>
                    <a:pt x="294" y="458"/>
                    <a:pt x="294" y="458"/>
                  </a:cubicBezTo>
                  <a:cubicBezTo>
                    <a:pt x="294" y="427"/>
                    <a:pt x="294" y="427"/>
                    <a:pt x="294" y="427"/>
                  </a:cubicBezTo>
                  <a:cubicBezTo>
                    <a:pt x="282" y="420"/>
                    <a:pt x="282" y="420"/>
                    <a:pt x="282" y="420"/>
                  </a:cubicBezTo>
                  <a:cubicBezTo>
                    <a:pt x="289" y="412"/>
                    <a:pt x="289" y="412"/>
                    <a:pt x="289" y="412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290" y="387"/>
                    <a:pt x="275" y="386"/>
                    <a:pt x="276" y="378"/>
                  </a:cubicBezTo>
                  <a:cubicBezTo>
                    <a:pt x="277" y="370"/>
                    <a:pt x="299" y="363"/>
                    <a:pt x="299" y="363"/>
                  </a:cubicBezTo>
                  <a:cubicBezTo>
                    <a:pt x="304" y="338"/>
                    <a:pt x="304" y="338"/>
                    <a:pt x="304" y="338"/>
                  </a:cubicBezTo>
                  <a:cubicBezTo>
                    <a:pt x="310" y="338"/>
                    <a:pt x="310" y="338"/>
                    <a:pt x="310" y="338"/>
                  </a:cubicBezTo>
                  <a:cubicBezTo>
                    <a:pt x="310" y="338"/>
                    <a:pt x="311" y="326"/>
                    <a:pt x="312" y="318"/>
                  </a:cubicBezTo>
                  <a:cubicBezTo>
                    <a:pt x="313" y="310"/>
                    <a:pt x="331" y="300"/>
                    <a:pt x="331" y="300"/>
                  </a:cubicBezTo>
                  <a:cubicBezTo>
                    <a:pt x="331" y="300"/>
                    <a:pt x="326" y="253"/>
                    <a:pt x="317" y="243"/>
                  </a:cubicBezTo>
                  <a:cubicBezTo>
                    <a:pt x="308" y="233"/>
                    <a:pt x="287" y="224"/>
                    <a:pt x="279" y="216"/>
                  </a:cubicBezTo>
                  <a:cubicBezTo>
                    <a:pt x="271" y="208"/>
                    <a:pt x="256" y="187"/>
                    <a:pt x="261" y="174"/>
                  </a:cubicBezTo>
                  <a:cubicBezTo>
                    <a:pt x="266" y="161"/>
                    <a:pt x="306" y="168"/>
                    <a:pt x="314" y="167"/>
                  </a:cubicBezTo>
                  <a:cubicBezTo>
                    <a:pt x="322" y="166"/>
                    <a:pt x="336" y="165"/>
                    <a:pt x="336" y="165"/>
                  </a:cubicBezTo>
                  <a:cubicBezTo>
                    <a:pt x="336" y="165"/>
                    <a:pt x="315" y="147"/>
                    <a:pt x="310" y="133"/>
                  </a:cubicBezTo>
                  <a:cubicBezTo>
                    <a:pt x="305" y="119"/>
                    <a:pt x="304" y="91"/>
                    <a:pt x="304" y="91"/>
                  </a:cubicBezTo>
                  <a:cubicBezTo>
                    <a:pt x="304" y="91"/>
                    <a:pt x="310" y="81"/>
                    <a:pt x="310" y="70"/>
                  </a:cubicBezTo>
                  <a:cubicBezTo>
                    <a:pt x="310" y="59"/>
                    <a:pt x="296" y="52"/>
                    <a:pt x="296" y="52"/>
                  </a:cubicBezTo>
                  <a:cubicBezTo>
                    <a:pt x="300" y="25"/>
                    <a:pt x="300" y="25"/>
                    <a:pt x="300" y="25"/>
                  </a:cubicBezTo>
                  <a:cubicBezTo>
                    <a:pt x="300" y="25"/>
                    <a:pt x="284" y="22"/>
                    <a:pt x="280" y="1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6" name="Freeform 144">
              <a:extLst>
                <a:ext uri="{FF2B5EF4-FFF2-40B4-BE49-F238E27FC236}">
                  <a16:creationId xmlns:a16="http://schemas.microsoft.com/office/drawing/2014/main" id="{C1848055-2070-1A71-15CF-D7C1ED99F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719" y="3763358"/>
              <a:ext cx="121946" cy="198163"/>
            </a:xfrm>
            <a:custGeom>
              <a:avLst/>
              <a:gdLst>
                <a:gd name="T0" fmla="*/ 10 w 213"/>
                <a:gd name="T1" fmla="*/ 12 h 349"/>
                <a:gd name="T2" fmla="*/ 10 w 213"/>
                <a:gd name="T3" fmla="*/ 10 h 349"/>
                <a:gd name="T4" fmla="*/ 10 w 213"/>
                <a:gd name="T5" fmla="*/ 10 h 349"/>
                <a:gd name="T6" fmla="*/ 10 w 213"/>
                <a:gd name="T7" fmla="*/ 10 h 349"/>
                <a:gd name="T8" fmla="*/ 10 w 213"/>
                <a:gd name="T9" fmla="*/ 8 h 349"/>
                <a:gd name="T10" fmla="*/ 10 w 213"/>
                <a:gd name="T11" fmla="*/ 7 h 349"/>
                <a:gd name="T12" fmla="*/ 9 w 213"/>
                <a:gd name="T13" fmla="*/ 7 h 349"/>
                <a:gd name="T14" fmla="*/ 10 w 213"/>
                <a:gd name="T15" fmla="*/ 6 h 349"/>
                <a:gd name="T16" fmla="*/ 9 w 213"/>
                <a:gd name="T17" fmla="*/ 6 h 349"/>
                <a:gd name="T18" fmla="*/ 10 w 213"/>
                <a:gd name="T19" fmla="*/ 4 h 349"/>
                <a:gd name="T20" fmla="*/ 9 w 213"/>
                <a:gd name="T21" fmla="*/ 5 h 349"/>
                <a:gd name="T22" fmla="*/ 9 w 213"/>
                <a:gd name="T23" fmla="*/ 2 h 349"/>
                <a:gd name="T24" fmla="*/ 8 w 213"/>
                <a:gd name="T25" fmla="*/ 1 h 349"/>
                <a:gd name="T26" fmla="*/ 9 w 213"/>
                <a:gd name="T27" fmla="*/ 1 h 349"/>
                <a:gd name="T28" fmla="*/ 9 w 213"/>
                <a:gd name="T29" fmla="*/ 0 h 349"/>
                <a:gd name="T30" fmla="*/ 8 w 213"/>
                <a:gd name="T31" fmla="*/ 0 h 349"/>
                <a:gd name="T32" fmla="*/ 7 w 213"/>
                <a:gd name="T33" fmla="*/ 0 h 349"/>
                <a:gd name="T34" fmla="*/ 6 w 213"/>
                <a:gd name="T35" fmla="*/ 0 h 349"/>
                <a:gd name="T36" fmla="*/ 5 w 213"/>
                <a:gd name="T37" fmla="*/ 0 h 349"/>
                <a:gd name="T38" fmla="*/ 5 w 213"/>
                <a:gd name="T39" fmla="*/ 0 h 349"/>
                <a:gd name="T40" fmla="*/ 4 w 213"/>
                <a:gd name="T41" fmla="*/ 0 h 349"/>
                <a:gd name="T42" fmla="*/ 2 w 213"/>
                <a:gd name="T43" fmla="*/ 0 h 349"/>
                <a:gd name="T44" fmla="*/ 1 w 213"/>
                <a:gd name="T45" fmla="*/ 1 h 349"/>
                <a:gd name="T46" fmla="*/ 1 w 213"/>
                <a:gd name="T47" fmla="*/ 1 h 349"/>
                <a:gd name="T48" fmla="*/ 1 w 213"/>
                <a:gd name="T49" fmla="*/ 3 h 349"/>
                <a:gd name="T50" fmla="*/ 2 w 213"/>
                <a:gd name="T51" fmla="*/ 4 h 349"/>
                <a:gd name="T52" fmla="*/ 2 w 213"/>
                <a:gd name="T53" fmla="*/ 4 h 349"/>
                <a:gd name="T54" fmla="*/ 2 w 213"/>
                <a:gd name="T55" fmla="*/ 6 h 349"/>
                <a:gd name="T56" fmla="*/ 2 w 213"/>
                <a:gd name="T57" fmla="*/ 6 h 349"/>
                <a:gd name="T58" fmla="*/ 2 w 213"/>
                <a:gd name="T59" fmla="*/ 8 h 349"/>
                <a:gd name="T60" fmla="*/ 1 w 213"/>
                <a:gd name="T61" fmla="*/ 9 h 349"/>
                <a:gd name="T62" fmla="*/ 1 w 213"/>
                <a:gd name="T63" fmla="*/ 11 h 349"/>
                <a:gd name="T64" fmla="*/ 0 w 213"/>
                <a:gd name="T65" fmla="*/ 13 h 349"/>
                <a:gd name="T66" fmla="*/ 1 w 213"/>
                <a:gd name="T67" fmla="*/ 15 h 349"/>
                <a:gd name="T68" fmla="*/ 2 w 213"/>
                <a:gd name="T69" fmla="*/ 15 h 349"/>
                <a:gd name="T70" fmla="*/ 2 w 213"/>
                <a:gd name="T71" fmla="*/ 17 h 349"/>
                <a:gd name="T72" fmla="*/ 3 w 213"/>
                <a:gd name="T73" fmla="*/ 17 h 349"/>
                <a:gd name="T74" fmla="*/ 3 w 213"/>
                <a:gd name="T75" fmla="*/ 18 h 349"/>
                <a:gd name="T76" fmla="*/ 5 w 213"/>
                <a:gd name="T77" fmla="*/ 17 h 349"/>
                <a:gd name="T78" fmla="*/ 6 w 213"/>
                <a:gd name="T79" fmla="*/ 17 h 349"/>
                <a:gd name="T80" fmla="*/ 8 w 213"/>
                <a:gd name="T81" fmla="*/ 16 h 349"/>
                <a:gd name="T82" fmla="*/ 9 w 213"/>
                <a:gd name="T83" fmla="*/ 15 h 349"/>
                <a:gd name="T84" fmla="*/ 9 w 213"/>
                <a:gd name="T85" fmla="*/ 15 h 349"/>
                <a:gd name="T86" fmla="*/ 11 w 213"/>
                <a:gd name="T87" fmla="*/ 15 h 349"/>
                <a:gd name="T88" fmla="*/ 11 w 213"/>
                <a:gd name="T89" fmla="*/ 14 h 349"/>
                <a:gd name="T90" fmla="*/ 10 w 213"/>
                <a:gd name="T91" fmla="*/ 13 h 349"/>
                <a:gd name="T92" fmla="*/ 10 w 213"/>
                <a:gd name="T93" fmla="*/ 12 h 3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349"/>
                <a:gd name="T143" fmla="*/ 213 w 213"/>
                <a:gd name="T144" fmla="*/ 349 h 3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349">
                  <a:moveTo>
                    <a:pt x="185" y="228"/>
                  </a:moveTo>
                  <a:cubicBezTo>
                    <a:pt x="185" y="228"/>
                    <a:pt x="191" y="211"/>
                    <a:pt x="190" y="205"/>
                  </a:cubicBezTo>
                  <a:cubicBezTo>
                    <a:pt x="189" y="199"/>
                    <a:pt x="182" y="203"/>
                    <a:pt x="182" y="198"/>
                  </a:cubicBezTo>
                  <a:cubicBezTo>
                    <a:pt x="182" y="193"/>
                    <a:pt x="185" y="186"/>
                    <a:pt x="185" y="186"/>
                  </a:cubicBezTo>
                  <a:cubicBezTo>
                    <a:pt x="187" y="157"/>
                    <a:pt x="187" y="157"/>
                    <a:pt x="187" y="157"/>
                  </a:cubicBezTo>
                  <a:cubicBezTo>
                    <a:pt x="187" y="157"/>
                    <a:pt x="192" y="154"/>
                    <a:pt x="191" y="148"/>
                  </a:cubicBezTo>
                  <a:cubicBezTo>
                    <a:pt x="190" y="142"/>
                    <a:pt x="173" y="134"/>
                    <a:pt x="173" y="134"/>
                  </a:cubicBezTo>
                  <a:cubicBezTo>
                    <a:pt x="173" y="134"/>
                    <a:pt x="184" y="126"/>
                    <a:pt x="185" y="123"/>
                  </a:cubicBezTo>
                  <a:cubicBezTo>
                    <a:pt x="186" y="120"/>
                    <a:pt x="178" y="113"/>
                    <a:pt x="178" y="113"/>
                  </a:cubicBezTo>
                  <a:cubicBezTo>
                    <a:pt x="178" y="113"/>
                    <a:pt x="186" y="95"/>
                    <a:pt x="182" y="88"/>
                  </a:cubicBezTo>
                  <a:cubicBezTo>
                    <a:pt x="178" y="81"/>
                    <a:pt x="166" y="91"/>
                    <a:pt x="166" y="91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9" y="15"/>
                    <a:pt x="159" y="15"/>
                    <a:pt x="159" y="1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18" y="16"/>
                    <a:pt x="18" y="24"/>
                  </a:cubicBezTo>
                  <a:cubicBezTo>
                    <a:pt x="18" y="32"/>
                    <a:pt x="24" y="33"/>
                    <a:pt x="24" y="33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38" y="140"/>
                    <a:pt x="38" y="152"/>
                  </a:cubicBezTo>
                  <a:cubicBezTo>
                    <a:pt x="38" y="164"/>
                    <a:pt x="21" y="171"/>
                    <a:pt x="21" y="179"/>
                  </a:cubicBezTo>
                  <a:cubicBezTo>
                    <a:pt x="21" y="187"/>
                    <a:pt x="20" y="209"/>
                    <a:pt x="20" y="209"/>
                  </a:cubicBezTo>
                  <a:cubicBezTo>
                    <a:pt x="20" y="209"/>
                    <a:pt x="0" y="227"/>
                    <a:pt x="0" y="241"/>
                  </a:cubicBezTo>
                  <a:cubicBezTo>
                    <a:pt x="0" y="255"/>
                    <a:pt x="13" y="291"/>
                    <a:pt x="13" y="291"/>
                  </a:cubicBezTo>
                  <a:cubicBezTo>
                    <a:pt x="31" y="297"/>
                    <a:pt x="31" y="297"/>
                    <a:pt x="31" y="297"/>
                  </a:cubicBezTo>
                  <a:cubicBezTo>
                    <a:pt x="32" y="332"/>
                    <a:pt x="32" y="332"/>
                    <a:pt x="32" y="332"/>
                  </a:cubicBezTo>
                  <a:cubicBezTo>
                    <a:pt x="41" y="334"/>
                    <a:pt x="47" y="334"/>
                    <a:pt x="47" y="334"/>
                  </a:cubicBezTo>
                  <a:cubicBezTo>
                    <a:pt x="47" y="334"/>
                    <a:pt x="51" y="349"/>
                    <a:pt x="61" y="345"/>
                  </a:cubicBezTo>
                  <a:cubicBezTo>
                    <a:pt x="71" y="341"/>
                    <a:pt x="92" y="323"/>
                    <a:pt x="99" y="321"/>
                  </a:cubicBezTo>
                  <a:cubicBezTo>
                    <a:pt x="106" y="319"/>
                    <a:pt x="117" y="321"/>
                    <a:pt x="117" y="321"/>
                  </a:cubicBezTo>
                  <a:cubicBezTo>
                    <a:pt x="117" y="321"/>
                    <a:pt x="138" y="303"/>
                    <a:pt x="141" y="302"/>
                  </a:cubicBezTo>
                  <a:cubicBezTo>
                    <a:pt x="144" y="301"/>
                    <a:pt x="159" y="298"/>
                    <a:pt x="159" y="298"/>
                  </a:cubicBezTo>
                  <a:cubicBezTo>
                    <a:pt x="159" y="298"/>
                    <a:pt x="165" y="282"/>
                    <a:pt x="173" y="283"/>
                  </a:cubicBezTo>
                  <a:cubicBezTo>
                    <a:pt x="181" y="284"/>
                    <a:pt x="187" y="292"/>
                    <a:pt x="196" y="287"/>
                  </a:cubicBezTo>
                  <a:cubicBezTo>
                    <a:pt x="201" y="284"/>
                    <a:pt x="207" y="278"/>
                    <a:pt x="213" y="273"/>
                  </a:cubicBezTo>
                  <a:cubicBezTo>
                    <a:pt x="193" y="256"/>
                    <a:pt x="193" y="256"/>
                    <a:pt x="193" y="256"/>
                  </a:cubicBezTo>
                  <a:lnTo>
                    <a:pt x="185" y="22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7" name="Freeform 145">
              <a:extLst>
                <a:ext uri="{FF2B5EF4-FFF2-40B4-BE49-F238E27FC236}">
                  <a16:creationId xmlns:a16="http://schemas.microsoft.com/office/drawing/2014/main" id="{8A0AD901-A15B-7EFF-6E07-ED3889901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605" y="3764883"/>
              <a:ext cx="53352" cy="153958"/>
            </a:xfrm>
            <a:custGeom>
              <a:avLst/>
              <a:gdLst>
                <a:gd name="T0" fmla="*/ 5 w 91"/>
                <a:gd name="T1" fmla="*/ 12 h 270"/>
                <a:gd name="T2" fmla="*/ 5 w 91"/>
                <a:gd name="T3" fmla="*/ 10 h 270"/>
                <a:gd name="T4" fmla="*/ 5 w 91"/>
                <a:gd name="T5" fmla="*/ 10 h 270"/>
                <a:gd name="T6" fmla="*/ 5 w 91"/>
                <a:gd name="T7" fmla="*/ 9 h 270"/>
                <a:gd name="T8" fmla="*/ 5 w 91"/>
                <a:gd name="T9" fmla="*/ 7 h 270"/>
                <a:gd name="T10" fmla="*/ 5 w 91"/>
                <a:gd name="T11" fmla="*/ 7 h 270"/>
                <a:gd name="T12" fmla="*/ 5 w 91"/>
                <a:gd name="T13" fmla="*/ 6 h 270"/>
                <a:gd name="T14" fmla="*/ 4 w 91"/>
                <a:gd name="T15" fmla="*/ 5 h 270"/>
                <a:gd name="T16" fmla="*/ 4 w 91"/>
                <a:gd name="T17" fmla="*/ 3 h 270"/>
                <a:gd name="T18" fmla="*/ 2 w 91"/>
                <a:gd name="T19" fmla="*/ 2 h 270"/>
                <a:gd name="T20" fmla="*/ 2 w 91"/>
                <a:gd name="T21" fmla="*/ 1 h 270"/>
                <a:gd name="T22" fmla="*/ 3 w 91"/>
                <a:gd name="T23" fmla="*/ 0 h 270"/>
                <a:gd name="T24" fmla="*/ 2 w 91"/>
                <a:gd name="T25" fmla="*/ 0 h 270"/>
                <a:gd name="T26" fmla="*/ 1 w 91"/>
                <a:gd name="T27" fmla="*/ 0 h 270"/>
                <a:gd name="T28" fmla="*/ 0 w 91"/>
                <a:gd name="T29" fmla="*/ 0 h 270"/>
                <a:gd name="T30" fmla="*/ 0 w 91"/>
                <a:gd name="T31" fmla="*/ 0 h 270"/>
                <a:gd name="T32" fmla="*/ 0 w 91"/>
                <a:gd name="T33" fmla="*/ 1 h 270"/>
                <a:gd name="T34" fmla="*/ 1 w 91"/>
                <a:gd name="T35" fmla="*/ 2 h 270"/>
                <a:gd name="T36" fmla="*/ 1 w 91"/>
                <a:gd name="T37" fmla="*/ 4 h 270"/>
                <a:gd name="T38" fmla="*/ 2 w 91"/>
                <a:gd name="T39" fmla="*/ 4 h 270"/>
                <a:gd name="T40" fmla="*/ 2 w 91"/>
                <a:gd name="T41" fmla="*/ 6 h 270"/>
                <a:gd name="T42" fmla="*/ 2 w 91"/>
                <a:gd name="T43" fmla="*/ 6 h 270"/>
                <a:gd name="T44" fmla="*/ 1 w 91"/>
                <a:gd name="T45" fmla="*/ 7 h 270"/>
                <a:gd name="T46" fmla="*/ 2 w 91"/>
                <a:gd name="T47" fmla="*/ 7 h 270"/>
                <a:gd name="T48" fmla="*/ 2 w 91"/>
                <a:gd name="T49" fmla="*/ 8 h 270"/>
                <a:gd name="T50" fmla="*/ 2 w 91"/>
                <a:gd name="T51" fmla="*/ 9 h 270"/>
                <a:gd name="T52" fmla="*/ 2 w 91"/>
                <a:gd name="T53" fmla="*/ 10 h 270"/>
                <a:gd name="T54" fmla="*/ 2 w 91"/>
                <a:gd name="T55" fmla="*/ 10 h 270"/>
                <a:gd name="T56" fmla="*/ 2 w 91"/>
                <a:gd name="T57" fmla="*/ 12 h 270"/>
                <a:gd name="T58" fmla="*/ 2 w 91"/>
                <a:gd name="T59" fmla="*/ 13 h 270"/>
                <a:gd name="T60" fmla="*/ 3 w 91"/>
                <a:gd name="T61" fmla="*/ 14 h 270"/>
                <a:gd name="T62" fmla="*/ 5 w 91"/>
                <a:gd name="T63" fmla="*/ 13 h 270"/>
                <a:gd name="T64" fmla="*/ 5 w 91"/>
                <a:gd name="T65" fmla="*/ 13 h 270"/>
                <a:gd name="T66" fmla="*/ 5 w 91"/>
                <a:gd name="T67" fmla="*/ 12 h 27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1"/>
                <a:gd name="T103" fmla="*/ 0 h 270"/>
                <a:gd name="T104" fmla="*/ 91 w 91"/>
                <a:gd name="T105" fmla="*/ 270 h 27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1" h="270">
                  <a:moveTo>
                    <a:pt x="82" y="239"/>
                  </a:moveTo>
                  <a:cubicBezTo>
                    <a:pt x="80" y="195"/>
                    <a:pt x="80" y="195"/>
                    <a:pt x="80" y="195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0" y="116"/>
                    <a:pt x="81" y="108"/>
                  </a:cubicBezTo>
                  <a:cubicBezTo>
                    <a:pt x="82" y="100"/>
                    <a:pt x="69" y="91"/>
                    <a:pt x="69" y="91"/>
                  </a:cubicBezTo>
                  <a:cubicBezTo>
                    <a:pt x="69" y="91"/>
                    <a:pt x="71" y="68"/>
                    <a:pt x="69" y="60"/>
                  </a:cubicBezTo>
                  <a:cubicBezTo>
                    <a:pt x="67" y="52"/>
                    <a:pt x="42" y="37"/>
                    <a:pt x="42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26" y="78"/>
                    <a:pt x="30" y="85"/>
                  </a:cubicBezTo>
                  <a:cubicBezTo>
                    <a:pt x="34" y="92"/>
                    <a:pt x="26" y="110"/>
                    <a:pt x="26" y="110"/>
                  </a:cubicBezTo>
                  <a:cubicBezTo>
                    <a:pt x="26" y="110"/>
                    <a:pt x="34" y="117"/>
                    <a:pt x="33" y="120"/>
                  </a:cubicBezTo>
                  <a:cubicBezTo>
                    <a:pt x="32" y="123"/>
                    <a:pt x="21" y="131"/>
                    <a:pt x="21" y="131"/>
                  </a:cubicBezTo>
                  <a:cubicBezTo>
                    <a:pt x="21" y="131"/>
                    <a:pt x="38" y="139"/>
                    <a:pt x="39" y="145"/>
                  </a:cubicBezTo>
                  <a:cubicBezTo>
                    <a:pt x="40" y="151"/>
                    <a:pt x="35" y="154"/>
                    <a:pt x="35" y="154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30" y="190"/>
                    <a:pt x="30" y="195"/>
                  </a:cubicBezTo>
                  <a:cubicBezTo>
                    <a:pt x="30" y="200"/>
                    <a:pt x="37" y="196"/>
                    <a:pt x="38" y="202"/>
                  </a:cubicBezTo>
                  <a:cubicBezTo>
                    <a:pt x="39" y="208"/>
                    <a:pt x="33" y="225"/>
                    <a:pt x="33" y="225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6" y="264"/>
                    <a:pt x="72" y="260"/>
                    <a:pt x="78" y="259"/>
                  </a:cubicBezTo>
                  <a:cubicBezTo>
                    <a:pt x="82" y="258"/>
                    <a:pt x="86" y="258"/>
                    <a:pt x="91" y="258"/>
                  </a:cubicBezTo>
                  <a:cubicBezTo>
                    <a:pt x="91" y="248"/>
                    <a:pt x="82" y="239"/>
                    <a:pt x="82" y="23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8" name="Freeform 146">
              <a:extLst>
                <a:ext uri="{FF2B5EF4-FFF2-40B4-BE49-F238E27FC236}">
                  <a16:creationId xmlns:a16="http://schemas.microsoft.com/office/drawing/2014/main" id="{052BA01C-F194-1C70-CABE-40BF009AE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1994" y="3725250"/>
              <a:ext cx="85362" cy="189017"/>
            </a:xfrm>
            <a:custGeom>
              <a:avLst/>
              <a:gdLst>
                <a:gd name="T0" fmla="*/ 5 w 150"/>
                <a:gd name="T1" fmla="*/ 13 h 332"/>
                <a:gd name="T2" fmla="*/ 5 w 150"/>
                <a:gd name="T3" fmla="*/ 12 h 332"/>
                <a:gd name="T4" fmla="*/ 5 w 150"/>
                <a:gd name="T5" fmla="*/ 11 h 332"/>
                <a:gd name="T6" fmla="*/ 5 w 150"/>
                <a:gd name="T7" fmla="*/ 9 h 332"/>
                <a:gd name="T8" fmla="*/ 6 w 150"/>
                <a:gd name="T9" fmla="*/ 9 h 332"/>
                <a:gd name="T10" fmla="*/ 6 w 150"/>
                <a:gd name="T11" fmla="*/ 8 h 332"/>
                <a:gd name="T12" fmla="*/ 7 w 150"/>
                <a:gd name="T13" fmla="*/ 7 h 332"/>
                <a:gd name="T14" fmla="*/ 7 w 150"/>
                <a:gd name="T15" fmla="*/ 6 h 332"/>
                <a:gd name="T16" fmla="*/ 8 w 150"/>
                <a:gd name="T17" fmla="*/ 5 h 332"/>
                <a:gd name="T18" fmla="*/ 7 w 150"/>
                <a:gd name="T19" fmla="*/ 4 h 332"/>
                <a:gd name="T20" fmla="*/ 7 w 150"/>
                <a:gd name="T21" fmla="*/ 4 h 332"/>
                <a:gd name="T22" fmla="*/ 7 w 150"/>
                <a:gd name="T23" fmla="*/ 3 h 332"/>
                <a:gd name="T24" fmla="*/ 7 w 150"/>
                <a:gd name="T25" fmla="*/ 1 h 332"/>
                <a:gd name="T26" fmla="*/ 6 w 150"/>
                <a:gd name="T27" fmla="*/ 1 h 332"/>
                <a:gd name="T28" fmla="*/ 5 w 150"/>
                <a:gd name="T29" fmla="*/ 0 h 332"/>
                <a:gd name="T30" fmla="*/ 4 w 150"/>
                <a:gd name="T31" fmla="*/ 0 h 332"/>
                <a:gd name="T32" fmla="*/ 4 w 150"/>
                <a:gd name="T33" fmla="*/ 1 h 332"/>
                <a:gd name="T34" fmla="*/ 4 w 150"/>
                <a:gd name="T35" fmla="*/ 1 h 332"/>
                <a:gd name="T36" fmla="*/ 4 w 150"/>
                <a:gd name="T37" fmla="*/ 1 h 332"/>
                <a:gd name="T38" fmla="*/ 4 w 150"/>
                <a:gd name="T39" fmla="*/ 2 h 332"/>
                <a:gd name="T40" fmla="*/ 3 w 150"/>
                <a:gd name="T41" fmla="*/ 2 h 332"/>
                <a:gd name="T42" fmla="*/ 3 w 150"/>
                <a:gd name="T43" fmla="*/ 3 h 332"/>
                <a:gd name="T44" fmla="*/ 1 w 150"/>
                <a:gd name="T45" fmla="*/ 3 h 332"/>
                <a:gd name="T46" fmla="*/ 1 w 150"/>
                <a:gd name="T47" fmla="*/ 4 h 332"/>
                <a:gd name="T48" fmla="*/ 0 w 150"/>
                <a:gd name="T49" fmla="*/ 4 h 332"/>
                <a:gd name="T50" fmla="*/ 0 w 150"/>
                <a:gd name="T51" fmla="*/ 4 h 332"/>
                <a:gd name="T52" fmla="*/ 0 w 150"/>
                <a:gd name="T53" fmla="*/ 4 h 332"/>
                <a:gd name="T54" fmla="*/ 0 w 150"/>
                <a:gd name="T55" fmla="*/ 6 h 332"/>
                <a:gd name="T56" fmla="*/ 1 w 150"/>
                <a:gd name="T57" fmla="*/ 7 h 332"/>
                <a:gd name="T58" fmla="*/ 1 w 150"/>
                <a:gd name="T59" fmla="*/ 9 h 332"/>
                <a:gd name="T60" fmla="*/ 2 w 150"/>
                <a:gd name="T61" fmla="*/ 9 h 332"/>
                <a:gd name="T62" fmla="*/ 2 w 150"/>
                <a:gd name="T63" fmla="*/ 11 h 332"/>
                <a:gd name="T64" fmla="*/ 2 w 150"/>
                <a:gd name="T65" fmla="*/ 11 h 332"/>
                <a:gd name="T66" fmla="*/ 2 w 150"/>
                <a:gd name="T67" fmla="*/ 13 h 332"/>
                <a:gd name="T68" fmla="*/ 2 w 150"/>
                <a:gd name="T69" fmla="*/ 13 h 332"/>
                <a:gd name="T70" fmla="*/ 2 w 150"/>
                <a:gd name="T71" fmla="*/ 14 h 332"/>
                <a:gd name="T72" fmla="*/ 2 w 150"/>
                <a:gd name="T73" fmla="*/ 16 h 332"/>
                <a:gd name="T74" fmla="*/ 3 w 150"/>
                <a:gd name="T75" fmla="*/ 17 h 332"/>
                <a:gd name="T76" fmla="*/ 3 w 150"/>
                <a:gd name="T77" fmla="*/ 17 h 332"/>
                <a:gd name="T78" fmla="*/ 4 w 150"/>
                <a:gd name="T79" fmla="*/ 17 h 332"/>
                <a:gd name="T80" fmla="*/ 4 w 150"/>
                <a:gd name="T81" fmla="*/ 16 h 332"/>
                <a:gd name="T82" fmla="*/ 5 w 150"/>
                <a:gd name="T83" fmla="*/ 17 h 332"/>
                <a:gd name="T84" fmla="*/ 5 w 150"/>
                <a:gd name="T85" fmla="*/ 16 h 332"/>
                <a:gd name="T86" fmla="*/ 5 w 150"/>
                <a:gd name="T87" fmla="*/ 13 h 3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0"/>
                <a:gd name="T133" fmla="*/ 0 h 332"/>
                <a:gd name="T134" fmla="*/ 150 w 150"/>
                <a:gd name="T135" fmla="*/ 332 h 3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0" h="332">
                  <a:moveTo>
                    <a:pt x="94" y="247"/>
                  </a:moveTo>
                  <a:cubicBezTo>
                    <a:pt x="97" y="228"/>
                    <a:pt x="97" y="228"/>
                    <a:pt x="97" y="228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6" y="183"/>
                    <a:pt x="104" y="187"/>
                    <a:pt x="112" y="177"/>
                  </a:cubicBezTo>
                  <a:cubicBezTo>
                    <a:pt x="120" y="167"/>
                    <a:pt x="115" y="155"/>
                    <a:pt x="118" y="148"/>
                  </a:cubicBezTo>
                  <a:cubicBezTo>
                    <a:pt x="121" y="141"/>
                    <a:pt x="133" y="132"/>
                    <a:pt x="133" y="132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5" y="105"/>
                    <a:pt x="146" y="102"/>
                    <a:pt x="148" y="95"/>
                  </a:cubicBezTo>
                  <a:cubicBezTo>
                    <a:pt x="150" y="88"/>
                    <a:pt x="144" y="85"/>
                    <a:pt x="144" y="85"/>
                  </a:cubicBezTo>
                  <a:cubicBezTo>
                    <a:pt x="144" y="85"/>
                    <a:pt x="145" y="82"/>
                    <a:pt x="145" y="76"/>
                  </a:cubicBezTo>
                  <a:cubicBezTo>
                    <a:pt x="145" y="70"/>
                    <a:pt x="130" y="58"/>
                    <a:pt x="131" y="51"/>
                  </a:cubicBezTo>
                  <a:cubicBezTo>
                    <a:pt x="132" y="44"/>
                    <a:pt x="139" y="31"/>
                    <a:pt x="139" y="31"/>
                  </a:cubicBezTo>
                  <a:cubicBezTo>
                    <a:pt x="139" y="31"/>
                    <a:pt x="123" y="25"/>
                    <a:pt x="118" y="22"/>
                  </a:cubicBezTo>
                  <a:cubicBezTo>
                    <a:pt x="113" y="19"/>
                    <a:pt x="96" y="0"/>
                    <a:pt x="96" y="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67" y="40"/>
                    <a:pt x="63" y="43"/>
                  </a:cubicBezTo>
                  <a:cubicBezTo>
                    <a:pt x="59" y="46"/>
                    <a:pt x="58" y="53"/>
                    <a:pt x="58" y="53"/>
                  </a:cubicBezTo>
                  <a:cubicBezTo>
                    <a:pt x="58" y="53"/>
                    <a:pt x="32" y="52"/>
                    <a:pt x="32" y="51"/>
                  </a:cubicBezTo>
                  <a:cubicBezTo>
                    <a:pt x="21" y="56"/>
                    <a:pt x="19" y="70"/>
                    <a:pt x="19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26" y="123"/>
                    <a:pt x="28" y="131"/>
                  </a:cubicBezTo>
                  <a:cubicBezTo>
                    <a:pt x="30" y="139"/>
                    <a:pt x="28" y="162"/>
                    <a:pt x="28" y="162"/>
                  </a:cubicBezTo>
                  <a:cubicBezTo>
                    <a:pt x="28" y="162"/>
                    <a:pt x="41" y="171"/>
                    <a:pt x="40" y="179"/>
                  </a:cubicBezTo>
                  <a:cubicBezTo>
                    <a:pt x="39" y="187"/>
                    <a:pt x="44" y="206"/>
                    <a:pt x="44" y="206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8" y="253"/>
                    <a:pt x="38" y="253"/>
                    <a:pt x="38" y="253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41" y="310"/>
                    <a:pt x="41" y="310"/>
                    <a:pt x="41" y="310"/>
                  </a:cubicBezTo>
                  <a:cubicBezTo>
                    <a:pt x="41" y="310"/>
                    <a:pt x="50" y="319"/>
                    <a:pt x="50" y="329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61" y="330"/>
                    <a:pt x="73" y="332"/>
                    <a:pt x="73" y="332"/>
                  </a:cubicBezTo>
                  <a:cubicBezTo>
                    <a:pt x="81" y="318"/>
                    <a:pt x="81" y="318"/>
                    <a:pt x="81" y="318"/>
                  </a:cubicBezTo>
                  <a:cubicBezTo>
                    <a:pt x="81" y="318"/>
                    <a:pt x="85" y="320"/>
                    <a:pt x="91" y="323"/>
                  </a:cubicBezTo>
                  <a:cubicBezTo>
                    <a:pt x="95" y="306"/>
                    <a:pt x="95" y="306"/>
                    <a:pt x="95" y="306"/>
                  </a:cubicBezTo>
                  <a:lnTo>
                    <a:pt x="94" y="24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39" name="Freeform 147">
              <a:extLst>
                <a:ext uri="{FF2B5EF4-FFF2-40B4-BE49-F238E27FC236}">
                  <a16:creationId xmlns:a16="http://schemas.microsoft.com/office/drawing/2014/main" id="{F2237BDE-CD98-7DE3-5C33-2361F7A4F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2297" y="3679520"/>
              <a:ext cx="323158" cy="291147"/>
            </a:xfrm>
            <a:custGeom>
              <a:avLst/>
              <a:gdLst>
                <a:gd name="T0" fmla="*/ 15 w 567"/>
                <a:gd name="T1" fmla="*/ 24 h 511"/>
                <a:gd name="T2" fmla="*/ 18 w 567"/>
                <a:gd name="T3" fmla="*/ 21 h 511"/>
                <a:gd name="T4" fmla="*/ 19 w 567"/>
                <a:gd name="T5" fmla="*/ 19 h 511"/>
                <a:gd name="T6" fmla="*/ 21 w 567"/>
                <a:gd name="T7" fmla="*/ 20 h 511"/>
                <a:gd name="T8" fmla="*/ 22 w 567"/>
                <a:gd name="T9" fmla="*/ 20 h 511"/>
                <a:gd name="T10" fmla="*/ 23 w 567"/>
                <a:gd name="T11" fmla="*/ 18 h 511"/>
                <a:gd name="T12" fmla="*/ 24 w 567"/>
                <a:gd name="T13" fmla="*/ 15 h 511"/>
                <a:gd name="T14" fmla="*/ 25 w 567"/>
                <a:gd name="T15" fmla="*/ 12 h 511"/>
                <a:gd name="T16" fmla="*/ 26 w 567"/>
                <a:gd name="T17" fmla="*/ 10 h 511"/>
                <a:gd name="T18" fmla="*/ 27 w 567"/>
                <a:gd name="T19" fmla="*/ 9 h 511"/>
                <a:gd name="T20" fmla="*/ 28 w 567"/>
                <a:gd name="T21" fmla="*/ 7 h 511"/>
                <a:gd name="T22" fmla="*/ 29 w 567"/>
                <a:gd name="T23" fmla="*/ 6 h 511"/>
                <a:gd name="T24" fmla="*/ 28 w 567"/>
                <a:gd name="T25" fmla="*/ 4 h 511"/>
                <a:gd name="T26" fmla="*/ 27 w 567"/>
                <a:gd name="T27" fmla="*/ 0 h 511"/>
                <a:gd name="T28" fmla="*/ 26 w 567"/>
                <a:gd name="T29" fmla="*/ 1 h 511"/>
                <a:gd name="T30" fmla="*/ 24 w 567"/>
                <a:gd name="T31" fmla="*/ 2 h 511"/>
                <a:gd name="T32" fmla="*/ 20 w 567"/>
                <a:gd name="T33" fmla="*/ 1 h 511"/>
                <a:gd name="T34" fmla="*/ 15 w 567"/>
                <a:gd name="T35" fmla="*/ 3 h 511"/>
                <a:gd name="T36" fmla="*/ 11 w 567"/>
                <a:gd name="T37" fmla="*/ 3 h 511"/>
                <a:gd name="T38" fmla="*/ 9 w 567"/>
                <a:gd name="T39" fmla="*/ 0 h 511"/>
                <a:gd name="T40" fmla="*/ 7 w 567"/>
                <a:gd name="T41" fmla="*/ 0 h 511"/>
                <a:gd name="T42" fmla="*/ 4 w 567"/>
                <a:gd name="T43" fmla="*/ 0 h 511"/>
                <a:gd name="T44" fmla="*/ 3 w 567"/>
                <a:gd name="T45" fmla="*/ 3 h 511"/>
                <a:gd name="T46" fmla="*/ 3 w 567"/>
                <a:gd name="T47" fmla="*/ 6 h 511"/>
                <a:gd name="T48" fmla="*/ 3 w 567"/>
                <a:gd name="T49" fmla="*/ 8 h 511"/>
                <a:gd name="T50" fmla="*/ 3 w 567"/>
                <a:gd name="T51" fmla="*/ 9 h 511"/>
                <a:gd name="T52" fmla="*/ 2 w 567"/>
                <a:gd name="T53" fmla="*/ 11 h 511"/>
                <a:gd name="T54" fmla="*/ 1 w 567"/>
                <a:gd name="T55" fmla="*/ 13 h 511"/>
                <a:gd name="T56" fmla="*/ 0 w 567"/>
                <a:gd name="T57" fmla="*/ 15 h 511"/>
                <a:gd name="T58" fmla="*/ 0 w 567"/>
                <a:gd name="T59" fmla="*/ 17 h 511"/>
                <a:gd name="T60" fmla="*/ 0 w 567"/>
                <a:gd name="T61" fmla="*/ 21 h 511"/>
                <a:gd name="T62" fmla="*/ 2 w 567"/>
                <a:gd name="T63" fmla="*/ 21 h 511"/>
                <a:gd name="T64" fmla="*/ 5 w 567"/>
                <a:gd name="T65" fmla="*/ 22 h 511"/>
                <a:gd name="T66" fmla="*/ 7 w 567"/>
                <a:gd name="T67" fmla="*/ 23 h 511"/>
                <a:gd name="T68" fmla="*/ 7 w 567"/>
                <a:gd name="T69" fmla="*/ 24 h 511"/>
                <a:gd name="T70" fmla="*/ 8 w 567"/>
                <a:gd name="T71" fmla="*/ 27 h 511"/>
                <a:gd name="T72" fmla="*/ 10 w 567"/>
                <a:gd name="T73" fmla="*/ 26 h 511"/>
                <a:gd name="T74" fmla="*/ 12 w 567"/>
                <a:gd name="T75" fmla="*/ 26 h 511"/>
                <a:gd name="T76" fmla="*/ 14 w 567"/>
                <a:gd name="T77" fmla="*/ 26 h 511"/>
                <a:gd name="T78" fmla="*/ 15 w 567"/>
                <a:gd name="T79" fmla="*/ 25 h 51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7"/>
                <a:gd name="T121" fmla="*/ 0 h 511"/>
                <a:gd name="T122" fmla="*/ 567 w 567"/>
                <a:gd name="T123" fmla="*/ 511 h 51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7" h="511">
                  <a:moveTo>
                    <a:pt x="281" y="490"/>
                  </a:moveTo>
                  <a:cubicBezTo>
                    <a:pt x="281" y="490"/>
                    <a:pt x="288" y="475"/>
                    <a:pt x="290" y="469"/>
                  </a:cubicBezTo>
                  <a:cubicBezTo>
                    <a:pt x="292" y="463"/>
                    <a:pt x="290" y="431"/>
                    <a:pt x="290" y="431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3" y="394"/>
                    <a:pt x="343" y="374"/>
                    <a:pt x="349" y="369"/>
                  </a:cubicBezTo>
                  <a:cubicBezTo>
                    <a:pt x="355" y="364"/>
                    <a:pt x="363" y="377"/>
                    <a:pt x="372" y="375"/>
                  </a:cubicBezTo>
                  <a:cubicBezTo>
                    <a:pt x="381" y="373"/>
                    <a:pt x="368" y="359"/>
                    <a:pt x="375" y="359"/>
                  </a:cubicBezTo>
                  <a:cubicBezTo>
                    <a:pt x="382" y="359"/>
                    <a:pt x="396" y="383"/>
                    <a:pt x="396" y="383"/>
                  </a:cubicBezTo>
                  <a:cubicBezTo>
                    <a:pt x="396" y="383"/>
                    <a:pt x="393" y="399"/>
                    <a:pt x="405" y="399"/>
                  </a:cubicBezTo>
                  <a:cubicBezTo>
                    <a:pt x="417" y="399"/>
                    <a:pt x="417" y="378"/>
                    <a:pt x="417" y="378"/>
                  </a:cubicBezTo>
                  <a:cubicBezTo>
                    <a:pt x="417" y="378"/>
                    <a:pt x="428" y="369"/>
                    <a:pt x="433" y="363"/>
                  </a:cubicBezTo>
                  <a:cubicBezTo>
                    <a:pt x="438" y="357"/>
                    <a:pt x="434" y="343"/>
                    <a:pt x="434" y="343"/>
                  </a:cubicBezTo>
                  <a:cubicBezTo>
                    <a:pt x="450" y="323"/>
                    <a:pt x="450" y="323"/>
                    <a:pt x="450" y="323"/>
                  </a:cubicBezTo>
                  <a:cubicBezTo>
                    <a:pt x="458" y="291"/>
                    <a:pt x="458" y="291"/>
                    <a:pt x="458" y="291"/>
                  </a:cubicBezTo>
                  <a:cubicBezTo>
                    <a:pt x="458" y="291"/>
                    <a:pt x="477" y="284"/>
                    <a:pt x="482" y="274"/>
                  </a:cubicBezTo>
                  <a:cubicBezTo>
                    <a:pt x="487" y="264"/>
                    <a:pt x="482" y="246"/>
                    <a:pt x="484" y="239"/>
                  </a:cubicBezTo>
                  <a:cubicBezTo>
                    <a:pt x="486" y="232"/>
                    <a:pt x="496" y="239"/>
                    <a:pt x="501" y="230"/>
                  </a:cubicBezTo>
                  <a:cubicBezTo>
                    <a:pt x="506" y="221"/>
                    <a:pt x="504" y="200"/>
                    <a:pt x="504" y="200"/>
                  </a:cubicBezTo>
                  <a:cubicBezTo>
                    <a:pt x="511" y="196"/>
                    <a:pt x="511" y="196"/>
                    <a:pt x="511" y="196"/>
                  </a:cubicBezTo>
                  <a:cubicBezTo>
                    <a:pt x="513" y="177"/>
                    <a:pt x="513" y="177"/>
                    <a:pt x="513" y="177"/>
                  </a:cubicBezTo>
                  <a:cubicBezTo>
                    <a:pt x="513" y="177"/>
                    <a:pt x="523" y="164"/>
                    <a:pt x="524" y="161"/>
                  </a:cubicBezTo>
                  <a:cubicBezTo>
                    <a:pt x="525" y="158"/>
                    <a:pt x="533" y="141"/>
                    <a:pt x="533" y="141"/>
                  </a:cubicBezTo>
                  <a:cubicBezTo>
                    <a:pt x="533" y="141"/>
                    <a:pt x="547" y="138"/>
                    <a:pt x="557" y="129"/>
                  </a:cubicBezTo>
                  <a:cubicBezTo>
                    <a:pt x="567" y="120"/>
                    <a:pt x="559" y="111"/>
                    <a:pt x="559" y="111"/>
                  </a:cubicBezTo>
                  <a:cubicBezTo>
                    <a:pt x="559" y="111"/>
                    <a:pt x="563" y="98"/>
                    <a:pt x="562" y="87"/>
                  </a:cubicBezTo>
                  <a:cubicBezTo>
                    <a:pt x="561" y="76"/>
                    <a:pt x="542" y="87"/>
                    <a:pt x="540" y="84"/>
                  </a:cubicBezTo>
                  <a:cubicBezTo>
                    <a:pt x="538" y="81"/>
                    <a:pt x="536" y="40"/>
                    <a:pt x="536" y="40"/>
                  </a:cubicBezTo>
                  <a:cubicBezTo>
                    <a:pt x="517" y="8"/>
                    <a:pt x="517" y="8"/>
                    <a:pt x="517" y="8"/>
                  </a:cubicBezTo>
                  <a:cubicBezTo>
                    <a:pt x="517" y="8"/>
                    <a:pt x="511" y="8"/>
                    <a:pt x="507" y="8"/>
                  </a:cubicBezTo>
                  <a:cubicBezTo>
                    <a:pt x="503" y="8"/>
                    <a:pt x="499" y="22"/>
                    <a:pt x="499" y="22"/>
                  </a:cubicBezTo>
                  <a:cubicBezTo>
                    <a:pt x="499" y="22"/>
                    <a:pt x="490" y="19"/>
                    <a:pt x="483" y="23"/>
                  </a:cubicBezTo>
                  <a:cubicBezTo>
                    <a:pt x="476" y="27"/>
                    <a:pt x="458" y="40"/>
                    <a:pt x="458" y="40"/>
                  </a:cubicBezTo>
                  <a:cubicBezTo>
                    <a:pt x="440" y="39"/>
                    <a:pt x="440" y="39"/>
                    <a:pt x="440" y="39"/>
                  </a:cubicBezTo>
                  <a:cubicBezTo>
                    <a:pt x="440" y="39"/>
                    <a:pt x="424" y="25"/>
                    <a:pt x="382" y="25"/>
                  </a:cubicBezTo>
                  <a:cubicBezTo>
                    <a:pt x="340" y="25"/>
                    <a:pt x="328" y="60"/>
                    <a:pt x="328" y="60"/>
                  </a:cubicBezTo>
                  <a:cubicBezTo>
                    <a:pt x="328" y="60"/>
                    <a:pt x="312" y="56"/>
                    <a:pt x="293" y="55"/>
                  </a:cubicBezTo>
                  <a:cubicBezTo>
                    <a:pt x="274" y="54"/>
                    <a:pt x="262" y="26"/>
                    <a:pt x="250" y="26"/>
                  </a:cubicBezTo>
                  <a:cubicBezTo>
                    <a:pt x="238" y="26"/>
                    <a:pt x="214" y="46"/>
                    <a:pt x="205" y="47"/>
                  </a:cubicBezTo>
                  <a:cubicBezTo>
                    <a:pt x="196" y="48"/>
                    <a:pt x="191" y="26"/>
                    <a:pt x="191" y="26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4" y="12"/>
                    <a:pt x="162" y="12"/>
                    <a:pt x="155" y="11"/>
                  </a:cubicBezTo>
                  <a:cubicBezTo>
                    <a:pt x="148" y="10"/>
                    <a:pt x="149" y="0"/>
                    <a:pt x="135" y="1"/>
                  </a:cubicBezTo>
                  <a:cubicBezTo>
                    <a:pt x="121" y="2"/>
                    <a:pt x="122" y="8"/>
                    <a:pt x="122" y="8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35"/>
                    <a:pt x="68" y="50"/>
                  </a:cubicBezTo>
                  <a:cubicBezTo>
                    <a:pt x="67" y="65"/>
                    <a:pt x="45" y="76"/>
                    <a:pt x="45" y="7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10"/>
                    <a:pt x="41" y="123"/>
                    <a:pt x="40" y="130"/>
                  </a:cubicBezTo>
                  <a:cubicBezTo>
                    <a:pt x="39" y="137"/>
                    <a:pt x="54" y="149"/>
                    <a:pt x="54" y="155"/>
                  </a:cubicBezTo>
                  <a:cubicBezTo>
                    <a:pt x="54" y="161"/>
                    <a:pt x="53" y="164"/>
                    <a:pt x="53" y="164"/>
                  </a:cubicBezTo>
                  <a:cubicBezTo>
                    <a:pt x="53" y="164"/>
                    <a:pt x="59" y="167"/>
                    <a:pt x="57" y="174"/>
                  </a:cubicBezTo>
                  <a:cubicBezTo>
                    <a:pt x="55" y="181"/>
                    <a:pt x="44" y="184"/>
                    <a:pt x="44" y="184"/>
                  </a:cubicBezTo>
                  <a:cubicBezTo>
                    <a:pt x="42" y="211"/>
                    <a:pt x="42" y="211"/>
                    <a:pt x="42" y="211"/>
                  </a:cubicBezTo>
                  <a:cubicBezTo>
                    <a:pt x="42" y="211"/>
                    <a:pt x="30" y="220"/>
                    <a:pt x="27" y="227"/>
                  </a:cubicBezTo>
                  <a:cubicBezTo>
                    <a:pt x="24" y="234"/>
                    <a:pt x="29" y="246"/>
                    <a:pt x="21" y="256"/>
                  </a:cubicBezTo>
                  <a:cubicBezTo>
                    <a:pt x="13" y="266"/>
                    <a:pt x="5" y="262"/>
                    <a:pt x="5" y="262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3" y="326"/>
                    <a:pt x="3" y="326"/>
                    <a:pt x="3" y="326"/>
                  </a:cubicBezTo>
                  <a:cubicBezTo>
                    <a:pt x="4" y="385"/>
                    <a:pt x="4" y="385"/>
                    <a:pt x="4" y="385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7" y="405"/>
                    <a:pt x="17" y="408"/>
                    <a:pt x="23" y="406"/>
                  </a:cubicBezTo>
                  <a:cubicBezTo>
                    <a:pt x="34" y="402"/>
                    <a:pt x="44" y="394"/>
                    <a:pt x="44" y="394"/>
                  </a:cubicBezTo>
                  <a:cubicBezTo>
                    <a:pt x="47" y="401"/>
                    <a:pt x="47" y="401"/>
                    <a:pt x="47" y="401"/>
                  </a:cubicBezTo>
                  <a:cubicBezTo>
                    <a:pt x="47" y="401"/>
                    <a:pt x="80" y="394"/>
                    <a:pt x="96" y="413"/>
                  </a:cubicBezTo>
                  <a:cubicBezTo>
                    <a:pt x="112" y="432"/>
                    <a:pt x="113" y="441"/>
                    <a:pt x="113" y="441"/>
                  </a:cubicBezTo>
                  <a:cubicBezTo>
                    <a:pt x="127" y="440"/>
                    <a:pt x="127" y="440"/>
                    <a:pt x="127" y="440"/>
                  </a:cubicBezTo>
                  <a:cubicBezTo>
                    <a:pt x="127" y="440"/>
                    <a:pt x="117" y="455"/>
                    <a:pt x="120" y="456"/>
                  </a:cubicBezTo>
                  <a:cubicBezTo>
                    <a:pt x="123" y="457"/>
                    <a:pt x="133" y="450"/>
                    <a:pt x="133" y="453"/>
                  </a:cubicBezTo>
                  <a:cubicBezTo>
                    <a:pt x="133" y="456"/>
                    <a:pt x="128" y="464"/>
                    <a:pt x="128" y="472"/>
                  </a:cubicBezTo>
                  <a:cubicBezTo>
                    <a:pt x="128" y="480"/>
                    <a:pt x="136" y="509"/>
                    <a:pt x="157" y="510"/>
                  </a:cubicBezTo>
                  <a:cubicBezTo>
                    <a:pt x="178" y="511"/>
                    <a:pt x="191" y="509"/>
                    <a:pt x="191" y="509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212" y="501"/>
                    <a:pt x="212" y="501"/>
                    <a:pt x="212" y="501"/>
                  </a:cubicBezTo>
                  <a:cubicBezTo>
                    <a:pt x="228" y="496"/>
                    <a:pt x="228" y="496"/>
                    <a:pt x="228" y="49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265" y="504"/>
                    <a:pt x="265" y="504"/>
                    <a:pt x="265" y="504"/>
                  </a:cubicBezTo>
                  <a:cubicBezTo>
                    <a:pt x="265" y="488"/>
                    <a:pt x="265" y="488"/>
                    <a:pt x="265" y="488"/>
                  </a:cubicBezTo>
                  <a:cubicBezTo>
                    <a:pt x="282" y="487"/>
                    <a:pt x="282" y="487"/>
                    <a:pt x="282" y="487"/>
                  </a:cubicBezTo>
                  <a:cubicBezTo>
                    <a:pt x="281" y="490"/>
                    <a:pt x="281" y="490"/>
                    <a:pt x="281" y="490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0" name="Freeform 148">
              <a:extLst>
                <a:ext uri="{FF2B5EF4-FFF2-40B4-BE49-F238E27FC236}">
                  <a16:creationId xmlns:a16="http://schemas.microsoft.com/office/drawing/2014/main" id="{C3457D69-6202-49CD-F67A-4F56E3944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447" y="3338071"/>
              <a:ext cx="442055" cy="455775"/>
            </a:xfrm>
            <a:custGeom>
              <a:avLst/>
              <a:gdLst>
                <a:gd name="T0" fmla="*/ 22 w 778"/>
                <a:gd name="T1" fmla="*/ 33 h 800"/>
                <a:gd name="T2" fmla="*/ 23 w 778"/>
                <a:gd name="T3" fmla="*/ 32 h 800"/>
                <a:gd name="T4" fmla="*/ 25 w 778"/>
                <a:gd name="T5" fmla="*/ 31 h 800"/>
                <a:gd name="T6" fmla="*/ 26 w 778"/>
                <a:gd name="T7" fmla="*/ 29 h 800"/>
                <a:gd name="T8" fmla="*/ 27 w 778"/>
                <a:gd name="T9" fmla="*/ 28 h 800"/>
                <a:gd name="T10" fmla="*/ 29 w 778"/>
                <a:gd name="T11" fmla="*/ 28 h 800"/>
                <a:gd name="T12" fmla="*/ 32 w 778"/>
                <a:gd name="T13" fmla="*/ 28 h 800"/>
                <a:gd name="T14" fmla="*/ 35 w 778"/>
                <a:gd name="T15" fmla="*/ 28 h 800"/>
                <a:gd name="T16" fmla="*/ 37 w 778"/>
                <a:gd name="T17" fmla="*/ 27 h 800"/>
                <a:gd name="T18" fmla="*/ 39 w 778"/>
                <a:gd name="T19" fmla="*/ 27 h 800"/>
                <a:gd name="T20" fmla="*/ 40 w 778"/>
                <a:gd name="T21" fmla="*/ 24 h 800"/>
                <a:gd name="T22" fmla="*/ 40 w 778"/>
                <a:gd name="T23" fmla="*/ 17 h 800"/>
                <a:gd name="T24" fmla="*/ 38 w 778"/>
                <a:gd name="T25" fmla="*/ 16 h 800"/>
                <a:gd name="T26" fmla="*/ 36 w 778"/>
                <a:gd name="T27" fmla="*/ 14 h 800"/>
                <a:gd name="T28" fmla="*/ 34 w 778"/>
                <a:gd name="T29" fmla="*/ 13 h 800"/>
                <a:gd name="T30" fmla="*/ 33 w 778"/>
                <a:gd name="T31" fmla="*/ 12 h 800"/>
                <a:gd name="T32" fmla="*/ 19 w 778"/>
                <a:gd name="T33" fmla="*/ 0 h 800"/>
                <a:gd name="T34" fmla="*/ 16 w 778"/>
                <a:gd name="T35" fmla="*/ 24 h 800"/>
                <a:gd name="T36" fmla="*/ 17 w 778"/>
                <a:gd name="T37" fmla="*/ 25 h 800"/>
                <a:gd name="T38" fmla="*/ 7 w 778"/>
                <a:gd name="T39" fmla="*/ 27 h 800"/>
                <a:gd name="T40" fmla="*/ 7 w 778"/>
                <a:gd name="T41" fmla="*/ 27 h 800"/>
                <a:gd name="T42" fmla="*/ 5 w 778"/>
                <a:gd name="T43" fmla="*/ 27 h 800"/>
                <a:gd name="T44" fmla="*/ 3 w 778"/>
                <a:gd name="T45" fmla="*/ 28 h 800"/>
                <a:gd name="T46" fmla="*/ 1 w 778"/>
                <a:gd name="T47" fmla="*/ 28 h 800"/>
                <a:gd name="T48" fmla="*/ 0 w 778"/>
                <a:gd name="T49" fmla="*/ 29 h 800"/>
                <a:gd name="T50" fmla="*/ 0 w 778"/>
                <a:gd name="T51" fmla="*/ 30 h 800"/>
                <a:gd name="T52" fmla="*/ 1 w 778"/>
                <a:gd name="T53" fmla="*/ 33 h 800"/>
                <a:gd name="T54" fmla="*/ 2 w 778"/>
                <a:gd name="T55" fmla="*/ 34 h 800"/>
                <a:gd name="T56" fmla="*/ 2 w 778"/>
                <a:gd name="T57" fmla="*/ 37 h 800"/>
                <a:gd name="T58" fmla="*/ 4 w 778"/>
                <a:gd name="T59" fmla="*/ 37 h 800"/>
                <a:gd name="T60" fmla="*/ 6 w 778"/>
                <a:gd name="T61" fmla="*/ 37 h 800"/>
                <a:gd name="T62" fmla="*/ 7 w 778"/>
                <a:gd name="T63" fmla="*/ 35 h 800"/>
                <a:gd name="T64" fmla="*/ 9 w 778"/>
                <a:gd name="T65" fmla="*/ 37 h 800"/>
                <a:gd name="T66" fmla="*/ 9 w 778"/>
                <a:gd name="T67" fmla="*/ 38 h 800"/>
                <a:gd name="T68" fmla="*/ 9 w 778"/>
                <a:gd name="T69" fmla="*/ 39 h 800"/>
                <a:gd name="T70" fmla="*/ 10 w 778"/>
                <a:gd name="T71" fmla="*/ 41 h 800"/>
                <a:gd name="T72" fmla="*/ 12 w 778"/>
                <a:gd name="T73" fmla="*/ 41 h 800"/>
                <a:gd name="T74" fmla="*/ 13 w 778"/>
                <a:gd name="T75" fmla="*/ 41 h 800"/>
                <a:gd name="T76" fmla="*/ 14 w 778"/>
                <a:gd name="T77" fmla="*/ 40 h 800"/>
                <a:gd name="T78" fmla="*/ 15 w 778"/>
                <a:gd name="T79" fmla="*/ 40 h 800"/>
                <a:gd name="T80" fmla="*/ 15 w 778"/>
                <a:gd name="T81" fmla="*/ 41 h 800"/>
                <a:gd name="T82" fmla="*/ 16 w 778"/>
                <a:gd name="T83" fmla="*/ 39 h 800"/>
                <a:gd name="T84" fmla="*/ 18 w 778"/>
                <a:gd name="T85" fmla="*/ 38 h 800"/>
                <a:gd name="T86" fmla="*/ 17 w 778"/>
                <a:gd name="T87" fmla="*/ 37 h 800"/>
                <a:gd name="T88" fmla="*/ 19 w 778"/>
                <a:gd name="T89" fmla="*/ 36 h 800"/>
                <a:gd name="T90" fmla="*/ 19 w 778"/>
                <a:gd name="T91" fmla="*/ 34 h 800"/>
                <a:gd name="T92" fmla="*/ 19 w 778"/>
                <a:gd name="T93" fmla="*/ 33 h 800"/>
                <a:gd name="T94" fmla="*/ 21 w 778"/>
                <a:gd name="T95" fmla="*/ 33 h 8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78"/>
                <a:gd name="T145" fmla="*/ 0 h 800"/>
                <a:gd name="T146" fmla="*/ 778 w 778"/>
                <a:gd name="T147" fmla="*/ 800 h 8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78" h="800">
                  <a:moveTo>
                    <a:pt x="409" y="636"/>
                  </a:moveTo>
                  <a:cubicBezTo>
                    <a:pt x="424" y="631"/>
                    <a:pt x="424" y="631"/>
                    <a:pt x="424" y="631"/>
                  </a:cubicBezTo>
                  <a:cubicBezTo>
                    <a:pt x="424" y="607"/>
                    <a:pt x="424" y="607"/>
                    <a:pt x="424" y="607"/>
                  </a:cubicBezTo>
                  <a:cubicBezTo>
                    <a:pt x="437" y="607"/>
                    <a:pt x="437" y="607"/>
                    <a:pt x="437" y="607"/>
                  </a:cubicBezTo>
                  <a:cubicBezTo>
                    <a:pt x="437" y="607"/>
                    <a:pt x="454" y="578"/>
                    <a:pt x="460" y="576"/>
                  </a:cubicBezTo>
                  <a:cubicBezTo>
                    <a:pt x="466" y="574"/>
                    <a:pt x="478" y="586"/>
                    <a:pt x="481" y="585"/>
                  </a:cubicBezTo>
                  <a:cubicBezTo>
                    <a:pt x="484" y="584"/>
                    <a:pt x="485" y="563"/>
                    <a:pt x="485" y="563"/>
                  </a:cubicBezTo>
                  <a:cubicBezTo>
                    <a:pt x="502" y="563"/>
                    <a:pt x="502" y="563"/>
                    <a:pt x="502" y="563"/>
                  </a:cubicBezTo>
                  <a:cubicBezTo>
                    <a:pt x="513" y="549"/>
                    <a:pt x="513" y="549"/>
                    <a:pt x="513" y="549"/>
                  </a:cubicBezTo>
                  <a:cubicBezTo>
                    <a:pt x="513" y="549"/>
                    <a:pt x="517" y="551"/>
                    <a:pt x="527" y="547"/>
                  </a:cubicBezTo>
                  <a:cubicBezTo>
                    <a:pt x="537" y="543"/>
                    <a:pt x="539" y="535"/>
                    <a:pt x="539" y="535"/>
                  </a:cubicBezTo>
                  <a:cubicBezTo>
                    <a:pt x="572" y="537"/>
                    <a:pt x="572" y="537"/>
                    <a:pt x="572" y="537"/>
                  </a:cubicBezTo>
                  <a:cubicBezTo>
                    <a:pt x="588" y="544"/>
                    <a:pt x="588" y="544"/>
                    <a:pt x="588" y="544"/>
                  </a:cubicBezTo>
                  <a:cubicBezTo>
                    <a:pt x="620" y="537"/>
                    <a:pt x="620" y="537"/>
                    <a:pt x="620" y="537"/>
                  </a:cubicBezTo>
                  <a:cubicBezTo>
                    <a:pt x="638" y="525"/>
                    <a:pt x="638" y="525"/>
                    <a:pt x="638" y="525"/>
                  </a:cubicBezTo>
                  <a:cubicBezTo>
                    <a:pt x="680" y="526"/>
                    <a:pt x="680" y="526"/>
                    <a:pt x="680" y="526"/>
                  </a:cubicBezTo>
                  <a:cubicBezTo>
                    <a:pt x="681" y="517"/>
                    <a:pt x="681" y="517"/>
                    <a:pt x="681" y="517"/>
                  </a:cubicBezTo>
                  <a:cubicBezTo>
                    <a:pt x="712" y="519"/>
                    <a:pt x="712" y="519"/>
                    <a:pt x="712" y="519"/>
                  </a:cubicBezTo>
                  <a:cubicBezTo>
                    <a:pt x="719" y="514"/>
                    <a:pt x="719" y="514"/>
                    <a:pt x="719" y="514"/>
                  </a:cubicBezTo>
                  <a:cubicBezTo>
                    <a:pt x="719" y="514"/>
                    <a:pt x="726" y="520"/>
                    <a:pt x="748" y="509"/>
                  </a:cubicBezTo>
                  <a:cubicBezTo>
                    <a:pt x="763" y="502"/>
                    <a:pt x="763" y="469"/>
                    <a:pt x="763" y="469"/>
                  </a:cubicBezTo>
                  <a:cubicBezTo>
                    <a:pt x="778" y="454"/>
                    <a:pt x="778" y="454"/>
                    <a:pt x="778" y="454"/>
                  </a:cubicBezTo>
                  <a:cubicBezTo>
                    <a:pt x="778" y="317"/>
                    <a:pt x="778" y="317"/>
                    <a:pt x="778" y="317"/>
                  </a:cubicBezTo>
                  <a:cubicBezTo>
                    <a:pt x="771" y="319"/>
                    <a:pt x="766" y="320"/>
                    <a:pt x="766" y="320"/>
                  </a:cubicBezTo>
                  <a:cubicBezTo>
                    <a:pt x="766" y="320"/>
                    <a:pt x="744" y="328"/>
                    <a:pt x="729" y="321"/>
                  </a:cubicBezTo>
                  <a:cubicBezTo>
                    <a:pt x="714" y="314"/>
                    <a:pt x="738" y="300"/>
                    <a:pt x="738" y="300"/>
                  </a:cubicBezTo>
                  <a:cubicBezTo>
                    <a:pt x="738" y="300"/>
                    <a:pt x="737" y="280"/>
                    <a:pt x="727" y="272"/>
                  </a:cubicBezTo>
                  <a:cubicBezTo>
                    <a:pt x="717" y="264"/>
                    <a:pt x="694" y="270"/>
                    <a:pt x="694" y="270"/>
                  </a:cubicBezTo>
                  <a:cubicBezTo>
                    <a:pt x="689" y="252"/>
                    <a:pt x="689" y="252"/>
                    <a:pt x="689" y="252"/>
                  </a:cubicBezTo>
                  <a:cubicBezTo>
                    <a:pt x="689" y="252"/>
                    <a:pt x="676" y="254"/>
                    <a:pt x="666" y="251"/>
                  </a:cubicBezTo>
                  <a:cubicBezTo>
                    <a:pt x="656" y="248"/>
                    <a:pt x="658" y="241"/>
                    <a:pt x="656" y="233"/>
                  </a:cubicBezTo>
                  <a:cubicBezTo>
                    <a:pt x="654" y="225"/>
                    <a:pt x="637" y="229"/>
                    <a:pt x="637" y="229"/>
                  </a:cubicBezTo>
                  <a:cubicBezTo>
                    <a:pt x="638" y="212"/>
                    <a:pt x="638" y="212"/>
                    <a:pt x="638" y="212"/>
                  </a:cubicBezTo>
                  <a:cubicBezTo>
                    <a:pt x="364" y="3"/>
                    <a:pt x="364" y="3"/>
                    <a:pt x="364" y="3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4" y="459"/>
                    <a:pt x="314" y="459"/>
                    <a:pt x="314" y="459"/>
                  </a:cubicBezTo>
                  <a:cubicBezTo>
                    <a:pt x="314" y="459"/>
                    <a:pt x="327" y="465"/>
                    <a:pt x="328" y="472"/>
                  </a:cubicBezTo>
                  <a:cubicBezTo>
                    <a:pt x="329" y="479"/>
                    <a:pt x="323" y="483"/>
                    <a:pt x="323" y="483"/>
                  </a:cubicBezTo>
                  <a:cubicBezTo>
                    <a:pt x="318" y="510"/>
                    <a:pt x="318" y="510"/>
                    <a:pt x="318" y="510"/>
                  </a:cubicBezTo>
                  <a:cubicBezTo>
                    <a:pt x="141" y="513"/>
                    <a:pt x="141" y="513"/>
                    <a:pt x="141" y="513"/>
                  </a:cubicBezTo>
                  <a:cubicBezTo>
                    <a:pt x="141" y="513"/>
                    <a:pt x="141" y="502"/>
                    <a:pt x="137" y="503"/>
                  </a:cubicBezTo>
                  <a:cubicBezTo>
                    <a:pt x="133" y="504"/>
                    <a:pt x="135" y="516"/>
                    <a:pt x="127" y="517"/>
                  </a:cubicBezTo>
                  <a:cubicBezTo>
                    <a:pt x="119" y="518"/>
                    <a:pt x="102" y="521"/>
                    <a:pt x="102" y="521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74" y="515"/>
                    <a:pt x="74" y="515"/>
                    <a:pt x="74" y="515"/>
                  </a:cubicBezTo>
                  <a:cubicBezTo>
                    <a:pt x="64" y="532"/>
                    <a:pt x="64" y="532"/>
                    <a:pt x="64" y="532"/>
                  </a:cubicBezTo>
                  <a:cubicBezTo>
                    <a:pt x="64" y="532"/>
                    <a:pt x="52" y="507"/>
                    <a:pt x="39" y="507"/>
                  </a:cubicBezTo>
                  <a:cubicBezTo>
                    <a:pt x="26" y="507"/>
                    <a:pt x="24" y="516"/>
                    <a:pt x="24" y="535"/>
                  </a:cubicBezTo>
                  <a:cubicBezTo>
                    <a:pt x="25" y="536"/>
                    <a:pt x="28" y="546"/>
                    <a:pt x="20" y="549"/>
                  </a:cubicBezTo>
                  <a:cubicBezTo>
                    <a:pt x="12" y="552"/>
                    <a:pt x="0" y="550"/>
                    <a:pt x="0" y="550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9" y="578"/>
                    <a:pt x="9" y="578"/>
                    <a:pt x="9" y="578"/>
                  </a:cubicBezTo>
                  <a:cubicBezTo>
                    <a:pt x="9" y="578"/>
                    <a:pt x="21" y="600"/>
                    <a:pt x="16" y="604"/>
                  </a:cubicBezTo>
                  <a:cubicBezTo>
                    <a:pt x="11" y="608"/>
                    <a:pt x="7" y="612"/>
                    <a:pt x="14" y="623"/>
                  </a:cubicBezTo>
                  <a:cubicBezTo>
                    <a:pt x="21" y="634"/>
                    <a:pt x="25" y="622"/>
                    <a:pt x="30" y="625"/>
                  </a:cubicBezTo>
                  <a:cubicBezTo>
                    <a:pt x="35" y="628"/>
                    <a:pt x="37" y="644"/>
                    <a:pt x="37" y="644"/>
                  </a:cubicBezTo>
                  <a:cubicBezTo>
                    <a:pt x="36" y="678"/>
                    <a:pt x="36" y="678"/>
                    <a:pt x="36" y="678"/>
                  </a:cubicBezTo>
                  <a:cubicBezTo>
                    <a:pt x="36" y="678"/>
                    <a:pt x="40" y="705"/>
                    <a:pt x="44" y="703"/>
                  </a:cubicBezTo>
                  <a:cubicBezTo>
                    <a:pt x="48" y="701"/>
                    <a:pt x="52" y="685"/>
                    <a:pt x="61" y="685"/>
                  </a:cubicBezTo>
                  <a:cubicBezTo>
                    <a:pt x="70" y="685"/>
                    <a:pt x="73" y="706"/>
                    <a:pt x="73" y="706"/>
                  </a:cubicBezTo>
                  <a:cubicBezTo>
                    <a:pt x="73" y="706"/>
                    <a:pt x="87" y="683"/>
                    <a:pt x="92" y="685"/>
                  </a:cubicBezTo>
                  <a:cubicBezTo>
                    <a:pt x="97" y="687"/>
                    <a:pt x="119" y="698"/>
                    <a:pt x="119" y="698"/>
                  </a:cubicBezTo>
                  <a:cubicBezTo>
                    <a:pt x="131" y="689"/>
                    <a:pt x="131" y="689"/>
                    <a:pt x="131" y="689"/>
                  </a:cubicBezTo>
                  <a:cubicBezTo>
                    <a:pt x="131" y="689"/>
                    <a:pt x="129" y="665"/>
                    <a:pt x="145" y="673"/>
                  </a:cubicBezTo>
                  <a:cubicBezTo>
                    <a:pt x="161" y="681"/>
                    <a:pt x="154" y="688"/>
                    <a:pt x="154" y="688"/>
                  </a:cubicBezTo>
                  <a:cubicBezTo>
                    <a:pt x="163" y="697"/>
                    <a:pt x="163" y="697"/>
                    <a:pt x="163" y="697"/>
                  </a:cubicBezTo>
                  <a:cubicBezTo>
                    <a:pt x="157" y="714"/>
                    <a:pt x="157" y="714"/>
                    <a:pt x="157" y="714"/>
                  </a:cubicBezTo>
                  <a:cubicBezTo>
                    <a:pt x="180" y="730"/>
                    <a:pt x="180" y="730"/>
                    <a:pt x="180" y="730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82" y="752"/>
                    <a:pt x="182" y="752"/>
                    <a:pt x="182" y="752"/>
                  </a:cubicBezTo>
                  <a:cubicBezTo>
                    <a:pt x="182" y="777"/>
                    <a:pt x="182" y="777"/>
                    <a:pt x="182" y="777"/>
                  </a:cubicBezTo>
                  <a:cubicBezTo>
                    <a:pt x="201" y="796"/>
                    <a:pt x="201" y="796"/>
                    <a:pt x="201" y="796"/>
                  </a:cubicBezTo>
                  <a:cubicBezTo>
                    <a:pt x="207" y="799"/>
                    <a:pt x="207" y="799"/>
                    <a:pt x="207" y="799"/>
                  </a:cubicBezTo>
                  <a:cubicBezTo>
                    <a:pt x="207" y="799"/>
                    <a:pt x="204" y="782"/>
                    <a:pt x="220" y="784"/>
                  </a:cubicBezTo>
                  <a:cubicBezTo>
                    <a:pt x="236" y="786"/>
                    <a:pt x="246" y="800"/>
                    <a:pt x="246" y="800"/>
                  </a:cubicBezTo>
                  <a:cubicBezTo>
                    <a:pt x="250" y="788"/>
                    <a:pt x="250" y="788"/>
                    <a:pt x="250" y="788"/>
                  </a:cubicBezTo>
                  <a:cubicBezTo>
                    <a:pt x="260" y="788"/>
                    <a:pt x="260" y="788"/>
                    <a:pt x="260" y="788"/>
                  </a:cubicBezTo>
                  <a:cubicBezTo>
                    <a:pt x="264" y="770"/>
                    <a:pt x="264" y="770"/>
                    <a:pt x="264" y="770"/>
                  </a:cubicBezTo>
                  <a:cubicBezTo>
                    <a:pt x="273" y="782"/>
                    <a:pt x="273" y="782"/>
                    <a:pt x="273" y="782"/>
                  </a:cubicBezTo>
                  <a:cubicBezTo>
                    <a:pt x="281" y="769"/>
                    <a:pt x="281" y="769"/>
                    <a:pt x="281" y="769"/>
                  </a:cubicBezTo>
                  <a:cubicBezTo>
                    <a:pt x="281" y="793"/>
                    <a:pt x="281" y="793"/>
                    <a:pt x="281" y="793"/>
                  </a:cubicBezTo>
                  <a:cubicBezTo>
                    <a:pt x="296" y="795"/>
                    <a:pt x="296" y="795"/>
                    <a:pt x="296" y="795"/>
                  </a:cubicBezTo>
                  <a:cubicBezTo>
                    <a:pt x="296" y="795"/>
                    <a:pt x="300" y="781"/>
                    <a:pt x="315" y="781"/>
                  </a:cubicBezTo>
                  <a:cubicBezTo>
                    <a:pt x="312" y="744"/>
                    <a:pt x="312" y="744"/>
                    <a:pt x="312" y="744"/>
                  </a:cubicBezTo>
                  <a:cubicBezTo>
                    <a:pt x="327" y="744"/>
                    <a:pt x="327" y="744"/>
                    <a:pt x="327" y="744"/>
                  </a:cubicBezTo>
                  <a:cubicBezTo>
                    <a:pt x="335" y="729"/>
                    <a:pt x="335" y="729"/>
                    <a:pt x="335" y="729"/>
                  </a:cubicBezTo>
                  <a:cubicBezTo>
                    <a:pt x="320" y="708"/>
                    <a:pt x="320" y="708"/>
                    <a:pt x="320" y="708"/>
                  </a:cubicBezTo>
                  <a:cubicBezTo>
                    <a:pt x="333" y="700"/>
                    <a:pt x="333" y="700"/>
                    <a:pt x="333" y="700"/>
                  </a:cubicBezTo>
                  <a:cubicBezTo>
                    <a:pt x="333" y="700"/>
                    <a:pt x="348" y="697"/>
                    <a:pt x="360" y="696"/>
                  </a:cubicBezTo>
                  <a:cubicBezTo>
                    <a:pt x="372" y="695"/>
                    <a:pt x="359" y="685"/>
                    <a:pt x="359" y="685"/>
                  </a:cubicBezTo>
                  <a:cubicBezTo>
                    <a:pt x="359" y="685"/>
                    <a:pt x="366" y="684"/>
                    <a:pt x="369" y="680"/>
                  </a:cubicBezTo>
                  <a:cubicBezTo>
                    <a:pt x="372" y="676"/>
                    <a:pt x="367" y="659"/>
                    <a:pt x="367" y="659"/>
                  </a:cubicBezTo>
                  <a:cubicBezTo>
                    <a:pt x="367" y="659"/>
                    <a:pt x="379" y="661"/>
                    <a:pt x="381" y="656"/>
                  </a:cubicBezTo>
                  <a:cubicBezTo>
                    <a:pt x="383" y="651"/>
                    <a:pt x="375" y="637"/>
                    <a:pt x="375" y="637"/>
                  </a:cubicBezTo>
                  <a:cubicBezTo>
                    <a:pt x="388" y="617"/>
                    <a:pt x="388" y="617"/>
                    <a:pt x="388" y="617"/>
                  </a:cubicBezTo>
                  <a:lnTo>
                    <a:pt x="409" y="636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1" name="Freeform 149">
              <a:extLst>
                <a:ext uri="{FF2B5EF4-FFF2-40B4-BE49-F238E27FC236}">
                  <a16:creationId xmlns:a16="http://schemas.microsoft.com/office/drawing/2014/main" id="{E8B91838-378E-A04E-0056-0C02AB83B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258" y="3591109"/>
              <a:ext cx="157006" cy="140238"/>
            </a:xfrm>
            <a:custGeom>
              <a:avLst/>
              <a:gdLst>
                <a:gd name="T0" fmla="*/ 14 w 276"/>
                <a:gd name="T1" fmla="*/ 9 h 246"/>
                <a:gd name="T2" fmla="*/ 13 w 276"/>
                <a:gd name="T3" fmla="*/ 9 h 246"/>
                <a:gd name="T4" fmla="*/ 13 w 276"/>
                <a:gd name="T5" fmla="*/ 8 h 246"/>
                <a:gd name="T6" fmla="*/ 13 w 276"/>
                <a:gd name="T7" fmla="*/ 7 h 246"/>
                <a:gd name="T8" fmla="*/ 13 w 276"/>
                <a:gd name="T9" fmla="*/ 6 h 246"/>
                <a:gd name="T10" fmla="*/ 12 w 276"/>
                <a:gd name="T11" fmla="*/ 6 h 246"/>
                <a:gd name="T12" fmla="*/ 12 w 276"/>
                <a:gd name="T13" fmla="*/ 5 h 246"/>
                <a:gd name="T14" fmla="*/ 11 w 276"/>
                <a:gd name="T15" fmla="*/ 4 h 246"/>
                <a:gd name="T16" fmla="*/ 11 w 276"/>
                <a:gd name="T17" fmla="*/ 4 h 246"/>
                <a:gd name="T18" fmla="*/ 10 w 276"/>
                <a:gd name="T19" fmla="*/ 3 h 246"/>
                <a:gd name="T20" fmla="*/ 10 w 276"/>
                <a:gd name="T21" fmla="*/ 1 h 246"/>
                <a:gd name="T22" fmla="*/ 9 w 276"/>
                <a:gd name="T23" fmla="*/ 2 h 246"/>
                <a:gd name="T24" fmla="*/ 7 w 276"/>
                <a:gd name="T25" fmla="*/ 0 h 246"/>
                <a:gd name="T26" fmla="*/ 6 w 276"/>
                <a:gd name="T27" fmla="*/ 0 h 246"/>
                <a:gd name="T28" fmla="*/ 6 w 276"/>
                <a:gd name="T29" fmla="*/ 0 h 246"/>
                <a:gd name="T30" fmla="*/ 6 w 276"/>
                <a:gd name="T31" fmla="*/ 0 h 246"/>
                <a:gd name="T32" fmla="*/ 4 w 276"/>
                <a:gd name="T33" fmla="*/ 0 h 246"/>
                <a:gd name="T34" fmla="*/ 4 w 276"/>
                <a:gd name="T35" fmla="*/ 1 h 246"/>
                <a:gd name="T36" fmla="*/ 3 w 276"/>
                <a:gd name="T37" fmla="*/ 0 h 246"/>
                <a:gd name="T38" fmla="*/ 2 w 276"/>
                <a:gd name="T39" fmla="*/ 2 h 246"/>
                <a:gd name="T40" fmla="*/ 2 w 276"/>
                <a:gd name="T41" fmla="*/ 3 h 246"/>
                <a:gd name="T42" fmla="*/ 1 w 276"/>
                <a:gd name="T43" fmla="*/ 4 h 246"/>
                <a:gd name="T44" fmla="*/ 0 w 276"/>
                <a:gd name="T45" fmla="*/ 6 h 246"/>
                <a:gd name="T46" fmla="*/ 0 w 276"/>
                <a:gd name="T47" fmla="*/ 6 h 246"/>
                <a:gd name="T48" fmla="*/ 0 w 276"/>
                <a:gd name="T49" fmla="*/ 6 h 246"/>
                <a:gd name="T50" fmla="*/ 1 w 276"/>
                <a:gd name="T51" fmla="*/ 7 h 246"/>
                <a:gd name="T52" fmla="*/ 1 w 276"/>
                <a:gd name="T53" fmla="*/ 7 h 246"/>
                <a:gd name="T54" fmla="*/ 1 w 276"/>
                <a:gd name="T55" fmla="*/ 8 h 246"/>
                <a:gd name="T56" fmla="*/ 1 w 276"/>
                <a:gd name="T57" fmla="*/ 8 h 246"/>
                <a:gd name="T58" fmla="*/ 2 w 276"/>
                <a:gd name="T59" fmla="*/ 9 h 246"/>
                <a:gd name="T60" fmla="*/ 4 w 276"/>
                <a:gd name="T61" fmla="*/ 9 h 246"/>
                <a:gd name="T62" fmla="*/ 4 w 276"/>
                <a:gd name="T63" fmla="*/ 8 h 246"/>
                <a:gd name="T64" fmla="*/ 6 w 276"/>
                <a:gd name="T65" fmla="*/ 8 h 246"/>
                <a:gd name="T66" fmla="*/ 6 w 276"/>
                <a:gd name="T67" fmla="*/ 9 h 246"/>
                <a:gd name="T68" fmla="*/ 7 w 276"/>
                <a:gd name="T69" fmla="*/ 9 h 246"/>
                <a:gd name="T70" fmla="*/ 7 w 276"/>
                <a:gd name="T71" fmla="*/ 9 h 246"/>
                <a:gd name="T72" fmla="*/ 8 w 276"/>
                <a:gd name="T73" fmla="*/ 9 h 246"/>
                <a:gd name="T74" fmla="*/ 7 w 276"/>
                <a:gd name="T75" fmla="*/ 10 h 246"/>
                <a:gd name="T76" fmla="*/ 6 w 276"/>
                <a:gd name="T77" fmla="*/ 9 h 246"/>
                <a:gd name="T78" fmla="*/ 5 w 276"/>
                <a:gd name="T79" fmla="*/ 9 h 246"/>
                <a:gd name="T80" fmla="*/ 4 w 276"/>
                <a:gd name="T81" fmla="*/ 10 h 246"/>
                <a:gd name="T82" fmla="*/ 3 w 276"/>
                <a:gd name="T83" fmla="*/ 10 h 246"/>
                <a:gd name="T84" fmla="*/ 1 w 276"/>
                <a:gd name="T85" fmla="*/ 10 h 246"/>
                <a:gd name="T86" fmla="*/ 1 w 276"/>
                <a:gd name="T87" fmla="*/ 11 h 246"/>
                <a:gd name="T88" fmla="*/ 1 w 276"/>
                <a:gd name="T89" fmla="*/ 11 h 246"/>
                <a:gd name="T90" fmla="*/ 1 w 276"/>
                <a:gd name="T91" fmla="*/ 13 h 246"/>
                <a:gd name="T92" fmla="*/ 3 w 276"/>
                <a:gd name="T93" fmla="*/ 13 h 246"/>
                <a:gd name="T94" fmla="*/ 3 w 276"/>
                <a:gd name="T95" fmla="*/ 12 h 246"/>
                <a:gd name="T96" fmla="*/ 4 w 276"/>
                <a:gd name="T97" fmla="*/ 12 h 246"/>
                <a:gd name="T98" fmla="*/ 5 w 276"/>
                <a:gd name="T99" fmla="*/ 11 h 246"/>
                <a:gd name="T100" fmla="*/ 10 w 276"/>
                <a:gd name="T101" fmla="*/ 12 h 246"/>
                <a:gd name="T102" fmla="*/ 10 w 276"/>
                <a:gd name="T103" fmla="*/ 12 h 246"/>
                <a:gd name="T104" fmla="*/ 11 w 276"/>
                <a:gd name="T105" fmla="*/ 12 h 246"/>
                <a:gd name="T106" fmla="*/ 12 w 276"/>
                <a:gd name="T107" fmla="*/ 13 h 246"/>
                <a:gd name="T108" fmla="*/ 13 w 276"/>
                <a:gd name="T109" fmla="*/ 12 h 246"/>
                <a:gd name="T110" fmla="*/ 14 w 276"/>
                <a:gd name="T111" fmla="*/ 12 h 246"/>
                <a:gd name="T112" fmla="*/ 14 w 276"/>
                <a:gd name="T113" fmla="*/ 10 h 246"/>
                <a:gd name="T114" fmla="*/ 14 w 276"/>
                <a:gd name="T115" fmla="*/ 9 h 2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6"/>
                <a:gd name="T175" fmla="*/ 0 h 246"/>
                <a:gd name="T176" fmla="*/ 276 w 276"/>
                <a:gd name="T177" fmla="*/ 246 h 2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6" h="246">
                  <a:moveTo>
                    <a:pt x="269" y="181"/>
                  </a:moveTo>
                  <a:cubicBezTo>
                    <a:pt x="264" y="178"/>
                    <a:pt x="260" y="190"/>
                    <a:pt x="253" y="179"/>
                  </a:cubicBezTo>
                  <a:cubicBezTo>
                    <a:pt x="246" y="168"/>
                    <a:pt x="250" y="164"/>
                    <a:pt x="255" y="160"/>
                  </a:cubicBezTo>
                  <a:cubicBezTo>
                    <a:pt x="260" y="156"/>
                    <a:pt x="248" y="134"/>
                    <a:pt x="248" y="134"/>
                  </a:cubicBezTo>
                  <a:cubicBezTo>
                    <a:pt x="240" y="124"/>
                    <a:pt x="240" y="124"/>
                    <a:pt x="240" y="124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3" y="86"/>
                    <a:pt x="213" y="71"/>
                    <a:pt x="210" y="70"/>
                  </a:cubicBezTo>
                  <a:cubicBezTo>
                    <a:pt x="207" y="69"/>
                    <a:pt x="196" y="68"/>
                    <a:pt x="196" y="68"/>
                  </a:cubicBezTo>
                  <a:cubicBezTo>
                    <a:pt x="196" y="68"/>
                    <a:pt x="195" y="32"/>
                    <a:pt x="188" y="31"/>
                  </a:cubicBezTo>
                  <a:cubicBezTo>
                    <a:pt x="181" y="30"/>
                    <a:pt x="167" y="34"/>
                    <a:pt x="167" y="34"/>
                  </a:cubicBezTo>
                  <a:cubicBezTo>
                    <a:pt x="167" y="34"/>
                    <a:pt x="156" y="12"/>
                    <a:pt x="146" y="10"/>
                  </a:cubicBezTo>
                  <a:cubicBezTo>
                    <a:pt x="136" y="8"/>
                    <a:pt x="122" y="7"/>
                    <a:pt x="122" y="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68" y="5"/>
                    <a:pt x="59" y="11"/>
                  </a:cubicBezTo>
                  <a:cubicBezTo>
                    <a:pt x="50" y="17"/>
                    <a:pt x="53" y="41"/>
                    <a:pt x="41" y="43"/>
                  </a:cubicBezTo>
                  <a:cubicBezTo>
                    <a:pt x="40" y="50"/>
                    <a:pt x="40" y="56"/>
                    <a:pt x="40" y="57"/>
                  </a:cubicBezTo>
                  <a:cubicBezTo>
                    <a:pt x="39" y="60"/>
                    <a:pt x="29" y="67"/>
                    <a:pt x="22" y="80"/>
                  </a:cubicBezTo>
                  <a:cubicBezTo>
                    <a:pt x="15" y="93"/>
                    <a:pt x="0" y="106"/>
                    <a:pt x="0" y="106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17" y="121"/>
                    <a:pt x="17" y="128"/>
                  </a:cubicBezTo>
                  <a:cubicBezTo>
                    <a:pt x="17" y="135"/>
                    <a:pt x="20" y="141"/>
                    <a:pt x="20" y="141"/>
                  </a:cubicBezTo>
                  <a:cubicBezTo>
                    <a:pt x="29" y="149"/>
                    <a:pt x="29" y="149"/>
                    <a:pt x="29" y="149"/>
                  </a:cubicBezTo>
                  <a:cubicBezTo>
                    <a:pt x="29" y="149"/>
                    <a:pt x="28" y="150"/>
                    <a:pt x="28" y="157"/>
                  </a:cubicBezTo>
                  <a:cubicBezTo>
                    <a:pt x="28" y="162"/>
                    <a:pt x="32" y="166"/>
                    <a:pt x="34" y="169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96" y="160"/>
                    <a:pt x="109" y="158"/>
                  </a:cubicBezTo>
                  <a:cubicBezTo>
                    <a:pt x="122" y="156"/>
                    <a:pt x="120" y="166"/>
                    <a:pt x="120" y="166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8" y="164"/>
                    <a:pt x="136" y="175"/>
                    <a:pt x="141" y="176"/>
                  </a:cubicBezTo>
                  <a:cubicBezTo>
                    <a:pt x="146" y="177"/>
                    <a:pt x="145" y="167"/>
                    <a:pt x="162" y="171"/>
                  </a:cubicBezTo>
                  <a:cubicBezTo>
                    <a:pt x="179" y="175"/>
                    <a:pt x="161" y="190"/>
                    <a:pt x="143" y="190"/>
                  </a:cubicBezTo>
                  <a:cubicBezTo>
                    <a:pt x="125" y="190"/>
                    <a:pt x="109" y="171"/>
                    <a:pt x="109" y="171"/>
                  </a:cubicBezTo>
                  <a:cubicBezTo>
                    <a:pt x="109" y="171"/>
                    <a:pt x="103" y="182"/>
                    <a:pt x="97" y="183"/>
                  </a:cubicBezTo>
                  <a:cubicBezTo>
                    <a:pt x="91" y="184"/>
                    <a:pt x="72" y="186"/>
                    <a:pt x="72" y="186"/>
                  </a:cubicBezTo>
                  <a:cubicBezTo>
                    <a:pt x="72" y="186"/>
                    <a:pt x="71" y="195"/>
                    <a:pt x="68" y="195"/>
                  </a:cubicBezTo>
                  <a:cubicBezTo>
                    <a:pt x="66" y="195"/>
                    <a:pt x="36" y="195"/>
                    <a:pt x="25" y="195"/>
                  </a:cubicBezTo>
                  <a:cubicBezTo>
                    <a:pt x="24" y="202"/>
                    <a:pt x="24" y="212"/>
                    <a:pt x="24" y="212"/>
                  </a:cubicBezTo>
                  <a:cubicBezTo>
                    <a:pt x="18" y="215"/>
                    <a:pt x="18" y="215"/>
                    <a:pt x="18" y="215"/>
                  </a:cubicBezTo>
                  <a:cubicBezTo>
                    <a:pt x="18" y="215"/>
                    <a:pt x="22" y="236"/>
                    <a:pt x="31" y="241"/>
                  </a:cubicBezTo>
                  <a:cubicBezTo>
                    <a:pt x="40" y="246"/>
                    <a:pt x="50" y="241"/>
                    <a:pt x="50" y="24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102" y="216"/>
                    <a:pt x="102" y="216"/>
                    <a:pt x="102" y="216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9"/>
                    <a:pt x="196" y="230"/>
                    <a:pt x="204" y="232"/>
                  </a:cubicBezTo>
                  <a:cubicBezTo>
                    <a:pt x="212" y="234"/>
                    <a:pt x="215" y="226"/>
                    <a:pt x="215" y="226"/>
                  </a:cubicBezTo>
                  <a:cubicBezTo>
                    <a:pt x="215" y="226"/>
                    <a:pt x="224" y="242"/>
                    <a:pt x="231" y="242"/>
                  </a:cubicBezTo>
                  <a:cubicBezTo>
                    <a:pt x="238" y="242"/>
                    <a:pt x="247" y="235"/>
                    <a:pt x="247" y="235"/>
                  </a:cubicBezTo>
                  <a:cubicBezTo>
                    <a:pt x="275" y="234"/>
                    <a:pt x="275" y="234"/>
                    <a:pt x="275" y="234"/>
                  </a:cubicBezTo>
                  <a:cubicBezTo>
                    <a:pt x="276" y="200"/>
                    <a:pt x="276" y="200"/>
                    <a:pt x="276" y="200"/>
                  </a:cubicBezTo>
                  <a:cubicBezTo>
                    <a:pt x="276" y="200"/>
                    <a:pt x="274" y="184"/>
                    <a:pt x="269" y="18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2" name="Freeform 150">
              <a:extLst>
                <a:ext uri="{FF2B5EF4-FFF2-40B4-BE49-F238E27FC236}">
                  <a16:creationId xmlns:a16="http://schemas.microsoft.com/office/drawing/2014/main" id="{837E399C-7B0D-CA19-62BE-89FDC12C9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756" y="3714580"/>
              <a:ext cx="195114" cy="169201"/>
            </a:xfrm>
            <a:custGeom>
              <a:avLst/>
              <a:gdLst>
                <a:gd name="T0" fmla="*/ 3 w 345"/>
                <a:gd name="T1" fmla="*/ 1 h 296"/>
                <a:gd name="T2" fmla="*/ 3 w 345"/>
                <a:gd name="T3" fmla="*/ 3 h 296"/>
                <a:gd name="T4" fmla="*/ 1 w 345"/>
                <a:gd name="T5" fmla="*/ 3 h 296"/>
                <a:gd name="T6" fmla="*/ 0 w 345"/>
                <a:gd name="T7" fmla="*/ 4 h 296"/>
                <a:gd name="T8" fmla="*/ 1 w 345"/>
                <a:gd name="T9" fmla="*/ 6 h 296"/>
                <a:gd name="T10" fmla="*/ 2 w 345"/>
                <a:gd name="T11" fmla="*/ 7 h 296"/>
                <a:gd name="T12" fmla="*/ 3 w 345"/>
                <a:gd name="T13" fmla="*/ 8 h 296"/>
                <a:gd name="T14" fmla="*/ 4 w 345"/>
                <a:gd name="T15" fmla="*/ 10 h 296"/>
                <a:gd name="T16" fmla="*/ 7 w 345"/>
                <a:gd name="T17" fmla="*/ 8 h 296"/>
                <a:gd name="T18" fmla="*/ 9 w 345"/>
                <a:gd name="T19" fmla="*/ 7 h 296"/>
                <a:gd name="T20" fmla="*/ 10 w 345"/>
                <a:gd name="T21" fmla="*/ 10 h 296"/>
                <a:gd name="T22" fmla="*/ 10 w 345"/>
                <a:gd name="T23" fmla="*/ 12 h 296"/>
                <a:gd name="T24" fmla="*/ 11 w 345"/>
                <a:gd name="T25" fmla="*/ 12 h 296"/>
                <a:gd name="T26" fmla="*/ 13 w 345"/>
                <a:gd name="T27" fmla="*/ 12 h 296"/>
                <a:gd name="T28" fmla="*/ 13 w 345"/>
                <a:gd name="T29" fmla="*/ 15 h 296"/>
                <a:gd name="T30" fmla="*/ 15 w 345"/>
                <a:gd name="T31" fmla="*/ 14 h 296"/>
                <a:gd name="T32" fmla="*/ 16 w 345"/>
                <a:gd name="T33" fmla="*/ 14 h 296"/>
                <a:gd name="T34" fmla="*/ 16 w 345"/>
                <a:gd name="T35" fmla="*/ 12 h 296"/>
                <a:gd name="T36" fmla="*/ 17 w 345"/>
                <a:gd name="T37" fmla="*/ 12 h 296"/>
                <a:gd name="T38" fmla="*/ 17 w 345"/>
                <a:gd name="T39" fmla="*/ 10 h 296"/>
                <a:gd name="T40" fmla="*/ 17 w 345"/>
                <a:gd name="T41" fmla="*/ 9 h 296"/>
                <a:gd name="T42" fmla="*/ 16 w 345"/>
                <a:gd name="T43" fmla="*/ 8 h 296"/>
                <a:gd name="T44" fmla="*/ 16 w 345"/>
                <a:gd name="T45" fmla="*/ 6 h 296"/>
                <a:gd name="T46" fmla="*/ 15 w 345"/>
                <a:gd name="T47" fmla="*/ 5 h 296"/>
                <a:gd name="T48" fmla="*/ 14 w 345"/>
                <a:gd name="T49" fmla="*/ 3 h 296"/>
                <a:gd name="T50" fmla="*/ 14 w 345"/>
                <a:gd name="T51" fmla="*/ 2 h 296"/>
                <a:gd name="T52" fmla="*/ 13 w 345"/>
                <a:gd name="T53" fmla="*/ 2 h 296"/>
                <a:gd name="T54" fmla="*/ 11 w 345"/>
                <a:gd name="T55" fmla="*/ 1 h 296"/>
                <a:gd name="T56" fmla="*/ 10 w 345"/>
                <a:gd name="T57" fmla="*/ 1 h 296"/>
                <a:gd name="T58" fmla="*/ 9 w 345"/>
                <a:gd name="T59" fmla="*/ 1 h 296"/>
                <a:gd name="T60" fmla="*/ 6 w 345"/>
                <a:gd name="T61" fmla="*/ 1 h 296"/>
                <a:gd name="T62" fmla="*/ 5 w 345"/>
                <a:gd name="T63" fmla="*/ 1 h 296"/>
                <a:gd name="T64" fmla="*/ 3 w 345"/>
                <a:gd name="T65" fmla="*/ 0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296"/>
                <a:gd name="T101" fmla="*/ 345 w 345"/>
                <a:gd name="T102" fmla="*/ 296 h 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296">
                  <a:moveTo>
                    <a:pt x="60" y="0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45" y="15"/>
                    <a:pt x="45" y="26"/>
                  </a:cubicBezTo>
                  <a:cubicBezTo>
                    <a:pt x="45" y="37"/>
                    <a:pt x="62" y="32"/>
                    <a:pt x="61" y="47"/>
                  </a:cubicBezTo>
                  <a:cubicBezTo>
                    <a:pt x="60" y="62"/>
                    <a:pt x="49" y="58"/>
                    <a:pt x="39" y="58"/>
                  </a:cubicBezTo>
                  <a:cubicBezTo>
                    <a:pt x="29" y="58"/>
                    <a:pt x="22" y="65"/>
                    <a:pt x="22" y="65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4" y="100"/>
                    <a:pt x="9" y="102"/>
                  </a:cubicBezTo>
                  <a:cubicBezTo>
                    <a:pt x="14" y="104"/>
                    <a:pt x="19" y="103"/>
                    <a:pt x="19" y="103"/>
                  </a:cubicBezTo>
                  <a:cubicBezTo>
                    <a:pt x="19" y="103"/>
                    <a:pt x="10" y="127"/>
                    <a:pt x="25" y="134"/>
                  </a:cubicBezTo>
                  <a:cubicBezTo>
                    <a:pt x="40" y="141"/>
                    <a:pt x="45" y="138"/>
                    <a:pt x="45" y="138"/>
                  </a:cubicBezTo>
                  <a:cubicBezTo>
                    <a:pt x="45" y="138"/>
                    <a:pt x="42" y="150"/>
                    <a:pt x="46" y="154"/>
                  </a:cubicBezTo>
                  <a:cubicBezTo>
                    <a:pt x="50" y="158"/>
                    <a:pt x="59" y="149"/>
                    <a:pt x="59" y="149"/>
                  </a:cubicBezTo>
                  <a:cubicBezTo>
                    <a:pt x="59" y="149"/>
                    <a:pt x="63" y="169"/>
                    <a:pt x="67" y="176"/>
                  </a:cubicBezTo>
                  <a:cubicBezTo>
                    <a:pt x="71" y="183"/>
                    <a:pt x="86" y="194"/>
                    <a:pt x="86" y="194"/>
                  </a:cubicBezTo>
                  <a:cubicBezTo>
                    <a:pt x="98" y="194"/>
                    <a:pt x="117" y="152"/>
                    <a:pt x="117" y="152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200" y="181"/>
                    <a:pt x="200" y="181"/>
                    <a:pt x="200" y="181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7" y="190"/>
                    <a:pt x="208" y="202"/>
                    <a:pt x="208" y="210"/>
                  </a:cubicBezTo>
                  <a:cubicBezTo>
                    <a:pt x="208" y="218"/>
                    <a:pt x="197" y="226"/>
                    <a:pt x="197" y="226"/>
                  </a:cubicBezTo>
                  <a:cubicBezTo>
                    <a:pt x="196" y="239"/>
                    <a:pt x="196" y="239"/>
                    <a:pt x="196" y="239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31" y="232"/>
                    <a:pt x="231" y="232"/>
                    <a:pt x="231" y="232"/>
                  </a:cubicBezTo>
                  <a:cubicBezTo>
                    <a:pt x="231" y="232"/>
                    <a:pt x="228" y="214"/>
                    <a:pt x="247" y="227"/>
                  </a:cubicBezTo>
                  <a:cubicBezTo>
                    <a:pt x="266" y="240"/>
                    <a:pt x="257" y="286"/>
                    <a:pt x="257" y="286"/>
                  </a:cubicBezTo>
                  <a:cubicBezTo>
                    <a:pt x="265" y="286"/>
                    <a:pt x="265" y="286"/>
                    <a:pt x="265" y="286"/>
                  </a:cubicBezTo>
                  <a:cubicBezTo>
                    <a:pt x="265" y="286"/>
                    <a:pt x="266" y="296"/>
                    <a:pt x="277" y="296"/>
                  </a:cubicBezTo>
                  <a:cubicBezTo>
                    <a:pt x="288" y="296"/>
                    <a:pt x="288" y="274"/>
                    <a:pt x="293" y="270"/>
                  </a:cubicBezTo>
                  <a:cubicBezTo>
                    <a:pt x="298" y="266"/>
                    <a:pt x="313" y="279"/>
                    <a:pt x="320" y="276"/>
                  </a:cubicBezTo>
                  <a:cubicBezTo>
                    <a:pt x="327" y="273"/>
                    <a:pt x="320" y="255"/>
                    <a:pt x="320" y="255"/>
                  </a:cubicBezTo>
                  <a:cubicBezTo>
                    <a:pt x="332" y="252"/>
                    <a:pt x="332" y="252"/>
                    <a:pt x="332" y="252"/>
                  </a:cubicBezTo>
                  <a:cubicBezTo>
                    <a:pt x="332" y="252"/>
                    <a:pt x="314" y="239"/>
                    <a:pt x="314" y="229"/>
                  </a:cubicBezTo>
                  <a:cubicBezTo>
                    <a:pt x="314" y="219"/>
                    <a:pt x="344" y="233"/>
                    <a:pt x="344" y="233"/>
                  </a:cubicBezTo>
                  <a:cubicBezTo>
                    <a:pt x="344" y="233"/>
                    <a:pt x="345" y="227"/>
                    <a:pt x="345" y="220"/>
                  </a:cubicBezTo>
                  <a:cubicBezTo>
                    <a:pt x="345" y="213"/>
                    <a:pt x="330" y="218"/>
                    <a:pt x="329" y="210"/>
                  </a:cubicBezTo>
                  <a:cubicBezTo>
                    <a:pt x="328" y="202"/>
                    <a:pt x="338" y="193"/>
                    <a:pt x="338" y="193"/>
                  </a:cubicBezTo>
                  <a:cubicBezTo>
                    <a:pt x="328" y="189"/>
                    <a:pt x="328" y="189"/>
                    <a:pt x="328" y="189"/>
                  </a:cubicBezTo>
                  <a:cubicBezTo>
                    <a:pt x="335" y="176"/>
                    <a:pt x="335" y="176"/>
                    <a:pt x="335" y="176"/>
                  </a:cubicBezTo>
                  <a:cubicBezTo>
                    <a:pt x="323" y="175"/>
                    <a:pt x="323" y="175"/>
                    <a:pt x="323" y="175"/>
                  </a:cubicBezTo>
                  <a:cubicBezTo>
                    <a:pt x="318" y="148"/>
                    <a:pt x="318" y="148"/>
                    <a:pt x="318" y="148"/>
                  </a:cubicBezTo>
                  <a:cubicBezTo>
                    <a:pt x="331" y="134"/>
                    <a:pt x="331" y="134"/>
                    <a:pt x="331" y="134"/>
                  </a:cubicBezTo>
                  <a:cubicBezTo>
                    <a:pt x="312" y="115"/>
                    <a:pt x="312" y="115"/>
                    <a:pt x="312" y="115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293" y="91"/>
                    <a:pt x="293" y="91"/>
                    <a:pt x="293" y="91"/>
                  </a:cubicBezTo>
                  <a:cubicBezTo>
                    <a:pt x="310" y="68"/>
                    <a:pt x="310" y="68"/>
                    <a:pt x="310" y="68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93" y="35"/>
                    <a:pt x="293" y="35"/>
                    <a:pt x="293" y="35"/>
                  </a:cubicBezTo>
                  <a:cubicBezTo>
                    <a:pt x="284" y="26"/>
                    <a:pt x="284" y="26"/>
                    <a:pt x="284" y="26"/>
                  </a:cubicBezTo>
                  <a:cubicBezTo>
                    <a:pt x="284" y="26"/>
                    <a:pt x="291" y="19"/>
                    <a:pt x="275" y="11"/>
                  </a:cubicBezTo>
                  <a:cubicBezTo>
                    <a:pt x="259" y="3"/>
                    <a:pt x="261" y="27"/>
                    <a:pt x="261" y="27"/>
                  </a:cubicBezTo>
                  <a:cubicBezTo>
                    <a:pt x="249" y="36"/>
                    <a:pt x="249" y="36"/>
                    <a:pt x="249" y="36"/>
                  </a:cubicBezTo>
                  <a:cubicBezTo>
                    <a:pt x="249" y="36"/>
                    <a:pt x="227" y="25"/>
                    <a:pt x="222" y="23"/>
                  </a:cubicBezTo>
                  <a:cubicBezTo>
                    <a:pt x="217" y="21"/>
                    <a:pt x="203" y="44"/>
                    <a:pt x="203" y="44"/>
                  </a:cubicBezTo>
                  <a:cubicBezTo>
                    <a:pt x="203" y="44"/>
                    <a:pt x="200" y="23"/>
                    <a:pt x="191" y="23"/>
                  </a:cubicBezTo>
                  <a:cubicBezTo>
                    <a:pt x="182" y="23"/>
                    <a:pt x="178" y="39"/>
                    <a:pt x="174" y="41"/>
                  </a:cubicBezTo>
                  <a:cubicBezTo>
                    <a:pt x="170" y="43"/>
                    <a:pt x="166" y="16"/>
                    <a:pt x="166" y="16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29" y="24"/>
                    <a:pt x="122" y="24"/>
                  </a:cubicBezTo>
                  <a:cubicBezTo>
                    <a:pt x="115" y="24"/>
                    <a:pt x="106" y="8"/>
                    <a:pt x="106" y="8"/>
                  </a:cubicBezTo>
                  <a:cubicBezTo>
                    <a:pt x="106" y="8"/>
                    <a:pt x="103" y="16"/>
                    <a:pt x="95" y="14"/>
                  </a:cubicBezTo>
                  <a:cubicBezTo>
                    <a:pt x="87" y="12"/>
                    <a:pt x="87" y="1"/>
                    <a:pt x="87" y="1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3" name="Freeform 151">
              <a:extLst>
                <a:ext uri="{FF2B5EF4-FFF2-40B4-BE49-F238E27FC236}">
                  <a16:creationId xmlns:a16="http://schemas.microsoft.com/office/drawing/2014/main" id="{091FAF56-B7A6-F049-BB4B-D8D465BBA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550" y="3272524"/>
              <a:ext cx="324682" cy="381082"/>
            </a:xfrm>
            <a:custGeom>
              <a:avLst/>
              <a:gdLst>
                <a:gd name="T0" fmla="*/ 0 w 572"/>
                <a:gd name="T1" fmla="*/ 17 h 670"/>
                <a:gd name="T2" fmla="*/ 0 w 572"/>
                <a:gd name="T3" fmla="*/ 18 h 670"/>
                <a:gd name="T4" fmla="*/ 1 w 572"/>
                <a:gd name="T5" fmla="*/ 19 h 670"/>
                <a:gd name="T6" fmla="*/ 1 w 572"/>
                <a:gd name="T7" fmla="*/ 18 h 670"/>
                <a:gd name="T8" fmla="*/ 1 w 572"/>
                <a:gd name="T9" fmla="*/ 19 h 670"/>
                <a:gd name="T10" fmla="*/ 1 w 572"/>
                <a:gd name="T11" fmla="*/ 21 h 670"/>
                <a:gd name="T12" fmla="*/ 1 w 572"/>
                <a:gd name="T13" fmla="*/ 21 h 670"/>
                <a:gd name="T14" fmla="*/ 1 w 572"/>
                <a:gd name="T15" fmla="*/ 22 h 670"/>
                <a:gd name="T16" fmla="*/ 1 w 572"/>
                <a:gd name="T17" fmla="*/ 22 h 670"/>
                <a:gd name="T18" fmla="*/ 2 w 572"/>
                <a:gd name="T19" fmla="*/ 24 h 670"/>
                <a:gd name="T20" fmla="*/ 1 w 572"/>
                <a:gd name="T21" fmla="*/ 26 h 670"/>
                <a:gd name="T22" fmla="*/ 1 w 572"/>
                <a:gd name="T23" fmla="*/ 28 h 670"/>
                <a:gd name="T24" fmla="*/ 0 w 572"/>
                <a:gd name="T25" fmla="*/ 29 h 670"/>
                <a:gd name="T26" fmla="*/ 0 w 572"/>
                <a:gd name="T27" fmla="*/ 31 h 670"/>
                <a:gd name="T28" fmla="*/ 1 w 572"/>
                <a:gd name="T29" fmla="*/ 30 h 670"/>
                <a:gd name="T30" fmla="*/ 3 w 572"/>
                <a:gd name="T31" fmla="*/ 30 h 670"/>
                <a:gd name="T32" fmla="*/ 3 w 572"/>
                <a:gd name="T33" fmla="*/ 29 h 670"/>
                <a:gd name="T34" fmla="*/ 4 w 572"/>
                <a:gd name="T35" fmla="*/ 29 h 670"/>
                <a:gd name="T36" fmla="*/ 4 w 572"/>
                <a:gd name="T37" fmla="*/ 29 h 670"/>
                <a:gd name="T38" fmla="*/ 5 w 572"/>
                <a:gd name="T39" fmla="*/ 29 h 670"/>
                <a:gd name="T40" fmla="*/ 6 w 572"/>
                <a:gd name="T41" fmla="*/ 29 h 670"/>
                <a:gd name="T42" fmla="*/ 7 w 572"/>
                <a:gd name="T43" fmla="*/ 31 h 670"/>
                <a:gd name="T44" fmla="*/ 8 w 572"/>
                <a:gd name="T45" fmla="*/ 31 h 670"/>
                <a:gd name="T46" fmla="*/ 9 w 572"/>
                <a:gd name="T47" fmla="*/ 33 h 670"/>
                <a:gd name="T48" fmla="*/ 9 w 572"/>
                <a:gd name="T49" fmla="*/ 33 h 670"/>
                <a:gd name="T50" fmla="*/ 9 w 572"/>
                <a:gd name="T51" fmla="*/ 34 h 670"/>
                <a:gd name="T52" fmla="*/ 10 w 572"/>
                <a:gd name="T53" fmla="*/ 34 h 670"/>
                <a:gd name="T54" fmla="*/ 11 w 572"/>
                <a:gd name="T55" fmla="*/ 35 h 670"/>
                <a:gd name="T56" fmla="*/ 12 w 572"/>
                <a:gd name="T57" fmla="*/ 35 h 670"/>
                <a:gd name="T58" fmla="*/ 12 w 572"/>
                <a:gd name="T59" fmla="*/ 34 h 670"/>
                <a:gd name="T60" fmla="*/ 13 w 572"/>
                <a:gd name="T61" fmla="*/ 32 h 670"/>
                <a:gd name="T62" fmla="*/ 14 w 572"/>
                <a:gd name="T63" fmla="*/ 34 h 670"/>
                <a:gd name="T64" fmla="*/ 15 w 572"/>
                <a:gd name="T65" fmla="*/ 33 h 670"/>
                <a:gd name="T66" fmla="*/ 16 w 572"/>
                <a:gd name="T67" fmla="*/ 33 h 670"/>
                <a:gd name="T68" fmla="*/ 16 w 572"/>
                <a:gd name="T69" fmla="*/ 33 h 670"/>
                <a:gd name="T70" fmla="*/ 18 w 572"/>
                <a:gd name="T71" fmla="*/ 33 h 670"/>
                <a:gd name="T72" fmla="*/ 18 w 572"/>
                <a:gd name="T73" fmla="*/ 32 h 670"/>
                <a:gd name="T74" fmla="*/ 18 w 572"/>
                <a:gd name="T75" fmla="*/ 33 h 670"/>
                <a:gd name="T76" fmla="*/ 27 w 572"/>
                <a:gd name="T77" fmla="*/ 32 h 670"/>
                <a:gd name="T78" fmla="*/ 28 w 572"/>
                <a:gd name="T79" fmla="*/ 31 h 670"/>
                <a:gd name="T80" fmla="*/ 28 w 572"/>
                <a:gd name="T81" fmla="*/ 31 h 670"/>
                <a:gd name="T82" fmla="*/ 27 w 572"/>
                <a:gd name="T83" fmla="*/ 30 h 670"/>
                <a:gd name="T84" fmla="*/ 25 w 572"/>
                <a:gd name="T85" fmla="*/ 6 h 670"/>
                <a:gd name="T86" fmla="*/ 29 w 572"/>
                <a:gd name="T87" fmla="*/ 6 h 670"/>
                <a:gd name="T88" fmla="*/ 20 w 572"/>
                <a:gd name="T89" fmla="*/ 0 h 670"/>
                <a:gd name="T90" fmla="*/ 20 w 572"/>
                <a:gd name="T91" fmla="*/ 2 h 670"/>
                <a:gd name="T92" fmla="*/ 20 w 572"/>
                <a:gd name="T93" fmla="*/ 2 h 670"/>
                <a:gd name="T94" fmla="*/ 20 w 572"/>
                <a:gd name="T95" fmla="*/ 3 h 670"/>
                <a:gd name="T96" fmla="*/ 13 w 572"/>
                <a:gd name="T97" fmla="*/ 3 h 670"/>
                <a:gd name="T98" fmla="*/ 13 w 572"/>
                <a:gd name="T99" fmla="*/ 4 h 670"/>
                <a:gd name="T100" fmla="*/ 12 w 572"/>
                <a:gd name="T101" fmla="*/ 4 h 670"/>
                <a:gd name="T102" fmla="*/ 12 w 572"/>
                <a:gd name="T103" fmla="*/ 11 h 670"/>
                <a:gd name="T104" fmla="*/ 11 w 572"/>
                <a:gd name="T105" fmla="*/ 11 h 670"/>
                <a:gd name="T106" fmla="*/ 10 w 572"/>
                <a:gd name="T107" fmla="*/ 12 h 670"/>
                <a:gd name="T108" fmla="*/ 10 w 572"/>
                <a:gd name="T109" fmla="*/ 13 h 670"/>
                <a:gd name="T110" fmla="*/ 10 w 572"/>
                <a:gd name="T111" fmla="*/ 16 h 670"/>
                <a:gd name="T112" fmla="*/ 0 w 572"/>
                <a:gd name="T113" fmla="*/ 16 h 670"/>
                <a:gd name="T114" fmla="*/ 0 w 572"/>
                <a:gd name="T115" fmla="*/ 16 h 670"/>
                <a:gd name="T116" fmla="*/ 0 w 572"/>
                <a:gd name="T117" fmla="*/ 17 h 67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72"/>
                <a:gd name="T178" fmla="*/ 0 h 670"/>
                <a:gd name="T179" fmla="*/ 572 w 572"/>
                <a:gd name="T180" fmla="*/ 670 h 67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72" h="670">
                  <a:moveTo>
                    <a:pt x="0" y="332"/>
                  </a:moveTo>
                  <a:cubicBezTo>
                    <a:pt x="0" y="332"/>
                    <a:pt x="11" y="331"/>
                    <a:pt x="11" y="336"/>
                  </a:cubicBezTo>
                  <a:cubicBezTo>
                    <a:pt x="11" y="341"/>
                    <a:pt x="11" y="354"/>
                    <a:pt x="15" y="357"/>
                  </a:cubicBezTo>
                  <a:cubicBezTo>
                    <a:pt x="19" y="360"/>
                    <a:pt x="24" y="349"/>
                    <a:pt x="24" y="349"/>
                  </a:cubicBezTo>
                  <a:cubicBezTo>
                    <a:pt x="32" y="372"/>
                    <a:pt x="32" y="372"/>
                    <a:pt x="32" y="372"/>
                  </a:cubicBezTo>
                  <a:cubicBezTo>
                    <a:pt x="30" y="403"/>
                    <a:pt x="30" y="403"/>
                    <a:pt x="30" y="403"/>
                  </a:cubicBezTo>
                  <a:cubicBezTo>
                    <a:pt x="21" y="403"/>
                    <a:pt x="21" y="403"/>
                    <a:pt x="21" y="403"/>
                  </a:cubicBezTo>
                  <a:cubicBezTo>
                    <a:pt x="24" y="417"/>
                    <a:pt x="24" y="417"/>
                    <a:pt x="24" y="417"/>
                  </a:cubicBezTo>
                  <a:cubicBezTo>
                    <a:pt x="16" y="423"/>
                    <a:pt x="16" y="423"/>
                    <a:pt x="16" y="423"/>
                  </a:cubicBezTo>
                  <a:cubicBezTo>
                    <a:pt x="16" y="423"/>
                    <a:pt x="39" y="452"/>
                    <a:pt x="39" y="470"/>
                  </a:cubicBezTo>
                  <a:cubicBezTo>
                    <a:pt x="39" y="488"/>
                    <a:pt x="33" y="509"/>
                    <a:pt x="33" y="509"/>
                  </a:cubicBezTo>
                  <a:cubicBezTo>
                    <a:pt x="31" y="538"/>
                    <a:pt x="31" y="538"/>
                    <a:pt x="31" y="538"/>
                  </a:cubicBezTo>
                  <a:cubicBezTo>
                    <a:pt x="31" y="538"/>
                    <a:pt x="15" y="555"/>
                    <a:pt x="12" y="570"/>
                  </a:cubicBezTo>
                  <a:cubicBezTo>
                    <a:pt x="10" y="579"/>
                    <a:pt x="10" y="594"/>
                    <a:pt x="10" y="605"/>
                  </a:cubicBezTo>
                  <a:cubicBezTo>
                    <a:pt x="22" y="603"/>
                    <a:pt x="19" y="579"/>
                    <a:pt x="28" y="573"/>
                  </a:cubicBezTo>
                  <a:cubicBezTo>
                    <a:pt x="37" y="567"/>
                    <a:pt x="47" y="575"/>
                    <a:pt x="47" y="575"/>
                  </a:cubicBezTo>
                  <a:cubicBezTo>
                    <a:pt x="55" y="571"/>
                    <a:pt x="55" y="571"/>
                    <a:pt x="55" y="571"/>
                  </a:cubicBezTo>
                  <a:cubicBezTo>
                    <a:pt x="78" y="572"/>
                    <a:pt x="78" y="572"/>
                    <a:pt x="78" y="572"/>
                  </a:cubicBezTo>
                  <a:cubicBezTo>
                    <a:pt x="78" y="562"/>
                    <a:pt x="78" y="562"/>
                    <a:pt x="78" y="562"/>
                  </a:cubicBezTo>
                  <a:cubicBezTo>
                    <a:pt x="91" y="569"/>
                    <a:pt x="91" y="569"/>
                    <a:pt x="91" y="569"/>
                  </a:cubicBezTo>
                  <a:cubicBezTo>
                    <a:pt x="91" y="569"/>
                    <a:pt x="105" y="570"/>
                    <a:pt x="115" y="572"/>
                  </a:cubicBezTo>
                  <a:cubicBezTo>
                    <a:pt x="125" y="574"/>
                    <a:pt x="136" y="596"/>
                    <a:pt x="136" y="596"/>
                  </a:cubicBezTo>
                  <a:cubicBezTo>
                    <a:pt x="136" y="596"/>
                    <a:pt x="150" y="592"/>
                    <a:pt x="157" y="593"/>
                  </a:cubicBezTo>
                  <a:cubicBezTo>
                    <a:pt x="164" y="594"/>
                    <a:pt x="165" y="630"/>
                    <a:pt x="165" y="630"/>
                  </a:cubicBezTo>
                  <a:cubicBezTo>
                    <a:pt x="165" y="630"/>
                    <a:pt x="176" y="631"/>
                    <a:pt x="179" y="632"/>
                  </a:cubicBezTo>
                  <a:cubicBezTo>
                    <a:pt x="182" y="633"/>
                    <a:pt x="182" y="648"/>
                    <a:pt x="182" y="648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8" y="668"/>
                    <a:pt x="208" y="668"/>
                    <a:pt x="208" y="668"/>
                  </a:cubicBezTo>
                  <a:cubicBezTo>
                    <a:pt x="208" y="668"/>
                    <a:pt x="220" y="670"/>
                    <a:pt x="228" y="667"/>
                  </a:cubicBezTo>
                  <a:cubicBezTo>
                    <a:pt x="236" y="664"/>
                    <a:pt x="233" y="654"/>
                    <a:pt x="232" y="653"/>
                  </a:cubicBezTo>
                  <a:cubicBezTo>
                    <a:pt x="232" y="634"/>
                    <a:pt x="234" y="625"/>
                    <a:pt x="247" y="625"/>
                  </a:cubicBezTo>
                  <a:cubicBezTo>
                    <a:pt x="260" y="625"/>
                    <a:pt x="272" y="650"/>
                    <a:pt x="272" y="650"/>
                  </a:cubicBezTo>
                  <a:cubicBezTo>
                    <a:pt x="282" y="633"/>
                    <a:pt x="282" y="633"/>
                    <a:pt x="282" y="633"/>
                  </a:cubicBezTo>
                  <a:cubicBezTo>
                    <a:pt x="304" y="633"/>
                    <a:pt x="304" y="633"/>
                    <a:pt x="304" y="633"/>
                  </a:cubicBezTo>
                  <a:cubicBezTo>
                    <a:pt x="310" y="639"/>
                    <a:pt x="310" y="639"/>
                    <a:pt x="310" y="639"/>
                  </a:cubicBezTo>
                  <a:cubicBezTo>
                    <a:pt x="310" y="639"/>
                    <a:pt x="327" y="636"/>
                    <a:pt x="335" y="635"/>
                  </a:cubicBezTo>
                  <a:cubicBezTo>
                    <a:pt x="343" y="634"/>
                    <a:pt x="341" y="622"/>
                    <a:pt x="345" y="621"/>
                  </a:cubicBezTo>
                  <a:cubicBezTo>
                    <a:pt x="349" y="620"/>
                    <a:pt x="349" y="631"/>
                    <a:pt x="349" y="631"/>
                  </a:cubicBezTo>
                  <a:cubicBezTo>
                    <a:pt x="526" y="628"/>
                    <a:pt x="526" y="628"/>
                    <a:pt x="526" y="628"/>
                  </a:cubicBezTo>
                  <a:cubicBezTo>
                    <a:pt x="531" y="601"/>
                    <a:pt x="531" y="601"/>
                    <a:pt x="531" y="601"/>
                  </a:cubicBezTo>
                  <a:cubicBezTo>
                    <a:pt x="531" y="601"/>
                    <a:pt x="537" y="597"/>
                    <a:pt x="536" y="590"/>
                  </a:cubicBezTo>
                  <a:cubicBezTo>
                    <a:pt x="535" y="583"/>
                    <a:pt x="522" y="577"/>
                    <a:pt x="522" y="577"/>
                  </a:cubicBezTo>
                  <a:cubicBezTo>
                    <a:pt x="491" y="118"/>
                    <a:pt x="491" y="118"/>
                    <a:pt x="491" y="118"/>
                  </a:cubicBezTo>
                  <a:cubicBezTo>
                    <a:pt x="572" y="121"/>
                    <a:pt x="572" y="121"/>
                    <a:pt x="572" y="12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2" y="38"/>
                    <a:pt x="392" y="38"/>
                    <a:pt x="392" y="38"/>
                  </a:cubicBezTo>
                  <a:cubicBezTo>
                    <a:pt x="391" y="63"/>
                    <a:pt x="391" y="63"/>
                    <a:pt x="391" y="63"/>
                  </a:cubicBezTo>
                  <a:cubicBezTo>
                    <a:pt x="243" y="64"/>
                    <a:pt x="243" y="64"/>
                    <a:pt x="243" y="64"/>
                  </a:cubicBezTo>
                  <a:cubicBezTo>
                    <a:pt x="243" y="74"/>
                    <a:pt x="243" y="74"/>
                    <a:pt x="243" y="74"/>
                  </a:cubicBezTo>
                  <a:cubicBezTo>
                    <a:pt x="238" y="77"/>
                    <a:pt x="238" y="77"/>
                    <a:pt x="238" y="77"/>
                  </a:cubicBezTo>
                  <a:cubicBezTo>
                    <a:pt x="238" y="77"/>
                    <a:pt x="237" y="201"/>
                    <a:pt x="235" y="207"/>
                  </a:cubicBezTo>
                  <a:cubicBezTo>
                    <a:pt x="233" y="213"/>
                    <a:pt x="208" y="212"/>
                    <a:pt x="208" y="212"/>
                  </a:cubicBezTo>
                  <a:cubicBezTo>
                    <a:pt x="208" y="212"/>
                    <a:pt x="200" y="213"/>
                    <a:pt x="189" y="223"/>
                  </a:cubicBezTo>
                  <a:cubicBezTo>
                    <a:pt x="178" y="233"/>
                    <a:pt x="187" y="248"/>
                    <a:pt x="187" y="248"/>
                  </a:cubicBezTo>
                  <a:cubicBezTo>
                    <a:pt x="186" y="317"/>
                    <a:pt x="186" y="317"/>
                    <a:pt x="186" y="317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6"/>
                    <a:pt x="0" y="332"/>
                    <a:pt x="0" y="33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4" name="Freeform 152">
              <a:extLst>
                <a:ext uri="{FF2B5EF4-FFF2-40B4-BE49-F238E27FC236}">
                  <a16:creationId xmlns:a16="http://schemas.microsoft.com/office/drawing/2014/main" id="{4A5C389C-1E1B-FA90-34ED-F756FDA8F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1269" y="3642937"/>
              <a:ext cx="216455" cy="170725"/>
            </a:xfrm>
            <a:custGeom>
              <a:avLst/>
              <a:gdLst>
                <a:gd name="T0" fmla="*/ 0 w 382"/>
                <a:gd name="T1" fmla="*/ 13 h 300"/>
                <a:gd name="T2" fmla="*/ 1 w 382"/>
                <a:gd name="T3" fmla="*/ 13 h 300"/>
                <a:gd name="T4" fmla="*/ 3 w 382"/>
                <a:gd name="T5" fmla="*/ 15 h 300"/>
                <a:gd name="T6" fmla="*/ 6 w 382"/>
                <a:gd name="T7" fmla="*/ 16 h 300"/>
                <a:gd name="T8" fmla="*/ 7 w 382"/>
                <a:gd name="T9" fmla="*/ 16 h 300"/>
                <a:gd name="T10" fmla="*/ 7 w 382"/>
                <a:gd name="T11" fmla="*/ 13 h 300"/>
                <a:gd name="T12" fmla="*/ 7 w 382"/>
                <a:gd name="T13" fmla="*/ 12 h 300"/>
                <a:gd name="T14" fmla="*/ 10 w 382"/>
                <a:gd name="T15" fmla="*/ 12 h 300"/>
                <a:gd name="T16" fmla="*/ 11 w 382"/>
                <a:gd name="T17" fmla="*/ 12 h 300"/>
                <a:gd name="T18" fmla="*/ 13 w 382"/>
                <a:gd name="T19" fmla="*/ 11 h 300"/>
                <a:gd name="T20" fmla="*/ 14 w 382"/>
                <a:gd name="T21" fmla="*/ 11 h 300"/>
                <a:gd name="T22" fmla="*/ 16 w 382"/>
                <a:gd name="T23" fmla="*/ 12 h 300"/>
                <a:gd name="T24" fmla="*/ 16 w 382"/>
                <a:gd name="T25" fmla="*/ 11 h 300"/>
                <a:gd name="T26" fmla="*/ 18 w 382"/>
                <a:gd name="T27" fmla="*/ 10 h 300"/>
                <a:gd name="T28" fmla="*/ 19 w 382"/>
                <a:gd name="T29" fmla="*/ 9 h 300"/>
                <a:gd name="T30" fmla="*/ 20 w 382"/>
                <a:gd name="T31" fmla="*/ 9 h 300"/>
                <a:gd name="T32" fmla="*/ 19 w 382"/>
                <a:gd name="T33" fmla="*/ 7 h 300"/>
                <a:gd name="T34" fmla="*/ 19 w 382"/>
                <a:gd name="T35" fmla="*/ 7 h 300"/>
                <a:gd name="T36" fmla="*/ 16 w 382"/>
                <a:gd name="T37" fmla="*/ 6 h 300"/>
                <a:gd name="T38" fmla="*/ 16 w 382"/>
                <a:gd name="T39" fmla="*/ 4 h 300"/>
                <a:gd name="T40" fmla="*/ 15 w 382"/>
                <a:gd name="T41" fmla="*/ 4 h 300"/>
                <a:gd name="T42" fmla="*/ 14 w 382"/>
                <a:gd name="T43" fmla="*/ 1 h 300"/>
                <a:gd name="T44" fmla="*/ 13 w 382"/>
                <a:gd name="T45" fmla="*/ 0 h 300"/>
                <a:gd name="T46" fmla="*/ 11 w 382"/>
                <a:gd name="T47" fmla="*/ 0 h 300"/>
                <a:gd name="T48" fmla="*/ 10 w 382"/>
                <a:gd name="T49" fmla="*/ 1 h 300"/>
                <a:gd name="T50" fmla="*/ 9 w 382"/>
                <a:gd name="T51" fmla="*/ 3 h 300"/>
                <a:gd name="T52" fmla="*/ 6 w 382"/>
                <a:gd name="T53" fmla="*/ 4 h 300"/>
                <a:gd name="T54" fmla="*/ 6 w 382"/>
                <a:gd name="T55" fmla="*/ 5 h 300"/>
                <a:gd name="T56" fmla="*/ 4 w 382"/>
                <a:gd name="T57" fmla="*/ 4 h 300"/>
                <a:gd name="T58" fmla="*/ 4 w 382"/>
                <a:gd name="T59" fmla="*/ 6 h 300"/>
                <a:gd name="T60" fmla="*/ 3 w 382"/>
                <a:gd name="T61" fmla="*/ 7 h 300"/>
                <a:gd name="T62" fmla="*/ 3 w 382"/>
                <a:gd name="T63" fmla="*/ 8 h 300"/>
                <a:gd name="T64" fmla="*/ 0 w 382"/>
                <a:gd name="T65" fmla="*/ 9 h 300"/>
                <a:gd name="T66" fmla="*/ 1 w 382"/>
                <a:gd name="T67" fmla="*/ 11 h 3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2"/>
                <a:gd name="T103" fmla="*/ 0 h 300"/>
                <a:gd name="T104" fmla="*/ 382 w 382"/>
                <a:gd name="T105" fmla="*/ 300 h 3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2" h="300">
                  <a:moveTo>
                    <a:pt x="0" y="209"/>
                  </a:moveTo>
                  <a:cubicBezTo>
                    <a:pt x="3" y="246"/>
                    <a:pt x="3" y="246"/>
                    <a:pt x="3" y="246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19" y="256"/>
                    <a:pt x="19" y="256"/>
                    <a:pt x="19" y="256"/>
                  </a:cubicBezTo>
                  <a:cubicBezTo>
                    <a:pt x="19" y="256"/>
                    <a:pt x="29" y="287"/>
                    <a:pt x="39" y="288"/>
                  </a:cubicBezTo>
                  <a:cubicBezTo>
                    <a:pt x="49" y="289"/>
                    <a:pt x="59" y="293"/>
                    <a:pt x="59" y="293"/>
                  </a:cubicBezTo>
                  <a:cubicBezTo>
                    <a:pt x="59" y="293"/>
                    <a:pt x="70" y="271"/>
                    <a:pt x="100" y="275"/>
                  </a:cubicBezTo>
                  <a:cubicBezTo>
                    <a:pt x="130" y="279"/>
                    <a:pt x="124" y="300"/>
                    <a:pt x="124" y="300"/>
                  </a:cubicBezTo>
                  <a:cubicBezTo>
                    <a:pt x="136" y="298"/>
                    <a:pt x="136" y="298"/>
                    <a:pt x="136" y="298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63"/>
                    <a:pt x="131" y="263"/>
                    <a:pt x="131" y="263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45"/>
                    <a:pt x="124" y="244"/>
                    <a:pt x="124" y="236"/>
                  </a:cubicBezTo>
                  <a:cubicBezTo>
                    <a:pt x="124" y="228"/>
                    <a:pt x="132" y="219"/>
                    <a:pt x="132" y="219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15" y="219"/>
                    <a:pt x="215" y="219"/>
                    <a:pt x="215" y="219"/>
                  </a:cubicBezTo>
                  <a:cubicBezTo>
                    <a:pt x="235" y="222"/>
                    <a:pt x="235" y="222"/>
                    <a:pt x="235" y="22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65" y="216"/>
                    <a:pt x="265" y="216"/>
                    <a:pt x="265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305" y="221"/>
                    <a:pt x="305" y="221"/>
                    <a:pt x="305" y="221"/>
                  </a:cubicBezTo>
                  <a:cubicBezTo>
                    <a:pt x="310" y="214"/>
                    <a:pt x="310" y="214"/>
                    <a:pt x="310" y="214"/>
                  </a:cubicBezTo>
                  <a:cubicBezTo>
                    <a:pt x="318" y="214"/>
                    <a:pt x="318" y="214"/>
                    <a:pt x="318" y="214"/>
                  </a:cubicBezTo>
                  <a:cubicBezTo>
                    <a:pt x="318" y="214"/>
                    <a:pt x="320" y="200"/>
                    <a:pt x="331" y="195"/>
                  </a:cubicBezTo>
                  <a:cubicBezTo>
                    <a:pt x="331" y="196"/>
                    <a:pt x="357" y="197"/>
                    <a:pt x="357" y="197"/>
                  </a:cubicBezTo>
                  <a:cubicBezTo>
                    <a:pt x="357" y="197"/>
                    <a:pt x="358" y="190"/>
                    <a:pt x="362" y="187"/>
                  </a:cubicBezTo>
                  <a:cubicBezTo>
                    <a:pt x="366" y="184"/>
                    <a:pt x="373" y="183"/>
                    <a:pt x="373" y="183"/>
                  </a:cubicBezTo>
                  <a:cubicBezTo>
                    <a:pt x="376" y="172"/>
                    <a:pt x="376" y="172"/>
                    <a:pt x="376" y="172"/>
                  </a:cubicBezTo>
                  <a:cubicBezTo>
                    <a:pt x="382" y="170"/>
                    <a:pt x="382" y="170"/>
                    <a:pt x="382" y="170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75" y="140"/>
                    <a:pt x="375" y="140"/>
                    <a:pt x="375" y="140"/>
                  </a:cubicBezTo>
                  <a:cubicBezTo>
                    <a:pt x="375" y="140"/>
                    <a:pt x="373" y="130"/>
                    <a:pt x="364" y="126"/>
                  </a:cubicBezTo>
                  <a:cubicBezTo>
                    <a:pt x="355" y="122"/>
                    <a:pt x="356" y="131"/>
                    <a:pt x="344" y="131"/>
                  </a:cubicBezTo>
                  <a:cubicBezTo>
                    <a:pt x="332" y="131"/>
                    <a:pt x="313" y="109"/>
                    <a:pt x="310" y="104"/>
                  </a:cubicBezTo>
                  <a:cubicBezTo>
                    <a:pt x="307" y="99"/>
                    <a:pt x="322" y="88"/>
                    <a:pt x="322" y="88"/>
                  </a:cubicBezTo>
                  <a:cubicBezTo>
                    <a:pt x="312" y="87"/>
                    <a:pt x="312" y="87"/>
                    <a:pt x="312" y="87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299" y="79"/>
                    <a:pt x="289" y="72"/>
                  </a:cubicBezTo>
                  <a:cubicBezTo>
                    <a:pt x="279" y="65"/>
                    <a:pt x="280" y="41"/>
                    <a:pt x="280" y="41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6" y="9"/>
                    <a:pt x="276" y="9"/>
                    <a:pt x="276" y="9"/>
                  </a:cubicBezTo>
                  <a:cubicBezTo>
                    <a:pt x="260" y="2"/>
                    <a:pt x="260" y="2"/>
                    <a:pt x="260" y="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0"/>
                    <a:pt x="225" y="8"/>
                    <a:pt x="215" y="12"/>
                  </a:cubicBezTo>
                  <a:cubicBezTo>
                    <a:pt x="205" y="16"/>
                    <a:pt x="201" y="14"/>
                    <a:pt x="201" y="14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2" y="49"/>
                    <a:pt x="169" y="50"/>
                  </a:cubicBezTo>
                  <a:cubicBezTo>
                    <a:pt x="166" y="51"/>
                    <a:pt x="154" y="39"/>
                    <a:pt x="148" y="41"/>
                  </a:cubicBezTo>
                  <a:cubicBezTo>
                    <a:pt x="142" y="43"/>
                    <a:pt x="125" y="72"/>
                    <a:pt x="12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2"/>
                    <a:pt x="71" y="116"/>
                    <a:pt x="69" y="121"/>
                  </a:cubicBezTo>
                  <a:cubicBezTo>
                    <a:pt x="67" y="126"/>
                    <a:pt x="55" y="124"/>
                    <a:pt x="55" y="124"/>
                  </a:cubicBezTo>
                  <a:cubicBezTo>
                    <a:pt x="55" y="124"/>
                    <a:pt x="60" y="141"/>
                    <a:pt x="57" y="145"/>
                  </a:cubicBezTo>
                  <a:cubicBezTo>
                    <a:pt x="54" y="149"/>
                    <a:pt x="47" y="150"/>
                    <a:pt x="47" y="150"/>
                  </a:cubicBezTo>
                  <a:cubicBezTo>
                    <a:pt x="47" y="150"/>
                    <a:pt x="60" y="160"/>
                    <a:pt x="48" y="161"/>
                  </a:cubicBezTo>
                  <a:cubicBezTo>
                    <a:pt x="36" y="162"/>
                    <a:pt x="21" y="165"/>
                    <a:pt x="21" y="16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15" y="209"/>
                    <a:pt x="15" y="209"/>
                    <a:pt x="15" y="209"/>
                  </a:cubicBezTo>
                  <a:lnTo>
                    <a:pt x="0" y="20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5" name="Freeform 153">
              <a:extLst>
                <a:ext uri="{FF2B5EF4-FFF2-40B4-BE49-F238E27FC236}">
                  <a16:creationId xmlns:a16="http://schemas.microsoft.com/office/drawing/2014/main" id="{61BF46C0-3B34-8067-14EC-29F2C5D3A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432" y="3775553"/>
              <a:ext cx="166152" cy="195114"/>
            </a:xfrm>
            <a:custGeom>
              <a:avLst/>
              <a:gdLst>
                <a:gd name="T0" fmla="*/ 14 w 291"/>
                <a:gd name="T1" fmla="*/ 14 h 343"/>
                <a:gd name="T2" fmla="*/ 13 w 291"/>
                <a:gd name="T3" fmla="*/ 12 h 343"/>
                <a:gd name="T4" fmla="*/ 14 w 291"/>
                <a:gd name="T5" fmla="*/ 10 h 343"/>
                <a:gd name="T6" fmla="*/ 15 w 291"/>
                <a:gd name="T7" fmla="*/ 8 h 343"/>
                <a:gd name="T8" fmla="*/ 15 w 291"/>
                <a:gd name="T9" fmla="*/ 7 h 343"/>
                <a:gd name="T10" fmla="*/ 15 w 291"/>
                <a:gd name="T11" fmla="*/ 4 h 343"/>
                <a:gd name="T12" fmla="*/ 15 w 291"/>
                <a:gd name="T13" fmla="*/ 4 h 343"/>
                <a:gd name="T14" fmla="*/ 15 w 291"/>
                <a:gd name="T15" fmla="*/ 3 h 343"/>
                <a:gd name="T16" fmla="*/ 14 w 291"/>
                <a:gd name="T17" fmla="*/ 3 h 343"/>
                <a:gd name="T18" fmla="*/ 13 w 291"/>
                <a:gd name="T19" fmla="*/ 2 h 343"/>
                <a:gd name="T20" fmla="*/ 11 w 291"/>
                <a:gd name="T21" fmla="*/ 3 h 343"/>
                <a:gd name="T22" fmla="*/ 10 w 291"/>
                <a:gd name="T23" fmla="*/ 3 h 343"/>
                <a:gd name="T24" fmla="*/ 9 w 291"/>
                <a:gd name="T25" fmla="*/ 1 h 343"/>
                <a:gd name="T26" fmla="*/ 8 w 291"/>
                <a:gd name="T27" fmla="*/ 1 h 343"/>
                <a:gd name="T28" fmla="*/ 8 w 291"/>
                <a:gd name="T29" fmla="*/ 0 h 343"/>
                <a:gd name="T30" fmla="*/ 7 w 291"/>
                <a:gd name="T31" fmla="*/ 1 h 343"/>
                <a:gd name="T32" fmla="*/ 6 w 291"/>
                <a:gd name="T33" fmla="*/ 1 h 343"/>
                <a:gd name="T34" fmla="*/ 6 w 291"/>
                <a:gd name="T35" fmla="*/ 0 h 343"/>
                <a:gd name="T36" fmla="*/ 6 w 291"/>
                <a:gd name="T37" fmla="*/ 1 h 343"/>
                <a:gd name="T38" fmla="*/ 5 w 291"/>
                <a:gd name="T39" fmla="*/ 0 h 343"/>
                <a:gd name="T40" fmla="*/ 5 w 291"/>
                <a:gd name="T41" fmla="*/ 1 h 343"/>
                <a:gd name="T42" fmla="*/ 4 w 291"/>
                <a:gd name="T43" fmla="*/ 1 h 343"/>
                <a:gd name="T44" fmla="*/ 4 w 291"/>
                <a:gd name="T45" fmla="*/ 1 h 343"/>
                <a:gd name="T46" fmla="*/ 3 w 291"/>
                <a:gd name="T47" fmla="*/ 1 h 343"/>
                <a:gd name="T48" fmla="*/ 2 w 291"/>
                <a:gd name="T49" fmla="*/ 1 h 343"/>
                <a:gd name="T50" fmla="*/ 2 w 291"/>
                <a:gd name="T51" fmla="*/ 1 h 343"/>
                <a:gd name="T52" fmla="*/ 1 w 291"/>
                <a:gd name="T53" fmla="*/ 2 h 343"/>
                <a:gd name="T54" fmla="*/ 1 w 291"/>
                <a:gd name="T55" fmla="*/ 3 h 343"/>
                <a:gd name="T56" fmla="*/ 2 w 291"/>
                <a:gd name="T57" fmla="*/ 4 h 343"/>
                <a:gd name="T58" fmla="*/ 1 w 291"/>
                <a:gd name="T59" fmla="*/ 4 h 343"/>
                <a:gd name="T60" fmla="*/ 2 w 291"/>
                <a:gd name="T61" fmla="*/ 4 h 343"/>
                <a:gd name="T62" fmla="*/ 2 w 291"/>
                <a:gd name="T63" fmla="*/ 5 h 343"/>
                <a:gd name="T64" fmla="*/ 3 w 291"/>
                <a:gd name="T65" fmla="*/ 6 h 343"/>
                <a:gd name="T66" fmla="*/ 3 w 291"/>
                <a:gd name="T67" fmla="*/ 7 h 343"/>
                <a:gd name="T68" fmla="*/ 1 w 291"/>
                <a:gd name="T69" fmla="*/ 6 h 343"/>
                <a:gd name="T70" fmla="*/ 2 w 291"/>
                <a:gd name="T71" fmla="*/ 7 h 343"/>
                <a:gd name="T72" fmla="*/ 1 w 291"/>
                <a:gd name="T73" fmla="*/ 8 h 343"/>
                <a:gd name="T74" fmla="*/ 1 w 291"/>
                <a:gd name="T75" fmla="*/ 9 h 343"/>
                <a:gd name="T76" fmla="*/ 0 w 291"/>
                <a:gd name="T77" fmla="*/ 8 h 343"/>
                <a:gd name="T78" fmla="*/ 1 w 291"/>
                <a:gd name="T79" fmla="*/ 10 h 343"/>
                <a:gd name="T80" fmla="*/ 0 w 291"/>
                <a:gd name="T81" fmla="*/ 12 h 343"/>
                <a:gd name="T82" fmla="*/ 1 w 291"/>
                <a:gd name="T83" fmla="*/ 12 h 343"/>
                <a:gd name="T84" fmla="*/ 1 w 291"/>
                <a:gd name="T85" fmla="*/ 13 h 343"/>
                <a:gd name="T86" fmla="*/ 2 w 291"/>
                <a:gd name="T87" fmla="*/ 12 h 343"/>
                <a:gd name="T88" fmla="*/ 2 w 291"/>
                <a:gd name="T89" fmla="*/ 13 h 343"/>
                <a:gd name="T90" fmla="*/ 3 w 291"/>
                <a:gd name="T91" fmla="*/ 15 h 343"/>
                <a:gd name="T92" fmla="*/ 3 w 291"/>
                <a:gd name="T93" fmla="*/ 16 h 343"/>
                <a:gd name="T94" fmla="*/ 3 w 291"/>
                <a:gd name="T95" fmla="*/ 18 h 343"/>
                <a:gd name="T96" fmla="*/ 3 w 291"/>
                <a:gd name="T97" fmla="*/ 17 h 343"/>
                <a:gd name="T98" fmla="*/ 4 w 291"/>
                <a:gd name="T99" fmla="*/ 17 h 343"/>
                <a:gd name="T100" fmla="*/ 4 w 291"/>
                <a:gd name="T101" fmla="*/ 17 h 343"/>
                <a:gd name="T102" fmla="*/ 8 w 291"/>
                <a:gd name="T103" fmla="*/ 16 h 343"/>
                <a:gd name="T104" fmla="*/ 9 w 291"/>
                <a:gd name="T105" fmla="*/ 15 h 343"/>
                <a:gd name="T106" fmla="*/ 12 w 291"/>
                <a:gd name="T107" fmla="*/ 15 h 343"/>
                <a:gd name="T108" fmla="*/ 12 w 291"/>
                <a:gd name="T109" fmla="*/ 16 h 343"/>
                <a:gd name="T110" fmla="*/ 13 w 291"/>
                <a:gd name="T111" fmla="*/ 15 h 343"/>
                <a:gd name="T112" fmla="*/ 14 w 291"/>
                <a:gd name="T113" fmla="*/ 16 h 343"/>
                <a:gd name="T114" fmla="*/ 15 w 291"/>
                <a:gd name="T115" fmla="*/ 16 h 343"/>
                <a:gd name="T116" fmla="*/ 15 w 291"/>
                <a:gd name="T117" fmla="*/ 14 h 343"/>
                <a:gd name="T118" fmla="*/ 14 w 291"/>
                <a:gd name="T119" fmla="*/ 14 h 34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1"/>
                <a:gd name="T181" fmla="*/ 0 h 343"/>
                <a:gd name="T182" fmla="*/ 291 w 291"/>
                <a:gd name="T183" fmla="*/ 343 h 34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1" h="343">
                  <a:moveTo>
                    <a:pt x="266" y="269"/>
                  </a:moveTo>
                  <a:cubicBezTo>
                    <a:pt x="266" y="269"/>
                    <a:pt x="253" y="233"/>
                    <a:pt x="253" y="219"/>
                  </a:cubicBezTo>
                  <a:cubicBezTo>
                    <a:pt x="253" y="205"/>
                    <a:pt x="273" y="187"/>
                    <a:pt x="273" y="187"/>
                  </a:cubicBezTo>
                  <a:cubicBezTo>
                    <a:pt x="273" y="187"/>
                    <a:pt x="274" y="165"/>
                    <a:pt x="274" y="157"/>
                  </a:cubicBezTo>
                  <a:cubicBezTo>
                    <a:pt x="274" y="149"/>
                    <a:pt x="291" y="142"/>
                    <a:pt x="291" y="130"/>
                  </a:cubicBezTo>
                  <a:cubicBezTo>
                    <a:pt x="291" y="118"/>
                    <a:pt x="279" y="84"/>
                    <a:pt x="279" y="84"/>
                  </a:cubicBezTo>
                  <a:cubicBezTo>
                    <a:pt x="287" y="83"/>
                    <a:pt x="287" y="83"/>
                    <a:pt x="287" y="8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71" y="66"/>
                    <a:pt x="277" y="45"/>
                    <a:pt x="247" y="41"/>
                  </a:cubicBezTo>
                  <a:cubicBezTo>
                    <a:pt x="217" y="37"/>
                    <a:pt x="206" y="59"/>
                    <a:pt x="206" y="59"/>
                  </a:cubicBezTo>
                  <a:cubicBezTo>
                    <a:pt x="206" y="59"/>
                    <a:pt x="196" y="55"/>
                    <a:pt x="186" y="54"/>
                  </a:cubicBezTo>
                  <a:cubicBezTo>
                    <a:pt x="176" y="53"/>
                    <a:pt x="166" y="22"/>
                    <a:pt x="166" y="22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5" y="12"/>
                    <a:pt x="131" y="26"/>
                    <a:pt x="131" y="26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71" y="17"/>
                    <a:pt x="55" y="15"/>
                  </a:cubicBezTo>
                  <a:cubicBezTo>
                    <a:pt x="39" y="13"/>
                    <a:pt x="42" y="30"/>
                    <a:pt x="42" y="3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33" y="95"/>
                    <a:pt x="34" y="103"/>
                  </a:cubicBezTo>
                  <a:cubicBezTo>
                    <a:pt x="35" y="111"/>
                    <a:pt x="50" y="106"/>
                    <a:pt x="50" y="113"/>
                  </a:cubicBezTo>
                  <a:cubicBezTo>
                    <a:pt x="50" y="120"/>
                    <a:pt x="49" y="126"/>
                    <a:pt x="49" y="126"/>
                  </a:cubicBezTo>
                  <a:cubicBezTo>
                    <a:pt x="49" y="126"/>
                    <a:pt x="19" y="112"/>
                    <a:pt x="19" y="122"/>
                  </a:cubicBezTo>
                  <a:cubicBezTo>
                    <a:pt x="19" y="132"/>
                    <a:pt x="37" y="145"/>
                    <a:pt x="37" y="145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5" y="148"/>
                    <a:pt x="32" y="166"/>
                    <a:pt x="25" y="169"/>
                  </a:cubicBezTo>
                  <a:cubicBezTo>
                    <a:pt x="19" y="171"/>
                    <a:pt x="9" y="164"/>
                    <a:pt x="2" y="162"/>
                  </a:cubicBezTo>
                  <a:cubicBezTo>
                    <a:pt x="7" y="172"/>
                    <a:pt x="15" y="186"/>
                    <a:pt x="15" y="196"/>
                  </a:cubicBezTo>
                  <a:cubicBezTo>
                    <a:pt x="15" y="211"/>
                    <a:pt x="0" y="225"/>
                    <a:pt x="1" y="228"/>
                  </a:cubicBezTo>
                  <a:cubicBezTo>
                    <a:pt x="2" y="231"/>
                    <a:pt x="14" y="230"/>
                    <a:pt x="14" y="230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38" y="236"/>
                    <a:pt x="38" y="236"/>
                    <a:pt x="38" y="236"/>
                  </a:cubicBezTo>
                  <a:cubicBezTo>
                    <a:pt x="39" y="253"/>
                    <a:pt x="39" y="253"/>
                    <a:pt x="39" y="253"/>
                  </a:cubicBezTo>
                  <a:cubicBezTo>
                    <a:pt x="39" y="253"/>
                    <a:pt x="60" y="269"/>
                    <a:pt x="60" y="282"/>
                  </a:cubicBezTo>
                  <a:cubicBezTo>
                    <a:pt x="60" y="295"/>
                    <a:pt x="50" y="316"/>
                    <a:pt x="50" y="316"/>
                  </a:cubicBezTo>
                  <a:cubicBezTo>
                    <a:pt x="51" y="343"/>
                    <a:pt x="51" y="343"/>
                    <a:pt x="51" y="343"/>
                  </a:cubicBezTo>
                  <a:cubicBezTo>
                    <a:pt x="63" y="341"/>
                    <a:pt x="66" y="331"/>
                    <a:pt x="66" y="331"/>
                  </a:cubicBezTo>
                  <a:cubicBezTo>
                    <a:pt x="75" y="331"/>
                    <a:pt x="75" y="331"/>
                    <a:pt x="75" y="331"/>
                  </a:cubicBezTo>
                  <a:cubicBezTo>
                    <a:pt x="85" y="323"/>
                    <a:pt x="85" y="323"/>
                    <a:pt x="85" y="323"/>
                  </a:cubicBezTo>
                  <a:cubicBezTo>
                    <a:pt x="85" y="323"/>
                    <a:pt x="131" y="298"/>
                    <a:pt x="151" y="300"/>
                  </a:cubicBezTo>
                  <a:cubicBezTo>
                    <a:pt x="171" y="302"/>
                    <a:pt x="178" y="296"/>
                    <a:pt x="178" y="296"/>
                  </a:cubicBezTo>
                  <a:cubicBezTo>
                    <a:pt x="178" y="296"/>
                    <a:pt x="209" y="285"/>
                    <a:pt x="218" y="290"/>
                  </a:cubicBezTo>
                  <a:cubicBezTo>
                    <a:pt x="227" y="295"/>
                    <a:pt x="229" y="300"/>
                    <a:pt x="236" y="299"/>
                  </a:cubicBezTo>
                  <a:cubicBezTo>
                    <a:pt x="243" y="298"/>
                    <a:pt x="256" y="289"/>
                    <a:pt x="256" y="289"/>
                  </a:cubicBezTo>
                  <a:cubicBezTo>
                    <a:pt x="256" y="289"/>
                    <a:pt x="257" y="299"/>
                    <a:pt x="273" y="306"/>
                  </a:cubicBezTo>
                  <a:cubicBezTo>
                    <a:pt x="277" y="308"/>
                    <a:pt x="281" y="309"/>
                    <a:pt x="285" y="310"/>
                  </a:cubicBezTo>
                  <a:cubicBezTo>
                    <a:pt x="284" y="275"/>
                    <a:pt x="284" y="275"/>
                    <a:pt x="284" y="275"/>
                  </a:cubicBezTo>
                  <a:lnTo>
                    <a:pt x="266" y="26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6" name="Freeform 154">
              <a:extLst>
                <a:ext uri="{FF2B5EF4-FFF2-40B4-BE49-F238E27FC236}">
                  <a16:creationId xmlns:a16="http://schemas.microsoft.com/office/drawing/2014/main" id="{FA71E5F6-1E1B-0E5B-D7E3-6CBC99BDF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8276" y="3383801"/>
              <a:ext cx="422239" cy="359741"/>
            </a:xfrm>
            <a:custGeom>
              <a:avLst/>
              <a:gdLst>
                <a:gd name="T0" fmla="*/ 2 w 741"/>
                <a:gd name="T1" fmla="*/ 29 h 628"/>
                <a:gd name="T2" fmla="*/ 2 w 741"/>
                <a:gd name="T3" fmla="*/ 30 h 628"/>
                <a:gd name="T4" fmla="*/ 4 w 741"/>
                <a:gd name="T5" fmla="*/ 31 h 628"/>
                <a:gd name="T6" fmla="*/ 4 w 741"/>
                <a:gd name="T7" fmla="*/ 32 h 628"/>
                <a:gd name="T8" fmla="*/ 5 w 741"/>
                <a:gd name="T9" fmla="*/ 32 h 628"/>
                <a:gd name="T10" fmla="*/ 7 w 741"/>
                <a:gd name="T11" fmla="*/ 33 h 628"/>
                <a:gd name="T12" fmla="*/ 8 w 741"/>
                <a:gd name="T13" fmla="*/ 32 h 628"/>
                <a:gd name="T14" fmla="*/ 9 w 741"/>
                <a:gd name="T15" fmla="*/ 29 h 628"/>
                <a:gd name="T16" fmla="*/ 12 w 741"/>
                <a:gd name="T17" fmla="*/ 28 h 628"/>
                <a:gd name="T18" fmla="*/ 14 w 741"/>
                <a:gd name="T19" fmla="*/ 28 h 628"/>
                <a:gd name="T20" fmla="*/ 16 w 741"/>
                <a:gd name="T21" fmla="*/ 29 h 628"/>
                <a:gd name="T22" fmla="*/ 19 w 741"/>
                <a:gd name="T23" fmla="*/ 29 h 628"/>
                <a:gd name="T24" fmla="*/ 23 w 741"/>
                <a:gd name="T25" fmla="*/ 31 h 628"/>
                <a:gd name="T26" fmla="*/ 29 w 741"/>
                <a:gd name="T27" fmla="*/ 30 h 628"/>
                <a:gd name="T28" fmla="*/ 31 w 741"/>
                <a:gd name="T29" fmla="*/ 29 h 628"/>
                <a:gd name="T30" fmla="*/ 33 w 741"/>
                <a:gd name="T31" fmla="*/ 28 h 628"/>
                <a:gd name="T32" fmla="*/ 33 w 741"/>
                <a:gd name="T33" fmla="*/ 26 h 628"/>
                <a:gd name="T34" fmla="*/ 34 w 741"/>
                <a:gd name="T35" fmla="*/ 23 h 628"/>
                <a:gd name="T36" fmla="*/ 38 w 741"/>
                <a:gd name="T37" fmla="*/ 10 h 628"/>
                <a:gd name="T38" fmla="*/ 38 w 741"/>
                <a:gd name="T39" fmla="*/ 8 h 628"/>
                <a:gd name="T40" fmla="*/ 37 w 741"/>
                <a:gd name="T41" fmla="*/ 6 h 628"/>
                <a:gd name="T42" fmla="*/ 36 w 741"/>
                <a:gd name="T43" fmla="*/ 2 h 628"/>
                <a:gd name="T44" fmla="*/ 33 w 741"/>
                <a:gd name="T45" fmla="*/ 1 h 628"/>
                <a:gd name="T46" fmla="*/ 29 w 741"/>
                <a:gd name="T47" fmla="*/ 0 h 628"/>
                <a:gd name="T48" fmla="*/ 14 w 741"/>
                <a:gd name="T49" fmla="*/ 12 h 628"/>
                <a:gd name="T50" fmla="*/ 10 w 741"/>
                <a:gd name="T51" fmla="*/ 20 h 628"/>
                <a:gd name="T52" fmla="*/ 8 w 741"/>
                <a:gd name="T53" fmla="*/ 23 h 628"/>
                <a:gd name="T54" fmla="*/ 6 w 741"/>
                <a:gd name="T55" fmla="*/ 23 h 628"/>
                <a:gd name="T56" fmla="*/ 5 w 741"/>
                <a:gd name="T57" fmla="*/ 24 h 628"/>
                <a:gd name="T58" fmla="*/ 1 w 741"/>
                <a:gd name="T59" fmla="*/ 24 h 628"/>
                <a:gd name="T60" fmla="*/ 0 w 741"/>
                <a:gd name="T61" fmla="*/ 26 h 628"/>
                <a:gd name="T62" fmla="*/ 1 w 741"/>
                <a:gd name="T63" fmla="*/ 28 h 62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41"/>
                <a:gd name="T97" fmla="*/ 0 h 628"/>
                <a:gd name="T98" fmla="*/ 741 w 741"/>
                <a:gd name="T99" fmla="*/ 628 h 62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41" h="628">
                  <a:moveTo>
                    <a:pt x="35" y="531"/>
                  </a:moveTo>
                  <a:cubicBezTo>
                    <a:pt x="36" y="540"/>
                    <a:pt x="36" y="540"/>
                    <a:pt x="36" y="540"/>
                  </a:cubicBezTo>
                  <a:cubicBezTo>
                    <a:pt x="46" y="541"/>
                    <a:pt x="46" y="541"/>
                    <a:pt x="46" y="541"/>
                  </a:cubicBezTo>
                  <a:cubicBezTo>
                    <a:pt x="46" y="541"/>
                    <a:pt x="31" y="552"/>
                    <a:pt x="34" y="557"/>
                  </a:cubicBezTo>
                  <a:cubicBezTo>
                    <a:pt x="37" y="562"/>
                    <a:pt x="56" y="584"/>
                    <a:pt x="68" y="584"/>
                  </a:cubicBezTo>
                  <a:cubicBezTo>
                    <a:pt x="80" y="584"/>
                    <a:pt x="79" y="575"/>
                    <a:pt x="88" y="579"/>
                  </a:cubicBezTo>
                  <a:cubicBezTo>
                    <a:pt x="97" y="583"/>
                    <a:pt x="99" y="593"/>
                    <a:pt x="99" y="593"/>
                  </a:cubicBezTo>
                  <a:cubicBezTo>
                    <a:pt x="84" y="598"/>
                    <a:pt x="84" y="598"/>
                    <a:pt x="84" y="598"/>
                  </a:cubicBezTo>
                  <a:cubicBezTo>
                    <a:pt x="99" y="620"/>
                    <a:pt x="99" y="620"/>
                    <a:pt x="99" y="620"/>
                  </a:cubicBezTo>
                  <a:cubicBezTo>
                    <a:pt x="102" y="604"/>
                    <a:pt x="102" y="604"/>
                    <a:pt x="102" y="604"/>
                  </a:cubicBezTo>
                  <a:cubicBezTo>
                    <a:pt x="119" y="597"/>
                    <a:pt x="119" y="597"/>
                    <a:pt x="119" y="597"/>
                  </a:cubicBezTo>
                  <a:cubicBezTo>
                    <a:pt x="119" y="597"/>
                    <a:pt x="136" y="616"/>
                    <a:pt x="141" y="619"/>
                  </a:cubicBezTo>
                  <a:cubicBezTo>
                    <a:pt x="146" y="622"/>
                    <a:pt x="162" y="628"/>
                    <a:pt x="162" y="628"/>
                  </a:cubicBezTo>
                  <a:cubicBezTo>
                    <a:pt x="159" y="594"/>
                    <a:pt x="159" y="594"/>
                    <a:pt x="159" y="594"/>
                  </a:cubicBezTo>
                  <a:cubicBezTo>
                    <a:pt x="159" y="594"/>
                    <a:pt x="181" y="583"/>
                    <a:pt x="182" y="568"/>
                  </a:cubicBezTo>
                  <a:cubicBezTo>
                    <a:pt x="183" y="553"/>
                    <a:pt x="183" y="542"/>
                    <a:pt x="183" y="542"/>
                  </a:cubicBezTo>
                  <a:cubicBezTo>
                    <a:pt x="202" y="525"/>
                    <a:pt x="202" y="525"/>
                    <a:pt x="202" y="525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36" y="526"/>
                    <a:pt x="235" y="520"/>
                    <a:pt x="249" y="519"/>
                  </a:cubicBezTo>
                  <a:cubicBezTo>
                    <a:pt x="263" y="518"/>
                    <a:pt x="262" y="528"/>
                    <a:pt x="269" y="529"/>
                  </a:cubicBezTo>
                  <a:cubicBezTo>
                    <a:pt x="276" y="530"/>
                    <a:pt x="288" y="530"/>
                    <a:pt x="288" y="530"/>
                  </a:cubicBezTo>
                  <a:cubicBezTo>
                    <a:pt x="305" y="544"/>
                    <a:pt x="305" y="544"/>
                    <a:pt x="305" y="544"/>
                  </a:cubicBezTo>
                  <a:cubicBezTo>
                    <a:pt x="305" y="544"/>
                    <a:pt x="310" y="566"/>
                    <a:pt x="319" y="565"/>
                  </a:cubicBezTo>
                  <a:cubicBezTo>
                    <a:pt x="328" y="564"/>
                    <a:pt x="352" y="544"/>
                    <a:pt x="364" y="544"/>
                  </a:cubicBezTo>
                  <a:cubicBezTo>
                    <a:pt x="376" y="544"/>
                    <a:pt x="388" y="572"/>
                    <a:pt x="407" y="573"/>
                  </a:cubicBezTo>
                  <a:cubicBezTo>
                    <a:pt x="426" y="574"/>
                    <a:pt x="442" y="578"/>
                    <a:pt x="442" y="578"/>
                  </a:cubicBezTo>
                  <a:cubicBezTo>
                    <a:pt x="442" y="578"/>
                    <a:pt x="454" y="543"/>
                    <a:pt x="496" y="543"/>
                  </a:cubicBezTo>
                  <a:cubicBezTo>
                    <a:pt x="538" y="543"/>
                    <a:pt x="554" y="557"/>
                    <a:pt x="554" y="557"/>
                  </a:cubicBezTo>
                  <a:cubicBezTo>
                    <a:pt x="572" y="558"/>
                    <a:pt x="572" y="558"/>
                    <a:pt x="572" y="558"/>
                  </a:cubicBezTo>
                  <a:cubicBezTo>
                    <a:pt x="572" y="558"/>
                    <a:pt x="590" y="545"/>
                    <a:pt x="597" y="541"/>
                  </a:cubicBezTo>
                  <a:cubicBezTo>
                    <a:pt x="604" y="537"/>
                    <a:pt x="613" y="540"/>
                    <a:pt x="613" y="540"/>
                  </a:cubicBezTo>
                  <a:cubicBezTo>
                    <a:pt x="613" y="540"/>
                    <a:pt x="617" y="526"/>
                    <a:pt x="621" y="526"/>
                  </a:cubicBezTo>
                  <a:cubicBezTo>
                    <a:pt x="622" y="526"/>
                    <a:pt x="623" y="526"/>
                    <a:pt x="624" y="526"/>
                  </a:cubicBezTo>
                  <a:cubicBezTo>
                    <a:pt x="621" y="484"/>
                    <a:pt x="621" y="484"/>
                    <a:pt x="621" y="484"/>
                  </a:cubicBezTo>
                  <a:cubicBezTo>
                    <a:pt x="634" y="479"/>
                    <a:pt x="634" y="479"/>
                    <a:pt x="634" y="479"/>
                  </a:cubicBezTo>
                  <a:cubicBezTo>
                    <a:pt x="634" y="479"/>
                    <a:pt x="644" y="442"/>
                    <a:pt x="656" y="426"/>
                  </a:cubicBezTo>
                  <a:cubicBezTo>
                    <a:pt x="667" y="409"/>
                    <a:pt x="717" y="356"/>
                    <a:pt x="717" y="356"/>
                  </a:cubicBezTo>
                  <a:cubicBezTo>
                    <a:pt x="727" y="194"/>
                    <a:pt x="727" y="194"/>
                    <a:pt x="727" y="194"/>
                  </a:cubicBezTo>
                  <a:cubicBezTo>
                    <a:pt x="741" y="169"/>
                    <a:pt x="741" y="169"/>
                    <a:pt x="741" y="169"/>
                  </a:cubicBezTo>
                  <a:cubicBezTo>
                    <a:pt x="721" y="145"/>
                    <a:pt x="721" y="145"/>
                    <a:pt x="721" y="145"/>
                  </a:cubicBezTo>
                  <a:cubicBezTo>
                    <a:pt x="716" y="129"/>
                    <a:pt x="716" y="129"/>
                    <a:pt x="716" y="129"/>
                  </a:cubicBezTo>
                  <a:cubicBezTo>
                    <a:pt x="697" y="105"/>
                    <a:pt x="697" y="105"/>
                    <a:pt x="697" y="105"/>
                  </a:cubicBezTo>
                  <a:cubicBezTo>
                    <a:pt x="704" y="72"/>
                    <a:pt x="704" y="72"/>
                    <a:pt x="704" y="72"/>
                  </a:cubicBezTo>
                  <a:cubicBezTo>
                    <a:pt x="692" y="28"/>
                    <a:pt x="692" y="28"/>
                    <a:pt x="692" y="28"/>
                  </a:cubicBezTo>
                  <a:cubicBezTo>
                    <a:pt x="676" y="37"/>
                    <a:pt x="661" y="44"/>
                    <a:pt x="657" y="45"/>
                  </a:cubicBezTo>
                  <a:cubicBezTo>
                    <a:pt x="646" y="46"/>
                    <a:pt x="630" y="18"/>
                    <a:pt x="623" y="16"/>
                  </a:cubicBezTo>
                  <a:cubicBezTo>
                    <a:pt x="616" y="14"/>
                    <a:pt x="576" y="6"/>
                    <a:pt x="576" y="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364" y="136"/>
                    <a:pt x="342" y="151"/>
                  </a:cubicBezTo>
                  <a:cubicBezTo>
                    <a:pt x="320" y="166"/>
                    <a:pt x="275" y="219"/>
                    <a:pt x="261" y="221"/>
                  </a:cubicBezTo>
                  <a:cubicBezTo>
                    <a:pt x="251" y="222"/>
                    <a:pt x="210" y="231"/>
                    <a:pt x="190" y="235"/>
                  </a:cubicBezTo>
                  <a:cubicBezTo>
                    <a:pt x="190" y="372"/>
                    <a:pt x="190" y="372"/>
                    <a:pt x="190" y="372"/>
                  </a:cubicBezTo>
                  <a:cubicBezTo>
                    <a:pt x="175" y="387"/>
                    <a:pt x="175" y="387"/>
                    <a:pt x="175" y="387"/>
                  </a:cubicBezTo>
                  <a:cubicBezTo>
                    <a:pt x="175" y="387"/>
                    <a:pt x="175" y="420"/>
                    <a:pt x="160" y="427"/>
                  </a:cubicBezTo>
                  <a:cubicBezTo>
                    <a:pt x="138" y="438"/>
                    <a:pt x="131" y="432"/>
                    <a:pt x="131" y="432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93" y="435"/>
                    <a:pt x="93" y="435"/>
                    <a:pt x="93" y="435"/>
                  </a:cubicBezTo>
                  <a:cubicBezTo>
                    <a:pt x="92" y="444"/>
                    <a:pt x="92" y="444"/>
                    <a:pt x="92" y="444"/>
                  </a:cubicBezTo>
                  <a:cubicBezTo>
                    <a:pt x="50" y="443"/>
                    <a:pt x="50" y="443"/>
                    <a:pt x="50" y="443"/>
                  </a:cubicBezTo>
                  <a:cubicBezTo>
                    <a:pt x="32" y="455"/>
                    <a:pt x="32" y="455"/>
                    <a:pt x="32" y="455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1" y="485"/>
                    <a:pt x="1" y="485"/>
                    <a:pt x="1" y="485"/>
                  </a:cubicBezTo>
                  <a:cubicBezTo>
                    <a:pt x="4" y="494"/>
                    <a:pt x="4" y="494"/>
                    <a:pt x="4" y="494"/>
                  </a:cubicBezTo>
                  <a:cubicBezTo>
                    <a:pt x="4" y="494"/>
                    <a:pt x="3" y="518"/>
                    <a:pt x="13" y="525"/>
                  </a:cubicBezTo>
                  <a:cubicBezTo>
                    <a:pt x="23" y="532"/>
                    <a:pt x="35" y="531"/>
                    <a:pt x="35" y="53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7" name="Freeform 155">
              <a:extLst>
                <a:ext uri="{FF2B5EF4-FFF2-40B4-BE49-F238E27FC236}">
                  <a16:creationId xmlns:a16="http://schemas.microsoft.com/office/drawing/2014/main" id="{215656D6-4620-3220-9F73-D01224E56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7833" y="3767932"/>
              <a:ext cx="347547" cy="266758"/>
            </a:xfrm>
            <a:custGeom>
              <a:avLst/>
              <a:gdLst>
                <a:gd name="T0" fmla="*/ 30 w 614"/>
                <a:gd name="T1" fmla="*/ 14 h 467"/>
                <a:gd name="T2" fmla="*/ 29 w 614"/>
                <a:gd name="T3" fmla="*/ 13 h 467"/>
                <a:gd name="T4" fmla="*/ 29 w 614"/>
                <a:gd name="T5" fmla="*/ 12 h 467"/>
                <a:gd name="T6" fmla="*/ 28 w 614"/>
                <a:gd name="T7" fmla="*/ 10 h 467"/>
                <a:gd name="T8" fmla="*/ 27 w 614"/>
                <a:gd name="T9" fmla="*/ 9 h 467"/>
                <a:gd name="T10" fmla="*/ 26 w 614"/>
                <a:gd name="T11" fmla="*/ 8 h 467"/>
                <a:gd name="T12" fmla="*/ 24 w 614"/>
                <a:gd name="T13" fmla="*/ 7 h 467"/>
                <a:gd name="T14" fmla="*/ 22 w 614"/>
                <a:gd name="T15" fmla="*/ 6 h 467"/>
                <a:gd name="T16" fmla="*/ 22 w 614"/>
                <a:gd name="T17" fmla="*/ 5 h 467"/>
                <a:gd name="T18" fmla="*/ 20 w 614"/>
                <a:gd name="T19" fmla="*/ 0 h 467"/>
                <a:gd name="T20" fmla="*/ 20 w 614"/>
                <a:gd name="T21" fmla="*/ 0 h 467"/>
                <a:gd name="T22" fmla="*/ 18 w 614"/>
                <a:gd name="T23" fmla="*/ 2 h 467"/>
                <a:gd name="T24" fmla="*/ 16 w 614"/>
                <a:gd name="T25" fmla="*/ 3 h 467"/>
                <a:gd name="T26" fmla="*/ 11 w 614"/>
                <a:gd name="T27" fmla="*/ 6 h 467"/>
                <a:gd name="T28" fmla="*/ 12 w 614"/>
                <a:gd name="T29" fmla="*/ 7 h 467"/>
                <a:gd name="T30" fmla="*/ 8 w 614"/>
                <a:gd name="T31" fmla="*/ 8 h 467"/>
                <a:gd name="T32" fmla="*/ 6 w 614"/>
                <a:gd name="T33" fmla="*/ 9 h 467"/>
                <a:gd name="T34" fmla="*/ 3 w 614"/>
                <a:gd name="T35" fmla="*/ 10 h 467"/>
                <a:gd name="T36" fmla="*/ 2 w 614"/>
                <a:gd name="T37" fmla="*/ 12 h 467"/>
                <a:gd name="T38" fmla="*/ 1 w 614"/>
                <a:gd name="T39" fmla="*/ 13 h 467"/>
                <a:gd name="T40" fmla="*/ 1 w 614"/>
                <a:gd name="T41" fmla="*/ 14 h 467"/>
                <a:gd name="T42" fmla="*/ 0 w 614"/>
                <a:gd name="T43" fmla="*/ 16 h 467"/>
                <a:gd name="T44" fmla="*/ 1 w 614"/>
                <a:gd name="T45" fmla="*/ 18 h 467"/>
                <a:gd name="T46" fmla="*/ 2 w 614"/>
                <a:gd name="T47" fmla="*/ 20 h 467"/>
                <a:gd name="T48" fmla="*/ 4 w 614"/>
                <a:gd name="T49" fmla="*/ 22 h 467"/>
                <a:gd name="T50" fmla="*/ 4 w 614"/>
                <a:gd name="T51" fmla="*/ 24 h 467"/>
                <a:gd name="T52" fmla="*/ 5 w 614"/>
                <a:gd name="T53" fmla="*/ 23 h 467"/>
                <a:gd name="T54" fmla="*/ 6 w 614"/>
                <a:gd name="T55" fmla="*/ 21 h 467"/>
                <a:gd name="T56" fmla="*/ 7 w 614"/>
                <a:gd name="T57" fmla="*/ 21 h 467"/>
                <a:gd name="T58" fmla="*/ 10 w 614"/>
                <a:gd name="T59" fmla="*/ 21 h 467"/>
                <a:gd name="T60" fmla="*/ 10 w 614"/>
                <a:gd name="T61" fmla="*/ 19 h 467"/>
                <a:gd name="T62" fmla="*/ 11 w 614"/>
                <a:gd name="T63" fmla="*/ 18 h 467"/>
                <a:gd name="T64" fmla="*/ 14 w 614"/>
                <a:gd name="T65" fmla="*/ 17 h 467"/>
                <a:gd name="T66" fmla="*/ 15 w 614"/>
                <a:gd name="T67" fmla="*/ 18 h 467"/>
                <a:gd name="T68" fmla="*/ 17 w 614"/>
                <a:gd name="T69" fmla="*/ 19 h 467"/>
                <a:gd name="T70" fmla="*/ 20 w 614"/>
                <a:gd name="T71" fmla="*/ 19 h 467"/>
                <a:gd name="T72" fmla="*/ 21 w 614"/>
                <a:gd name="T73" fmla="*/ 17 h 467"/>
                <a:gd name="T74" fmla="*/ 23 w 614"/>
                <a:gd name="T75" fmla="*/ 17 h 467"/>
                <a:gd name="T76" fmla="*/ 25 w 614"/>
                <a:gd name="T77" fmla="*/ 16 h 467"/>
                <a:gd name="T78" fmla="*/ 26 w 614"/>
                <a:gd name="T79" fmla="*/ 17 h 467"/>
                <a:gd name="T80" fmla="*/ 27 w 614"/>
                <a:gd name="T81" fmla="*/ 16 h 467"/>
                <a:gd name="T82" fmla="*/ 30 w 614"/>
                <a:gd name="T83" fmla="*/ 17 h 467"/>
                <a:gd name="T84" fmla="*/ 31 w 614"/>
                <a:gd name="T85" fmla="*/ 15 h 46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4"/>
                <a:gd name="T130" fmla="*/ 0 h 467"/>
                <a:gd name="T131" fmla="*/ 614 w 614"/>
                <a:gd name="T132" fmla="*/ 467 h 46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4" h="467">
                  <a:moveTo>
                    <a:pt x="606" y="281"/>
                  </a:moveTo>
                  <a:cubicBezTo>
                    <a:pt x="598" y="273"/>
                    <a:pt x="589" y="267"/>
                    <a:pt x="589" y="267"/>
                  </a:cubicBezTo>
                  <a:cubicBezTo>
                    <a:pt x="574" y="266"/>
                    <a:pt x="574" y="266"/>
                    <a:pt x="574" y="266"/>
                  </a:cubicBezTo>
                  <a:cubicBezTo>
                    <a:pt x="575" y="253"/>
                    <a:pt x="575" y="253"/>
                    <a:pt x="575" y="253"/>
                  </a:cubicBezTo>
                  <a:cubicBezTo>
                    <a:pt x="575" y="253"/>
                    <a:pt x="568" y="250"/>
                    <a:pt x="567" y="244"/>
                  </a:cubicBezTo>
                  <a:cubicBezTo>
                    <a:pt x="566" y="238"/>
                    <a:pt x="573" y="244"/>
                    <a:pt x="573" y="236"/>
                  </a:cubicBezTo>
                  <a:cubicBezTo>
                    <a:pt x="573" y="228"/>
                    <a:pt x="558" y="227"/>
                    <a:pt x="558" y="227"/>
                  </a:cubicBezTo>
                  <a:cubicBezTo>
                    <a:pt x="558" y="227"/>
                    <a:pt x="549" y="204"/>
                    <a:pt x="542" y="203"/>
                  </a:cubicBezTo>
                  <a:cubicBezTo>
                    <a:pt x="535" y="202"/>
                    <a:pt x="521" y="200"/>
                    <a:pt x="515" y="190"/>
                  </a:cubicBezTo>
                  <a:cubicBezTo>
                    <a:pt x="509" y="180"/>
                    <a:pt x="524" y="186"/>
                    <a:pt x="521" y="175"/>
                  </a:cubicBezTo>
                  <a:cubicBezTo>
                    <a:pt x="518" y="164"/>
                    <a:pt x="502" y="165"/>
                    <a:pt x="502" y="165"/>
                  </a:cubicBezTo>
                  <a:cubicBezTo>
                    <a:pt x="502" y="152"/>
                    <a:pt x="502" y="152"/>
                    <a:pt x="502" y="152"/>
                  </a:cubicBezTo>
                  <a:cubicBezTo>
                    <a:pt x="502" y="152"/>
                    <a:pt x="472" y="154"/>
                    <a:pt x="466" y="146"/>
                  </a:cubicBezTo>
                  <a:cubicBezTo>
                    <a:pt x="460" y="138"/>
                    <a:pt x="467" y="130"/>
                    <a:pt x="467" y="130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33" y="120"/>
                    <a:pt x="433" y="120"/>
                    <a:pt x="433" y="120"/>
                  </a:cubicBezTo>
                  <a:cubicBezTo>
                    <a:pt x="439" y="109"/>
                    <a:pt x="439" y="109"/>
                    <a:pt x="439" y="109"/>
                  </a:cubicBezTo>
                  <a:cubicBezTo>
                    <a:pt x="439" y="109"/>
                    <a:pt x="430" y="112"/>
                    <a:pt x="431" y="102"/>
                  </a:cubicBezTo>
                  <a:cubicBezTo>
                    <a:pt x="432" y="92"/>
                    <a:pt x="447" y="85"/>
                    <a:pt x="443" y="63"/>
                  </a:cubicBezTo>
                  <a:cubicBezTo>
                    <a:pt x="439" y="41"/>
                    <a:pt x="402" y="8"/>
                    <a:pt x="402" y="8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5" y="38"/>
                    <a:pt x="345" y="38"/>
                    <a:pt x="345" y="38"/>
                  </a:cubicBezTo>
                  <a:cubicBezTo>
                    <a:pt x="333" y="50"/>
                    <a:pt x="333" y="50"/>
                    <a:pt x="333" y="50"/>
                  </a:cubicBezTo>
                  <a:cubicBezTo>
                    <a:pt x="320" y="55"/>
                    <a:pt x="320" y="55"/>
                    <a:pt x="320" y="55"/>
                  </a:cubicBezTo>
                  <a:cubicBezTo>
                    <a:pt x="320" y="55"/>
                    <a:pt x="325" y="77"/>
                    <a:pt x="293" y="92"/>
                  </a:cubicBezTo>
                  <a:cubicBezTo>
                    <a:pt x="262" y="107"/>
                    <a:pt x="222" y="107"/>
                    <a:pt x="222" y="107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8" y="115"/>
                    <a:pt x="228" y="125"/>
                    <a:pt x="223" y="132"/>
                  </a:cubicBezTo>
                  <a:cubicBezTo>
                    <a:pt x="218" y="138"/>
                    <a:pt x="203" y="160"/>
                    <a:pt x="203" y="160"/>
                  </a:cubicBezTo>
                  <a:cubicBezTo>
                    <a:pt x="203" y="160"/>
                    <a:pt x="170" y="160"/>
                    <a:pt x="151" y="160"/>
                  </a:cubicBezTo>
                  <a:cubicBezTo>
                    <a:pt x="133" y="160"/>
                    <a:pt x="138" y="180"/>
                    <a:pt x="120" y="185"/>
                  </a:cubicBezTo>
                  <a:cubicBezTo>
                    <a:pt x="101" y="190"/>
                    <a:pt x="108" y="165"/>
                    <a:pt x="108" y="165"/>
                  </a:cubicBezTo>
                  <a:cubicBezTo>
                    <a:pt x="108" y="165"/>
                    <a:pt x="88" y="180"/>
                    <a:pt x="78" y="187"/>
                  </a:cubicBezTo>
                  <a:cubicBezTo>
                    <a:pt x="68" y="193"/>
                    <a:pt x="56" y="186"/>
                    <a:pt x="56" y="186"/>
                  </a:cubicBezTo>
                  <a:cubicBezTo>
                    <a:pt x="56" y="186"/>
                    <a:pt x="38" y="196"/>
                    <a:pt x="37" y="204"/>
                  </a:cubicBezTo>
                  <a:cubicBezTo>
                    <a:pt x="36" y="212"/>
                    <a:pt x="35" y="224"/>
                    <a:pt x="35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49"/>
                    <a:pt x="2" y="256"/>
                    <a:pt x="1" y="264"/>
                  </a:cubicBezTo>
                  <a:cubicBezTo>
                    <a:pt x="0" y="272"/>
                    <a:pt x="15" y="273"/>
                    <a:pt x="15" y="27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19" y="313"/>
                    <a:pt x="19" y="313"/>
                    <a:pt x="19" y="313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9" y="344"/>
                    <a:pt x="36" y="355"/>
                    <a:pt x="38" y="358"/>
                  </a:cubicBezTo>
                  <a:cubicBezTo>
                    <a:pt x="40" y="361"/>
                    <a:pt x="36" y="381"/>
                    <a:pt x="36" y="381"/>
                  </a:cubicBezTo>
                  <a:cubicBezTo>
                    <a:pt x="36" y="381"/>
                    <a:pt x="47" y="404"/>
                    <a:pt x="57" y="412"/>
                  </a:cubicBezTo>
                  <a:cubicBezTo>
                    <a:pt x="67" y="420"/>
                    <a:pt x="79" y="428"/>
                    <a:pt x="79" y="428"/>
                  </a:cubicBezTo>
                  <a:cubicBezTo>
                    <a:pt x="83" y="442"/>
                    <a:pt x="83" y="442"/>
                    <a:pt x="83" y="442"/>
                  </a:cubicBezTo>
                  <a:cubicBezTo>
                    <a:pt x="83" y="461"/>
                    <a:pt x="83" y="461"/>
                    <a:pt x="83" y="461"/>
                  </a:cubicBez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104" y="448"/>
                    <a:pt x="106" y="441"/>
                  </a:cubicBezTo>
                  <a:cubicBezTo>
                    <a:pt x="108" y="434"/>
                    <a:pt x="98" y="421"/>
                    <a:pt x="98" y="421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28" y="401"/>
                    <a:pt x="128" y="401"/>
                    <a:pt x="128" y="401"/>
                  </a:cubicBezTo>
                  <a:cubicBezTo>
                    <a:pt x="128" y="401"/>
                    <a:pt x="141" y="390"/>
                    <a:pt x="147" y="390"/>
                  </a:cubicBezTo>
                  <a:cubicBezTo>
                    <a:pt x="153" y="390"/>
                    <a:pt x="167" y="398"/>
                    <a:pt x="178" y="399"/>
                  </a:cubicBezTo>
                  <a:cubicBezTo>
                    <a:pt x="189" y="400"/>
                    <a:pt x="193" y="394"/>
                    <a:pt x="193" y="394"/>
                  </a:cubicBezTo>
                  <a:cubicBezTo>
                    <a:pt x="203" y="380"/>
                    <a:pt x="203" y="380"/>
                    <a:pt x="203" y="380"/>
                  </a:cubicBezTo>
                  <a:cubicBezTo>
                    <a:pt x="203" y="370"/>
                    <a:pt x="203" y="370"/>
                    <a:pt x="203" y="370"/>
                  </a:cubicBezTo>
                  <a:cubicBezTo>
                    <a:pt x="203" y="370"/>
                    <a:pt x="193" y="367"/>
                    <a:pt x="201" y="357"/>
                  </a:cubicBezTo>
                  <a:cubicBezTo>
                    <a:pt x="209" y="347"/>
                    <a:pt x="208" y="358"/>
                    <a:pt x="218" y="344"/>
                  </a:cubicBezTo>
                  <a:cubicBezTo>
                    <a:pt x="228" y="330"/>
                    <a:pt x="218" y="311"/>
                    <a:pt x="247" y="313"/>
                  </a:cubicBezTo>
                  <a:cubicBezTo>
                    <a:pt x="276" y="315"/>
                    <a:pt x="273" y="330"/>
                    <a:pt x="273" y="330"/>
                  </a:cubicBezTo>
                  <a:cubicBezTo>
                    <a:pt x="273" y="330"/>
                    <a:pt x="286" y="328"/>
                    <a:pt x="289" y="332"/>
                  </a:cubicBezTo>
                  <a:cubicBezTo>
                    <a:pt x="292" y="336"/>
                    <a:pt x="280" y="351"/>
                    <a:pt x="295" y="351"/>
                  </a:cubicBezTo>
                  <a:cubicBezTo>
                    <a:pt x="310" y="351"/>
                    <a:pt x="319" y="351"/>
                    <a:pt x="319" y="351"/>
                  </a:cubicBezTo>
                  <a:cubicBezTo>
                    <a:pt x="319" y="351"/>
                    <a:pt x="325" y="363"/>
                    <a:pt x="335" y="362"/>
                  </a:cubicBezTo>
                  <a:cubicBezTo>
                    <a:pt x="345" y="361"/>
                    <a:pt x="363" y="361"/>
                    <a:pt x="363" y="361"/>
                  </a:cubicBezTo>
                  <a:cubicBezTo>
                    <a:pt x="363" y="361"/>
                    <a:pt x="376" y="375"/>
                    <a:pt x="385" y="368"/>
                  </a:cubicBezTo>
                  <a:cubicBezTo>
                    <a:pt x="394" y="361"/>
                    <a:pt x="389" y="347"/>
                    <a:pt x="396" y="344"/>
                  </a:cubicBezTo>
                  <a:cubicBezTo>
                    <a:pt x="403" y="341"/>
                    <a:pt x="410" y="328"/>
                    <a:pt x="410" y="328"/>
                  </a:cubicBezTo>
                  <a:cubicBezTo>
                    <a:pt x="410" y="328"/>
                    <a:pt x="424" y="349"/>
                    <a:pt x="430" y="344"/>
                  </a:cubicBezTo>
                  <a:cubicBezTo>
                    <a:pt x="436" y="339"/>
                    <a:pt x="449" y="330"/>
                    <a:pt x="449" y="330"/>
                  </a:cubicBezTo>
                  <a:cubicBezTo>
                    <a:pt x="461" y="330"/>
                    <a:pt x="461" y="330"/>
                    <a:pt x="461" y="330"/>
                  </a:cubicBezTo>
                  <a:cubicBezTo>
                    <a:pt x="477" y="316"/>
                    <a:pt x="477" y="316"/>
                    <a:pt x="477" y="316"/>
                  </a:cubicBezTo>
                  <a:cubicBezTo>
                    <a:pt x="477" y="316"/>
                    <a:pt x="486" y="326"/>
                    <a:pt x="490" y="326"/>
                  </a:cubicBezTo>
                  <a:cubicBezTo>
                    <a:pt x="494" y="326"/>
                    <a:pt x="512" y="321"/>
                    <a:pt x="512" y="321"/>
                  </a:cubicBezTo>
                  <a:cubicBezTo>
                    <a:pt x="512" y="321"/>
                    <a:pt x="517" y="300"/>
                    <a:pt x="524" y="299"/>
                  </a:cubicBezTo>
                  <a:cubicBezTo>
                    <a:pt x="531" y="298"/>
                    <a:pt x="539" y="311"/>
                    <a:pt x="539" y="311"/>
                  </a:cubicBezTo>
                  <a:cubicBezTo>
                    <a:pt x="560" y="308"/>
                    <a:pt x="560" y="308"/>
                    <a:pt x="560" y="308"/>
                  </a:cubicBezTo>
                  <a:cubicBezTo>
                    <a:pt x="560" y="308"/>
                    <a:pt x="566" y="324"/>
                    <a:pt x="586" y="319"/>
                  </a:cubicBezTo>
                  <a:cubicBezTo>
                    <a:pt x="606" y="314"/>
                    <a:pt x="610" y="303"/>
                    <a:pt x="610" y="303"/>
                  </a:cubicBezTo>
                  <a:cubicBezTo>
                    <a:pt x="610" y="303"/>
                    <a:pt x="614" y="289"/>
                    <a:pt x="606" y="28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8" name="Freeform 156">
              <a:extLst>
                <a:ext uri="{FF2B5EF4-FFF2-40B4-BE49-F238E27FC236}">
                  <a16:creationId xmlns:a16="http://schemas.microsoft.com/office/drawing/2014/main" id="{A9BF5F1A-DC6F-D144-89DF-1BF7946FC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422" y="3990483"/>
              <a:ext cx="202736" cy="263709"/>
            </a:xfrm>
            <a:custGeom>
              <a:avLst/>
              <a:gdLst>
                <a:gd name="T0" fmla="*/ 12 w 356"/>
                <a:gd name="T1" fmla="*/ 4 h 466"/>
                <a:gd name="T2" fmla="*/ 12 w 356"/>
                <a:gd name="T3" fmla="*/ 5 h 466"/>
                <a:gd name="T4" fmla="*/ 9 w 356"/>
                <a:gd name="T5" fmla="*/ 4 h 466"/>
                <a:gd name="T6" fmla="*/ 5 w 356"/>
                <a:gd name="T7" fmla="*/ 6 h 466"/>
                <a:gd name="T8" fmla="*/ 6 w 356"/>
                <a:gd name="T9" fmla="*/ 7 h 466"/>
                <a:gd name="T10" fmla="*/ 8 w 356"/>
                <a:gd name="T11" fmla="*/ 7 h 466"/>
                <a:gd name="T12" fmla="*/ 8 w 356"/>
                <a:gd name="T13" fmla="*/ 7 h 466"/>
                <a:gd name="T14" fmla="*/ 7 w 356"/>
                <a:gd name="T15" fmla="*/ 9 h 466"/>
                <a:gd name="T16" fmla="*/ 7 w 356"/>
                <a:gd name="T17" fmla="*/ 11 h 466"/>
                <a:gd name="T18" fmla="*/ 8 w 356"/>
                <a:gd name="T19" fmla="*/ 12 h 466"/>
                <a:gd name="T20" fmla="*/ 8 w 356"/>
                <a:gd name="T21" fmla="*/ 12 h 466"/>
                <a:gd name="T22" fmla="*/ 8 w 356"/>
                <a:gd name="T23" fmla="*/ 14 h 466"/>
                <a:gd name="T24" fmla="*/ 8 w 356"/>
                <a:gd name="T25" fmla="*/ 16 h 466"/>
                <a:gd name="T26" fmla="*/ 7 w 356"/>
                <a:gd name="T27" fmla="*/ 16 h 466"/>
                <a:gd name="T28" fmla="*/ 5 w 356"/>
                <a:gd name="T29" fmla="*/ 17 h 466"/>
                <a:gd name="T30" fmla="*/ 3 w 356"/>
                <a:gd name="T31" fmla="*/ 15 h 466"/>
                <a:gd name="T32" fmla="*/ 3 w 356"/>
                <a:gd name="T33" fmla="*/ 17 h 466"/>
                <a:gd name="T34" fmla="*/ 1 w 356"/>
                <a:gd name="T35" fmla="*/ 18 h 466"/>
                <a:gd name="T36" fmla="*/ 2 w 356"/>
                <a:gd name="T37" fmla="*/ 18 h 466"/>
                <a:gd name="T38" fmla="*/ 2 w 356"/>
                <a:gd name="T39" fmla="*/ 19 h 466"/>
                <a:gd name="T40" fmla="*/ 1 w 356"/>
                <a:gd name="T41" fmla="*/ 20 h 466"/>
                <a:gd name="T42" fmla="*/ 0 w 356"/>
                <a:gd name="T43" fmla="*/ 21 h 466"/>
                <a:gd name="T44" fmla="*/ 2 w 356"/>
                <a:gd name="T45" fmla="*/ 23 h 466"/>
                <a:gd name="T46" fmla="*/ 3 w 356"/>
                <a:gd name="T47" fmla="*/ 23 h 466"/>
                <a:gd name="T48" fmla="*/ 3 w 356"/>
                <a:gd name="T49" fmla="*/ 23 h 466"/>
                <a:gd name="T50" fmla="*/ 5 w 356"/>
                <a:gd name="T51" fmla="*/ 23 h 466"/>
                <a:gd name="T52" fmla="*/ 6 w 356"/>
                <a:gd name="T53" fmla="*/ 23 h 466"/>
                <a:gd name="T54" fmla="*/ 7 w 356"/>
                <a:gd name="T55" fmla="*/ 23 h 466"/>
                <a:gd name="T56" fmla="*/ 8 w 356"/>
                <a:gd name="T57" fmla="*/ 24 h 466"/>
                <a:gd name="T58" fmla="*/ 11 w 356"/>
                <a:gd name="T59" fmla="*/ 22 h 466"/>
                <a:gd name="T60" fmla="*/ 13 w 356"/>
                <a:gd name="T61" fmla="*/ 20 h 466"/>
                <a:gd name="T62" fmla="*/ 13 w 356"/>
                <a:gd name="T63" fmla="*/ 16 h 466"/>
                <a:gd name="T64" fmla="*/ 15 w 356"/>
                <a:gd name="T65" fmla="*/ 13 h 466"/>
                <a:gd name="T66" fmla="*/ 16 w 356"/>
                <a:gd name="T67" fmla="*/ 10 h 466"/>
                <a:gd name="T68" fmla="*/ 17 w 356"/>
                <a:gd name="T69" fmla="*/ 8 h 466"/>
                <a:gd name="T70" fmla="*/ 17 w 356"/>
                <a:gd name="T71" fmla="*/ 4 h 466"/>
                <a:gd name="T72" fmla="*/ 19 w 356"/>
                <a:gd name="T73" fmla="*/ 0 h 466"/>
                <a:gd name="T74" fmla="*/ 17 w 356"/>
                <a:gd name="T75" fmla="*/ 0 h 466"/>
                <a:gd name="T76" fmla="*/ 15 w 356"/>
                <a:gd name="T77" fmla="*/ 0 h 466"/>
                <a:gd name="T78" fmla="*/ 13 w 356"/>
                <a:gd name="T79" fmla="*/ 1 h 466"/>
                <a:gd name="T80" fmla="*/ 13 w 356"/>
                <a:gd name="T81" fmla="*/ 4 h 4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6"/>
                <a:gd name="T124" fmla="*/ 0 h 466"/>
                <a:gd name="T125" fmla="*/ 356 w 356"/>
                <a:gd name="T126" fmla="*/ 466 h 4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6" h="466">
                  <a:moveTo>
                    <a:pt x="242" y="77"/>
                  </a:moveTo>
                  <a:cubicBezTo>
                    <a:pt x="238" y="83"/>
                    <a:pt x="238" y="83"/>
                    <a:pt x="238" y="83"/>
                  </a:cubicBezTo>
                  <a:cubicBezTo>
                    <a:pt x="237" y="110"/>
                    <a:pt x="237" y="110"/>
                    <a:pt x="237" y="110"/>
                  </a:cubicBezTo>
                  <a:cubicBezTo>
                    <a:pt x="219" y="95"/>
                    <a:pt x="219" y="95"/>
                    <a:pt x="219" y="95"/>
                  </a:cubicBezTo>
                  <a:cubicBezTo>
                    <a:pt x="199" y="96"/>
                    <a:pt x="199" y="96"/>
                    <a:pt x="199" y="96"/>
                  </a:cubicBezTo>
                  <a:cubicBezTo>
                    <a:pt x="199" y="96"/>
                    <a:pt x="171" y="83"/>
                    <a:pt x="166" y="83"/>
                  </a:cubicBezTo>
                  <a:cubicBezTo>
                    <a:pt x="161" y="83"/>
                    <a:pt x="106" y="86"/>
                    <a:pt x="106" y="8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106" y="134"/>
                    <a:pt x="115" y="134"/>
                  </a:cubicBezTo>
                  <a:cubicBezTo>
                    <a:pt x="124" y="134"/>
                    <a:pt x="124" y="119"/>
                    <a:pt x="129" y="119"/>
                  </a:cubicBezTo>
                  <a:cubicBezTo>
                    <a:pt x="134" y="119"/>
                    <a:pt x="146" y="124"/>
                    <a:pt x="149" y="128"/>
                  </a:cubicBezTo>
                  <a:cubicBezTo>
                    <a:pt x="152" y="132"/>
                    <a:pt x="153" y="142"/>
                    <a:pt x="153" y="142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9" y="146"/>
                    <a:pt x="159" y="159"/>
                    <a:pt x="153" y="166"/>
                  </a:cubicBezTo>
                  <a:cubicBezTo>
                    <a:pt x="147" y="173"/>
                    <a:pt x="140" y="172"/>
                    <a:pt x="140" y="172"/>
                  </a:cubicBezTo>
                  <a:cubicBezTo>
                    <a:pt x="131" y="188"/>
                    <a:pt x="131" y="188"/>
                    <a:pt x="131" y="188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147" y="225"/>
                    <a:pt x="163" y="226"/>
                    <a:pt x="165" y="232"/>
                  </a:cubicBezTo>
                  <a:cubicBezTo>
                    <a:pt x="167" y="238"/>
                    <a:pt x="158" y="243"/>
                    <a:pt x="158" y="243"/>
                  </a:cubicBezTo>
                  <a:cubicBezTo>
                    <a:pt x="159" y="273"/>
                    <a:pt x="159" y="273"/>
                    <a:pt x="159" y="273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9" y="298"/>
                    <a:pt x="159" y="298"/>
                    <a:pt x="159" y="298"/>
                  </a:cubicBezTo>
                  <a:cubicBezTo>
                    <a:pt x="159" y="298"/>
                    <a:pt x="146" y="302"/>
                    <a:pt x="146" y="316"/>
                  </a:cubicBezTo>
                  <a:cubicBezTo>
                    <a:pt x="146" y="330"/>
                    <a:pt x="144" y="336"/>
                    <a:pt x="134" y="336"/>
                  </a:cubicBezTo>
                  <a:cubicBezTo>
                    <a:pt x="124" y="336"/>
                    <a:pt x="131" y="314"/>
                    <a:pt x="127" y="311"/>
                  </a:cubicBezTo>
                  <a:cubicBezTo>
                    <a:pt x="123" y="308"/>
                    <a:pt x="120" y="324"/>
                    <a:pt x="112" y="326"/>
                  </a:cubicBezTo>
                  <a:cubicBezTo>
                    <a:pt x="104" y="328"/>
                    <a:pt x="90" y="327"/>
                    <a:pt x="90" y="327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81" y="298"/>
                    <a:pt x="70" y="296"/>
                    <a:pt x="64" y="297"/>
                  </a:cubicBezTo>
                  <a:cubicBezTo>
                    <a:pt x="58" y="298"/>
                    <a:pt x="71" y="316"/>
                    <a:pt x="71" y="316"/>
                  </a:cubicBezTo>
                  <a:cubicBezTo>
                    <a:pt x="71" y="316"/>
                    <a:pt x="62" y="324"/>
                    <a:pt x="58" y="329"/>
                  </a:cubicBezTo>
                  <a:cubicBezTo>
                    <a:pt x="54" y="334"/>
                    <a:pt x="30" y="325"/>
                    <a:pt x="24" y="323"/>
                  </a:cubicBezTo>
                  <a:cubicBezTo>
                    <a:pt x="18" y="321"/>
                    <a:pt x="25" y="346"/>
                    <a:pt x="25" y="346"/>
                  </a:cubicBezTo>
                  <a:cubicBezTo>
                    <a:pt x="18" y="346"/>
                    <a:pt x="18" y="346"/>
                    <a:pt x="18" y="346"/>
                  </a:cubicBezTo>
                  <a:cubicBezTo>
                    <a:pt x="35" y="359"/>
                    <a:pt x="35" y="359"/>
                    <a:pt x="35" y="359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8" y="376"/>
                    <a:pt x="38" y="376"/>
                    <a:pt x="38" y="376"/>
                  </a:cubicBezTo>
                  <a:cubicBezTo>
                    <a:pt x="38" y="376"/>
                    <a:pt x="42" y="389"/>
                    <a:pt x="38" y="398"/>
                  </a:cubicBezTo>
                  <a:cubicBezTo>
                    <a:pt x="34" y="407"/>
                    <a:pt x="19" y="389"/>
                    <a:pt x="19" y="389"/>
                  </a:cubicBezTo>
                  <a:cubicBezTo>
                    <a:pt x="5" y="398"/>
                    <a:pt x="5" y="398"/>
                    <a:pt x="5" y="398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7" y="454"/>
                    <a:pt x="37" y="454"/>
                    <a:pt x="37" y="454"/>
                  </a:cubicBezTo>
                  <a:cubicBezTo>
                    <a:pt x="46" y="466"/>
                    <a:pt x="46" y="466"/>
                    <a:pt x="46" y="466"/>
                  </a:cubicBezTo>
                  <a:cubicBezTo>
                    <a:pt x="50" y="460"/>
                    <a:pt x="50" y="460"/>
                    <a:pt x="50" y="460"/>
                  </a:cubicBezTo>
                  <a:cubicBezTo>
                    <a:pt x="61" y="460"/>
                    <a:pt x="61" y="460"/>
                    <a:pt x="61" y="460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1" y="446"/>
                    <a:pt x="75" y="433"/>
                    <a:pt x="82" y="432"/>
                  </a:cubicBezTo>
                  <a:cubicBezTo>
                    <a:pt x="89" y="431"/>
                    <a:pt x="91" y="448"/>
                    <a:pt x="91" y="448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8" y="445"/>
                    <a:pt x="102" y="466"/>
                    <a:pt x="114" y="461"/>
                  </a:cubicBezTo>
                  <a:cubicBezTo>
                    <a:pt x="126" y="456"/>
                    <a:pt x="125" y="440"/>
                    <a:pt x="125" y="440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8" y="425"/>
                    <a:pt x="155" y="432"/>
                  </a:cubicBezTo>
                  <a:cubicBezTo>
                    <a:pt x="162" y="439"/>
                    <a:pt x="144" y="462"/>
                    <a:pt x="159" y="462"/>
                  </a:cubicBezTo>
                  <a:cubicBezTo>
                    <a:pt x="174" y="462"/>
                    <a:pt x="177" y="457"/>
                    <a:pt x="184" y="448"/>
                  </a:cubicBezTo>
                  <a:cubicBezTo>
                    <a:pt x="191" y="439"/>
                    <a:pt x="203" y="418"/>
                    <a:pt x="209" y="418"/>
                  </a:cubicBezTo>
                  <a:cubicBezTo>
                    <a:pt x="215" y="418"/>
                    <a:pt x="225" y="415"/>
                    <a:pt x="225" y="415"/>
                  </a:cubicBezTo>
                  <a:cubicBezTo>
                    <a:pt x="242" y="385"/>
                    <a:pt x="242" y="385"/>
                    <a:pt x="242" y="385"/>
                  </a:cubicBezTo>
                  <a:cubicBezTo>
                    <a:pt x="241" y="318"/>
                    <a:pt x="241" y="318"/>
                    <a:pt x="241" y="318"/>
                  </a:cubicBezTo>
                  <a:cubicBezTo>
                    <a:pt x="241" y="318"/>
                    <a:pt x="259" y="311"/>
                    <a:pt x="260" y="302"/>
                  </a:cubicBezTo>
                  <a:cubicBezTo>
                    <a:pt x="261" y="293"/>
                    <a:pt x="261" y="270"/>
                    <a:pt x="268" y="267"/>
                  </a:cubicBezTo>
                  <a:cubicBezTo>
                    <a:pt x="275" y="264"/>
                    <a:pt x="288" y="258"/>
                    <a:pt x="298" y="251"/>
                  </a:cubicBezTo>
                  <a:cubicBezTo>
                    <a:pt x="308" y="244"/>
                    <a:pt x="314" y="229"/>
                    <a:pt x="314" y="229"/>
                  </a:cubicBezTo>
                  <a:cubicBezTo>
                    <a:pt x="317" y="197"/>
                    <a:pt x="317" y="197"/>
                    <a:pt x="317" y="197"/>
                  </a:cubicBezTo>
                  <a:cubicBezTo>
                    <a:pt x="317" y="197"/>
                    <a:pt x="327" y="189"/>
                    <a:pt x="327" y="178"/>
                  </a:cubicBezTo>
                  <a:cubicBezTo>
                    <a:pt x="327" y="167"/>
                    <a:pt x="318" y="160"/>
                    <a:pt x="320" y="152"/>
                  </a:cubicBezTo>
                  <a:cubicBezTo>
                    <a:pt x="322" y="144"/>
                    <a:pt x="332" y="136"/>
                    <a:pt x="331" y="125"/>
                  </a:cubicBezTo>
                  <a:cubicBezTo>
                    <a:pt x="330" y="114"/>
                    <a:pt x="323" y="87"/>
                    <a:pt x="332" y="77"/>
                  </a:cubicBezTo>
                  <a:cubicBezTo>
                    <a:pt x="341" y="67"/>
                    <a:pt x="356" y="38"/>
                    <a:pt x="356" y="30"/>
                  </a:cubicBezTo>
                  <a:cubicBezTo>
                    <a:pt x="356" y="22"/>
                    <a:pt x="356" y="11"/>
                    <a:pt x="356" y="11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4"/>
                    <a:pt x="343" y="10"/>
                    <a:pt x="332" y="9"/>
                  </a:cubicBezTo>
                  <a:cubicBezTo>
                    <a:pt x="321" y="8"/>
                    <a:pt x="307" y="0"/>
                    <a:pt x="301" y="0"/>
                  </a:cubicBezTo>
                  <a:cubicBezTo>
                    <a:pt x="295" y="0"/>
                    <a:pt x="282" y="11"/>
                    <a:pt x="282" y="11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62" y="44"/>
                    <a:pt x="260" y="51"/>
                  </a:cubicBezTo>
                  <a:cubicBezTo>
                    <a:pt x="258" y="58"/>
                    <a:pt x="242" y="77"/>
                    <a:pt x="242" y="7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49" name="Freeform 157">
              <a:extLst>
                <a:ext uri="{FF2B5EF4-FFF2-40B4-BE49-F238E27FC236}">
                  <a16:creationId xmlns:a16="http://schemas.microsoft.com/office/drawing/2014/main" id="{3CF97757-1F39-6E86-C695-77AA8BC8E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595" y="4033165"/>
              <a:ext cx="59449" cy="39633"/>
            </a:xfrm>
            <a:custGeom>
              <a:avLst/>
              <a:gdLst>
                <a:gd name="T0" fmla="*/ 5 w 103"/>
                <a:gd name="T1" fmla="*/ 1 h 71"/>
                <a:gd name="T2" fmla="*/ 5 w 103"/>
                <a:gd name="T3" fmla="*/ 0 h 71"/>
                <a:gd name="T4" fmla="*/ 2 w 103"/>
                <a:gd name="T5" fmla="*/ 0 h 71"/>
                <a:gd name="T6" fmla="*/ 2 w 103"/>
                <a:gd name="T7" fmla="*/ 0 h 71"/>
                <a:gd name="T8" fmla="*/ 1 w 103"/>
                <a:gd name="T9" fmla="*/ 0 h 71"/>
                <a:gd name="T10" fmla="*/ 1 w 103"/>
                <a:gd name="T11" fmla="*/ 1 h 71"/>
                <a:gd name="T12" fmla="*/ 0 w 103"/>
                <a:gd name="T13" fmla="*/ 3 h 71"/>
                <a:gd name="T14" fmla="*/ 1 w 103"/>
                <a:gd name="T15" fmla="*/ 3 h 71"/>
                <a:gd name="T16" fmla="*/ 2 w 103"/>
                <a:gd name="T17" fmla="*/ 3 h 71"/>
                <a:gd name="T18" fmla="*/ 2 w 103"/>
                <a:gd name="T19" fmla="*/ 4 h 71"/>
                <a:gd name="T20" fmla="*/ 5 w 103"/>
                <a:gd name="T21" fmla="*/ 3 h 71"/>
                <a:gd name="T22" fmla="*/ 6 w 103"/>
                <a:gd name="T23" fmla="*/ 1 h 71"/>
                <a:gd name="T24" fmla="*/ 5 w 103"/>
                <a:gd name="T25" fmla="*/ 1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3"/>
                <a:gd name="T40" fmla="*/ 0 h 71"/>
                <a:gd name="T41" fmla="*/ 103 w 103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3" h="71">
                  <a:moveTo>
                    <a:pt x="97" y="29"/>
                  </a:moveTo>
                  <a:cubicBezTo>
                    <a:pt x="100" y="6"/>
                    <a:pt x="100" y="6"/>
                    <a:pt x="100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8" y="21"/>
                    <a:pt x="23" y="29"/>
                  </a:cubicBezTo>
                  <a:cubicBezTo>
                    <a:pt x="18" y="37"/>
                    <a:pt x="0" y="50"/>
                    <a:pt x="4" y="57"/>
                  </a:cubicBezTo>
                  <a:cubicBezTo>
                    <a:pt x="7" y="63"/>
                    <a:pt x="17" y="66"/>
                    <a:pt x="21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93" y="70"/>
                    <a:pt x="98" y="69"/>
                  </a:cubicBezTo>
                  <a:cubicBezTo>
                    <a:pt x="103" y="68"/>
                    <a:pt x="103" y="33"/>
                    <a:pt x="103" y="33"/>
                  </a:cubicBezTo>
                  <a:lnTo>
                    <a:pt x="97" y="29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0" name="Freeform 158">
              <a:extLst>
                <a:ext uri="{FF2B5EF4-FFF2-40B4-BE49-F238E27FC236}">
                  <a16:creationId xmlns:a16="http://schemas.microsoft.com/office/drawing/2014/main" id="{CB9B10C1-36FF-B39B-BC13-9DB1DEFC87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6611" y="4781609"/>
              <a:ext cx="432909" cy="388704"/>
            </a:xfrm>
            <a:custGeom>
              <a:avLst/>
              <a:gdLst>
                <a:gd name="T0" fmla="*/ 38 w 759"/>
                <a:gd name="T1" fmla="*/ 13 h 682"/>
                <a:gd name="T2" fmla="*/ 36 w 759"/>
                <a:gd name="T3" fmla="*/ 15 h 682"/>
                <a:gd name="T4" fmla="*/ 35 w 759"/>
                <a:gd name="T5" fmla="*/ 12 h 682"/>
                <a:gd name="T6" fmla="*/ 37 w 759"/>
                <a:gd name="T7" fmla="*/ 11 h 682"/>
                <a:gd name="T8" fmla="*/ 38 w 759"/>
                <a:gd name="T9" fmla="*/ 7 h 682"/>
                <a:gd name="T10" fmla="*/ 36 w 759"/>
                <a:gd name="T11" fmla="*/ 1 h 682"/>
                <a:gd name="T12" fmla="*/ 34 w 759"/>
                <a:gd name="T13" fmla="*/ 0 h 682"/>
                <a:gd name="T14" fmla="*/ 31 w 759"/>
                <a:gd name="T15" fmla="*/ 0 h 682"/>
                <a:gd name="T16" fmla="*/ 29 w 759"/>
                <a:gd name="T17" fmla="*/ 1 h 682"/>
                <a:gd name="T18" fmla="*/ 26 w 759"/>
                <a:gd name="T19" fmla="*/ 4 h 682"/>
                <a:gd name="T20" fmla="*/ 24 w 759"/>
                <a:gd name="T21" fmla="*/ 7 h 682"/>
                <a:gd name="T22" fmla="*/ 23 w 759"/>
                <a:gd name="T23" fmla="*/ 8 h 682"/>
                <a:gd name="T24" fmla="*/ 21 w 759"/>
                <a:gd name="T25" fmla="*/ 10 h 682"/>
                <a:gd name="T26" fmla="*/ 19 w 759"/>
                <a:gd name="T27" fmla="*/ 10 h 682"/>
                <a:gd name="T28" fmla="*/ 18 w 759"/>
                <a:gd name="T29" fmla="*/ 9 h 682"/>
                <a:gd name="T30" fmla="*/ 15 w 759"/>
                <a:gd name="T31" fmla="*/ 11 h 682"/>
                <a:gd name="T32" fmla="*/ 14 w 759"/>
                <a:gd name="T33" fmla="*/ 13 h 682"/>
                <a:gd name="T34" fmla="*/ 13 w 759"/>
                <a:gd name="T35" fmla="*/ 13 h 682"/>
                <a:gd name="T36" fmla="*/ 10 w 759"/>
                <a:gd name="T37" fmla="*/ 12 h 682"/>
                <a:gd name="T38" fmla="*/ 10 w 759"/>
                <a:gd name="T39" fmla="*/ 10 h 682"/>
                <a:gd name="T40" fmla="*/ 9 w 759"/>
                <a:gd name="T41" fmla="*/ 7 h 682"/>
                <a:gd name="T42" fmla="*/ 7 w 759"/>
                <a:gd name="T43" fmla="*/ 18 h 682"/>
                <a:gd name="T44" fmla="*/ 7 w 759"/>
                <a:gd name="T45" fmla="*/ 18 h 682"/>
                <a:gd name="T46" fmla="*/ 6 w 759"/>
                <a:gd name="T47" fmla="*/ 19 h 682"/>
                <a:gd name="T48" fmla="*/ 4 w 759"/>
                <a:gd name="T49" fmla="*/ 19 h 682"/>
                <a:gd name="T50" fmla="*/ 3 w 759"/>
                <a:gd name="T51" fmla="*/ 19 h 682"/>
                <a:gd name="T52" fmla="*/ 2 w 759"/>
                <a:gd name="T53" fmla="*/ 17 h 682"/>
                <a:gd name="T54" fmla="*/ 0 w 759"/>
                <a:gd name="T55" fmla="*/ 18 h 682"/>
                <a:gd name="T56" fmla="*/ 0 w 759"/>
                <a:gd name="T57" fmla="*/ 18 h 682"/>
                <a:gd name="T58" fmla="*/ 1 w 759"/>
                <a:gd name="T59" fmla="*/ 21 h 682"/>
                <a:gd name="T60" fmla="*/ 4 w 759"/>
                <a:gd name="T61" fmla="*/ 27 h 682"/>
                <a:gd name="T62" fmla="*/ 3 w 759"/>
                <a:gd name="T63" fmla="*/ 30 h 682"/>
                <a:gd name="T64" fmla="*/ 4 w 759"/>
                <a:gd name="T65" fmla="*/ 34 h 682"/>
                <a:gd name="T66" fmla="*/ 6 w 759"/>
                <a:gd name="T67" fmla="*/ 34 h 682"/>
                <a:gd name="T68" fmla="*/ 7 w 759"/>
                <a:gd name="T69" fmla="*/ 36 h 682"/>
                <a:gd name="T70" fmla="*/ 12 w 759"/>
                <a:gd name="T71" fmla="*/ 35 h 682"/>
                <a:gd name="T72" fmla="*/ 15 w 759"/>
                <a:gd name="T73" fmla="*/ 34 h 682"/>
                <a:gd name="T74" fmla="*/ 19 w 759"/>
                <a:gd name="T75" fmla="*/ 34 h 682"/>
                <a:gd name="T76" fmla="*/ 21 w 759"/>
                <a:gd name="T77" fmla="*/ 33 h 682"/>
                <a:gd name="T78" fmla="*/ 25 w 759"/>
                <a:gd name="T79" fmla="*/ 32 h 682"/>
                <a:gd name="T80" fmla="*/ 28 w 759"/>
                <a:gd name="T81" fmla="*/ 30 h 682"/>
                <a:gd name="T82" fmla="*/ 32 w 759"/>
                <a:gd name="T83" fmla="*/ 26 h 682"/>
                <a:gd name="T84" fmla="*/ 36 w 759"/>
                <a:gd name="T85" fmla="*/ 20 h 682"/>
                <a:gd name="T86" fmla="*/ 39 w 759"/>
                <a:gd name="T87" fmla="*/ 16 h 682"/>
                <a:gd name="T88" fmla="*/ 39 w 759"/>
                <a:gd name="T89" fmla="*/ 13 h 682"/>
                <a:gd name="T90" fmla="*/ 30 w 759"/>
                <a:gd name="T91" fmla="*/ 22 h 682"/>
                <a:gd name="T92" fmla="*/ 28 w 759"/>
                <a:gd name="T93" fmla="*/ 24 h 682"/>
                <a:gd name="T94" fmla="*/ 26 w 759"/>
                <a:gd name="T95" fmla="*/ 23 h 682"/>
                <a:gd name="T96" fmla="*/ 25 w 759"/>
                <a:gd name="T97" fmla="*/ 21 h 682"/>
                <a:gd name="T98" fmla="*/ 26 w 759"/>
                <a:gd name="T99" fmla="*/ 20 h 682"/>
                <a:gd name="T100" fmla="*/ 27 w 759"/>
                <a:gd name="T101" fmla="*/ 19 h 682"/>
                <a:gd name="T102" fmla="*/ 28 w 759"/>
                <a:gd name="T103" fmla="*/ 18 h 682"/>
                <a:gd name="T104" fmla="*/ 30 w 759"/>
                <a:gd name="T105" fmla="*/ 18 h 682"/>
                <a:gd name="T106" fmla="*/ 31 w 759"/>
                <a:gd name="T107" fmla="*/ 20 h 682"/>
                <a:gd name="T108" fmla="*/ 30 w 759"/>
                <a:gd name="T109" fmla="*/ 21 h 6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59"/>
                <a:gd name="T166" fmla="*/ 0 h 682"/>
                <a:gd name="T167" fmla="*/ 759 w 759"/>
                <a:gd name="T168" fmla="*/ 682 h 6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59" h="682">
                  <a:moveTo>
                    <a:pt x="746" y="250"/>
                  </a:moveTo>
                  <a:cubicBezTo>
                    <a:pt x="738" y="246"/>
                    <a:pt x="725" y="254"/>
                    <a:pt x="725" y="254"/>
                  </a:cubicBezTo>
                  <a:cubicBezTo>
                    <a:pt x="718" y="279"/>
                    <a:pt x="718" y="279"/>
                    <a:pt x="718" y="279"/>
                  </a:cubicBezTo>
                  <a:cubicBezTo>
                    <a:pt x="718" y="279"/>
                    <a:pt x="703" y="278"/>
                    <a:pt x="696" y="278"/>
                  </a:cubicBezTo>
                  <a:cubicBezTo>
                    <a:pt x="689" y="278"/>
                    <a:pt x="666" y="262"/>
                    <a:pt x="664" y="250"/>
                  </a:cubicBezTo>
                  <a:cubicBezTo>
                    <a:pt x="662" y="238"/>
                    <a:pt x="670" y="225"/>
                    <a:pt x="673" y="221"/>
                  </a:cubicBezTo>
                  <a:cubicBezTo>
                    <a:pt x="676" y="217"/>
                    <a:pt x="682" y="192"/>
                    <a:pt x="689" y="192"/>
                  </a:cubicBezTo>
                  <a:cubicBezTo>
                    <a:pt x="696" y="192"/>
                    <a:pt x="708" y="206"/>
                    <a:pt x="708" y="206"/>
                  </a:cubicBezTo>
                  <a:cubicBezTo>
                    <a:pt x="726" y="182"/>
                    <a:pt x="726" y="182"/>
                    <a:pt x="726" y="182"/>
                  </a:cubicBezTo>
                  <a:cubicBezTo>
                    <a:pt x="726" y="182"/>
                    <a:pt x="726" y="134"/>
                    <a:pt x="727" y="125"/>
                  </a:cubicBezTo>
                  <a:cubicBezTo>
                    <a:pt x="728" y="116"/>
                    <a:pt x="707" y="84"/>
                    <a:pt x="705" y="75"/>
                  </a:cubicBezTo>
                  <a:cubicBezTo>
                    <a:pt x="703" y="66"/>
                    <a:pt x="696" y="15"/>
                    <a:pt x="696" y="15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8"/>
                    <a:pt x="657" y="9"/>
                    <a:pt x="649" y="8"/>
                  </a:cubicBezTo>
                  <a:cubicBezTo>
                    <a:pt x="641" y="7"/>
                    <a:pt x="625" y="0"/>
                    <a:pt x="625" y="0"/>
                  </a:cubicBezTo>
                  <a:cubicBezTo>
                    <a:pt x="586" y="2"/>
                    <a:pt x="586" y="2"/>
                    <a:pt x="586" y="2"/>
                  </a:cubicBezTo>
                  <a:cubicBezTo>
                    <a:pt x="578" y="18"/>
                    <a:pt x="578" y="18"/>
                    <a:pt x="578" y="18"/>
                  </a:cubicBezTo>
                  <a:cubicBezTo>
                    <a:pt x="578" y="18"/>
                    <a:pt x="554" y="19"/>
                    <a:pt x="549" y="25"/>
                  </a:cubicBezTo>
                  <a:cubicBezTo>
                    <a:pt x="544" y="31"/>
                    <a:pt x="530" y="57"/>
                    <a:pt x="519" y="64"/>
                  </a:cubicBezTo>
                  <a:cubicBezTo>
                    <a:pt x="508" y="71"/>
                    <a:pt x="505" y="70"/>
                    <a:pt x="495" y="77"/>
                  </a:cubicBezTo>
                  <a:cubicBezTo>
                    <a:pt x="485" y="84"/>
                    <a:pt x="484" y="107"/>
                    <a:pt x="484" y="113"/>
                  </a:cubicBezTo>
                  <a:cubicBezTo>
                    <a:pt x="484" y="119"/>
                    <a:pt x="461" y="137"/>
                    <a:pt x="461" y="137"/>
                  </a:cubicBezTo>
                  <a:cubicBezTo>
                    <a:pt x="450" y="140"/>
                    <a:pt x="450" y="140"/>
                    <a:pt x="450" y="140"/>
                  </a:cubicBezTo>
                  <a:cubicBezTo>
                    <a:pt x="436" y="152"/>
                    <a:pt x="436" y="152"/>
                    <a:pt x="436" y="152"/>
                  </a:cubicBezTo>
                  <a:cubicBezTo>
                    <a:pt x="436" y="152"/>
                    <a:pt x="432" y="185"/>
                    <a:pt x="421" y="192"/>
                  </a:cubicBezTo>
                  <a:cubicBezTo>
                    <a:pt x="410" y="199"/>
                    <a:pt x="402" y="192"/>
                    <a:pt x="402" y="192"/>
                  </a:cubicBezTo>
                  <a:cubicBezTo>
                    <a:pt x="402" y="192"/>
                    <a:pt x="399" y="197"/>
                    <a:pt x="389" y="199"/>
                  </a:cubicBezTo>
                  <a:cubicBezTo>
                    <a:pt x="379" y="201"/>
                    <a:pt x="364" y="190"/>
                    <a:pt x="364" y="190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21" y="167"/>
                    <a:pt x="308" y="167"/>
                  </a:cubicBezTo>
                  <a:cubicBezTo>
                    <a:pt x="295" y="167"/>
                    <a:pt x="290" y="205"/>
                    <a:pt x="290" y="212"/>
                  </a:cubicBezTo>
                  <a:cubicBezTo>
                    <a:pt x="290" y="219"/>
                    <a:pt x="279" y="217"/>
                    <a:pt x="272" y="220"/>
                  </a:cubicBezTo>
                  <a:cubicBezTo>
                    <a:pt x="265" y="223"/>
                    <a:pt x="263" y="240"/>
                    <a:pt x="263" y="240"/>
                  </a:cubicBezTo>
                  <a:cubicBezTo>
                    <a:pt x="263" y="240"/>
                    <a:pt x="253" y="238"/>
                    <a:pt x="249" y="239"/>
                  </a:cubicBezTo>
                  <a:cubicBezTo>
                    <a:pt x="245" y="240"/>
                    <a:pt x="244" y="251"/>
                    <a:pt x="244" y="251"/>
                  </a:cubicBezTo>
                  <a:cubicBezTo>
                    <a:pt x="244" y="251"/>
                    <a:pt x="198" y="256"/>
                    <a:pt x="193" y="253"/>
                  </a:cubicBezTo>
                  <a:cubicBezTo>
                    <a:pt x="188" y="250"/>
                    <a:pt x="193" y="231"/>
                    <a:pt x="193" y="231"/>
                  </a:cubicBezTo>
                  <a:cubicBezTo>
                    <a:pt x="193" y="231"/>
                    <a:pt x="201" y="218"/>
                    <a:pt x="203" y="209"/>
                  </a:cubicBezTo>
                  <a:cubicBezTo>
                    <a:pt x="205" y="200"/>
                    <a:pt x="196" y="189"/>
                    <a:pt x="196" y="189"/>
                  </a:cubicBezTo>
                  <a:cubicBezTo>
                    <a:pt x="196" y="189"/>
                    <a:pt x="197" y="179"/>
                    <a:pt x="188" y="160"/>
                  </a:cubicBezTo>
                  <a:cubicBezTo>
                    <a:pt x="184" y="152"/>
                    <a:pt x="175" y="147"/>
                    <a:pt x="166" y="143"/>
                  </a:cubicBezTo>
                  <a:cubicBezTo>
                    <a:pt x="163" y="339"/>
                    <a:pt x="163" y="339"/>
                    <a:pt x="163" y="339"/>
                  </a:cubicBezTo>
                  <a:cubicBezTo>
                    <a:pt x="163" y="339"/>
                    <a:pt x="149" y="340"/>
                    <a:pt x="142" y="343"/>
                  </a:cubicBezTo>
                  <a:cubicBezTo>
                    <a:pt x="135" y="346"/>
                    <a:pt x="137" y="351"/>
                    <a:pt x="137" y="351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29" y="353"/>
                    <a:pt x="132" y="367"/>
                    <a:pt x="126" y="367"/>
                  </a:cubicBezTo>
                  <a:cubicBezTo>
                    <a:pt x="121" y="367"/>
                    <a:pt x="114" y="367"/>
                    <a:pt x="114" y="367"/>
                  </a:cubicBezTo>
                  <a:cubicBezTo>
                    <a:pt x="114" y="367"/>
                    <a:pt x="110" y="361"/>
                    <a:pt x="102" y="361"/>
                  </a:cubicBezTo>
                  <a:cubicBezTo>
                    <a:pt x="94" y="361"/>
                    <a:pt x="88" y="369"/>
                    <a:pt x="88" y="369"/>
                  </a:cubicBezTo>
                  <a:cubicBezTo>
                    <a:pt x="76" y="369"/>
                    <a:pt x="76" y="369"/>
                    <a:pt x="76" y="369"/>
                  </a:cubicBezTo>
                  <a:cubicBezTo>
                    <a:pt x="76" y="369"/>
                    <a:pt x="72" y="361"/>
                    <a:pt x="65" y="357"/>
                  </a:cubicBezTo>
                  <a:cubicBezTo>
                    <a:pt x="58" y="353"/>
                    <a:pt x="49" y="359"/>
                    <a:pt x="45" y="352"/>
                  </a:cubicBezTo>
                  <a:cubicBezTo>
                    <a:pt x="40" y="345"/>
                    <a:pt x="41" y="330"/>
                    <a:pt x="41" y="330"/>
                  </a:cubicBezTo>
                  <a:cubicBezTo>
                    <a:pt x="41" y="330"/>
                    <a:pt x="31" y="318"/>
                    <a:pt x="27" y="317"/>
                  </a:cubicBezTo>
                  <a:cubicBezTo>
                    <a:pt x="23" y="316"/>
                    <a:pt x="12" y="340"/>
                    <a:pt x="12" y="34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45"/>
                    <a:pt x="7" y="368"/>
                    <a:pt x="11" y="372"/>
                  </a:cubicBezTo>
                  <a:cubicBezTo>
                    <a:pt x="15" y="376"/>
                    <a:pt x="31" y="394"/>
                    <a:pt x="31" y="407"/>
                  </a:cubicBezTo>
                  <a:cubicBezTo>
                    <a:pt x="31" y="420"/>
                    <a:pt x="28" y="446"/>
                    <a:pt x="38" y="461"/>
                  </a:cubicBezTo>
                  <a:cubicBezTo>
                    <a:pt x="48" y="476"/>
                    <a:pt x="83" y="509"/>
                    <a:pt x="83" y="523"/>
                  </a:cubicBezTo>
                  <a:cubicBezTo>
                    <a:pt x="83" y="537"/>
                    <a:pt x="82" y="564"/>
                    <a:pt x="78" y="568"/>
                  </a:cubicBezTo>
                  <a:cubicBezTo>
                    <a:pt x="74" y="572"/>
                    <a:pt x="62" y="564"/>
                    <a:pt x="61" y="572"/>
                  </a:cubicBezTo>
                  <a:cubicBezTo>
                    <a:pt x="60" y="580"/>
                    <a:pt x="63" y="588"/>
                    <a:pt x="73" y="605"/>
                  </a:cubicBezTo>
                  <a:cubicBezTo>
                    <a:pt x="83" y="622"/>
                    <a:pt x="75" y="641"/>
                    <a:pt x="81" y="649"/>
                  </a:cubicBezTo>
                  <a:cubicBezTo>
                    <a:pt x="87" y="657"/>
                    <a:pt x="84" y="646"/>
                    <a:pt x="90" y="643"/>
                  </a:cubicBezTo>
                  <a:cubicBezTo>
                    <a:pt x="96" y="640"/>
                    <a:pt x="103" y="650"/>
                    <a:pt x="103" y="650"/>
                  </a:cubicBezTo>
                  <a:cubicBezTo>
                    <a:pt x="121" y="656"/>
                    <a:pt x="121" y="656"/>
                    <a:pt x="121" y="656"/>
                  </a:cubicBezTo>
                  <a:cubicBezTo>
                    <a:pt x="121" y="656"/>
                    <a:pt x="126" y="682"/>
                    <a:pt x="145" y="679"/>
                  </a:cubicBezTo>
                  <a:cubicBezTo>
                    <a:pt x="164" y="676"/>
                    <a:pt x="165" y="662"/>
                    <a:pt x="177" y="658"/>
                  </a:cubicBezTo>
                  <a:cubicBezTo>
                    <a:pt x="189" y="654"/>
                    <a:pt x="224" y="665"/>
                    <a:pt x="233" y="662"/>
                  </a:cubicBezTo>
                  <a:cubicBezTo>
                    <a:pt x="242" y="659"/>
                    <a:pt x="238" y="638"/>
                    <a:pt x="261" y="638"/>
                  </a:cubicBezTo>
                  <a:cubicBezTo>
                    <a:pt x="284" y="638"/>
                    <a:pt x="292" y="646"/>
                    <a:pt x="292" y="646"/>
                  </a:cubicBezTo>
                  <a:cubicBezTo>
                    <a:pt x="292" y="646"/>
                    <a:pt x="303" y="635"/>
                    <a:pt x="326" y="636"/>
                  </a:cubicBezTo>
                  <a:cubicBezTo>
                    <a:pt x="349" y="637"/>
                    <a:pt x="361" y="647"/>
                    <a:pt x="366" y="646"/>
                  </a:cubicBezTo>
                  <a:cubicBezTo>
                    <a:pt x="371" y="645"/>
                    <a:pt x="383" y="635"/>
                    <a:pt x="383" y="635"/>
                  </a:cubicBezTo>
                  <a:cubicBezTo>
                    <a:pt x="383" y="635"/>
                    <a:pt x="397" y="642"/>
                    <a:pt x="406" y="637"/>
                  </a:cubicBezTo>
                  <a:cubicBezTo>
                    <a:pt x="415" y="632"/>
                    <a:pt x="427" y="624"/>
                    <a:pt x="427" y="624"/>
                  </a:cubicBezTo>
                  <a:cubicBezTo>
                    <a:pt x="427" y="624"/>
                    <a:pt x="451" y="632"/>
                    <a:pt x="473" y="617"/>
                  </a:cubicBezTo>
                  <a:cubicBezTo>
                    <a:pt x="495" y="602"/>
                    <a:pt x="525" y="573"/>
                    <a:pt x="525" y="573"/>
                  </a:cubicBezTo>
                  <a:cubicBezTo>
                    <a:pt x="538" y="565"/>
                    <a:pt x="538" y="565"/>
                    <a:pt x="538" y="565"/>
                  </a:cubicBezTo>
                  <a:cubicBezTo>
                    <a:pt x="600" y="499"/>
                    <a:pt x="600" y="499"/>
                    <a:pt x="600" y="499"/>
                  </a:cubicBezTo>
                  <a:cubicBezTo>
                    <a:pt x="615" y="500"/>
                    <a:pt x="615" y="500"/>
                    <a:pt x="615" y="500"/>
                  </a:cubicBezTo>
                  <a:cubicBezTo>
                    <a:pt x="615" y="500"/>
                    <a:pt x="652" y="449"/>
                    <a:pt x="656" y="435"/>
                  </a:cubicBezTo>
                  <a:cubicBezTo>
                    <a:pt x="660" y="421"/>
                    <a:pt x="677" y="385"/>
                    <a:pt x="686" y="379"/>
                  </a:cubicBezTo>
                  <a:cubicBezTo>
                    <a:pt x="695" y="373"/>
                    <a:pt x="726" y="360"/>
                    <a:pt x="729" y="349"/>
                  </a:cubicBezTo>
                  <a:cubicBezTo>
                    <a:pt x="732" y="338"/>
                    <a:pt x="748" y="297"/>
                    <a:pt x="748" y="297"/>
                  </a:cubicBezTo>
                  <a:cubicBezTo>
                    <a:pt x="748" y="297"/>
                    <a:pt x="754" y="280"/>
                    <a:pt x="759" y="264"/>
                  </a:cubicBezTo>
                  <a:cubicBezTo>
                    <a:pt x="755" y="258"/>
                    <a:pt x="750" y="252"/>
                    <a:pt x="746" y="250"/>
                  </a:cubicBezTo>
                  <a:close/>
                  <a:moveTo>
                    <a:pt x="580" y="418"/>
                  </a:moveTo>
                  <a:cubicBezTo>
                    <a:pt x="580" y="418"/>
                    <a:pt x="571" y="426"/>
                    <a:pt x="563" y="428"/>
                  </a:cubicBezTo>
                  <a:cubicBezTo>
                    <a:pt x="555" y="430"/>
                    <a:pt x="552" y="428"/>
                    <a:pt x="542" y="432"/>
                  </a:cubicBezTo>
                  <a:cubicBezTo>
                    <a:pt x="532" y="436"/>
                    <a:pt x="531" y="456"/>
                    <a:pt x="531" y="456"/>
                  </a:cubicBezTo>
                  <a:cubicBezTo>
                    <a:pt x="516" y="457"/>
                    <a:pt x="516" y="457"/>
                    <a:pt x="516" y="457"/>
                  </a:cubicBezTo>
                  <a:cubicBezTo>
                    <a:pt x="498" y="437"/>
                    <a:pt x="498" y="437"/>
                    <a:pt x="498" y="437"/>
                  </a:cubicBezTo>
                  <a:cubicBezTo>
                    <a:pt x="498" y="426"/>
                    <a:pt x="498" y="426"/>
                    <a:pt x="498" y="426"/>
                  </a:cubicBezTo>
                  <a:cubicBezTo>
                    <a:pt x="481" y="401"/>
                    <a:pt x="481" y="401"/>
                    <a:pt x="481" y="401"/>
                  </a:cubicBezTo>
                  <a:cubicBezTo>
                    <a:pt x="498" y="399"/>
                    <a:pt x="498" y="399"/>
                    <a:pt x="498" y="399"/>
                  </a:cubicBezTo>
                  <a:cubicBezTo>
                    <a:pt x="500" y="389"/>
                    <a:pt x="500" y="389"/>
                    <a:pt x="500" y="389"/>
                  </a:cubicBezTo>
                  <a:cubicBezTo>
                    <a:pt x="512" y="376"/>
                    <a:pt x="512" y="376"/>
                    <a:pt x="512" y="376"/>
                  </a:cubicBezTo>
                  <a:cubicBezTo>
                    <a:pt x="512" y="376"/>
                    <a:pt x="514" y="366"/>
                    <a:pt x="519" y="362"/>
                  </a:cubicBezTo>
                  <a:cubicBezTo>
                    <a:pt x="524" y="358"/>
                    <a:pt x="534" y="361"/>
                    <a:pt x="534" y="361"/>
                  </a:cubicBezTo>
                  <a:cubicBezTo>
                    <a:pt x="535" y="351"/>
                    <a:pt x="535" y="351"/>
                    <a:pt x="535" y="351"/>
                  </a:cubicBezTo>
                  <a:cubicBezTo>
                    <a:pt x="543" y="348"/>
                    <a:pt x="543" y="348"/>
                    <a:pt x="543" y="348"/>
                  </a:cubicBezTo>
                  <a:cubicBezTo>
                    <a:pt x="543" y="348"/>
                    <a:pt x="559" y="343"/>
                    <a:pt x="564" y="349"/>
                  </a:cubicBezTo>
                  <a:cubicBezTo>
                    <a:pt x="569" y="355"/>
                    <a:pt x="581" y="374"/>
                    <a:pt x="581" y="374"/>
                  </a:cubicBezTo>
                  <a:cubicBezTo>
                    <a:pt x="591" y="377"/>
                    <a:pt x="591" y="377"/>
                    <a:pt x="591" y="377"/>
                  </a:cubicBezTo>
                  <a:cubicBezTo>
                    <a:pt x="592" y="393"/>
                    <a:pt x="592" y="393"/>
                    <a:pt x="592" y="393"/>
                  </a:cubicBezTo>
                  <a:cubicBezTo>
                    <a:pt x="577" y="406"/>
                    <a:pt x="577" y="406"/>
                    <a:pt x="577" y="406"/>
                  </a:cubicBezTo>
                  <a:lnTo>
                    <a:pt x="580" y="41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1" name="Freeform 159">
              <a:extLst>
                <a:ext uri="{FF2B5EF4-FFF2-40B4-BE49-F238E27FC236}">
                  <a16:creationId xmlns:a16="http://schemas.microsoft.com/office/drawing/2014/main" id="{BAD8CCAC-6FC9-32A9-0C86-E7F88C875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024" y="4423393"/>
              <a:ext cx="286574" cy="507602"/>
            </a:xfrm>
            <a:custGeom>
              <a:avLst/>
              <a:gdLst>
                <a:gd name="T0" fmla="*/ 26 w 508"/>
                <a:gd name="T1" fmla="*/ 11 h 891"/>
                <a:gd name="T2" fmla="*/ 25 w 508"/>
                <a:gd name="T3" fmla="*/ 9 h 891"/>
                <a:gd name="T4" fmla="*/ 26 w 508"/>
                <a:gd name="T5" fmla="*/ 8 h 891"/>
                <a:gd name="T6" fmla="*/ 26 w 508"/>
                <a:gd name="T7" fmla="*/ 6 h 891"/>
                <a:gd name="T8" fmla="*/ 26 w 508"/>
                <a:gd name="T9" fmla="*/ 1 h 891"/>
                <a:gd name="T10" fmla="*/ 25 w 508"/>
                <a:gd name="T11" fmla="*/ 0 h 891"/>
                <a:gd name="T12" fmla="*/ 21 w 508"/>
                <a:gd name="T13" fmla="*/ 2 h 891"/>
                <a:gd name="T14" fmla="*/ 20 w 508"/>
                <a:gd name="T15" fmla="*/ 2 h 891"/>
                <a:gd name="T16" fmla="*/ 18 w 508"/>
                <a:gd name="T17" fmla="*/ 3 h 891"/>
                <a:gd name="T18" fmla="*/ 16 w 508"/>
                <a:gd name="T19" fmla="*/ 3 h 891"/>
                <a:gd name="T20" fmla="*/ 14 w 508"/>
                <a:gd name="T21" fmla="*/ 3 h 891"/>
                <a:gd name="T22" fmla="*/ 12 w 508"/>
                <a:gd name="T23" fmla="*/ 3 h 891"/>
                <a:gd name="T24" fmla="*/ 11 w 508"/>
                <a:gd name="T25" fmla="*/ 4 h 891"/>
                <a:gd name="T26" fmla="*/ 11 w 508"/>
                <a:gd name="T27" fmla="*/ 7 h 891"/>
                <a:gd name="T28" fmla="*/ 12 w 508"/>
                <a:gd name="T29" fmla="*/ 9 h 891"/>
                <a:gd name="T30" fmla="*/ 14 w 508"/>
                <a:gd name="T31" fmla="*/ 12 h 891"/>
                <a:gd name="T32" fmla="*/ 14 w 508"/>
                <a:gd name="T33" fmla="*/ 16 h 891"/>
                <a:gd name="T34" fmla="*/ 13 w 508"/>
                <a:gd name="T35" fmla="*/ 17 h 891"/>
                <a:gd name="T36" fmla="*/ 12 w 508"/>
                <a:gd name="T37" fmla="*/ 18 h 891"/>
                <a:gd name="T38" fmla="*/ 10 w 508"/>
                <a:gd name="T39" fmla="*/ 15 h 891"/>
                <a:gd name="T40" fmla="*/ 10 w 508"/>
                <a:gd name="T41" fmla="*/ 15 h 891"/>
                <a:gd name="T42" fmla="*/ 11 w 508"/>
                <a:gd name="T43" fmla="*/ 14 h 891"/>
                <a:gd name="T44" fmla="*/ 10 w 508"/>
                <a:gd name="T45" fmla="*/ 12 h 891"/>
                <a:gd name="T46" fmla="*/ 10 w 508"/>
                <a:gd name="T47" fmla="*/ 11 h 891"/>
                <a:gd name="T48" fmla="*/ 7 w 508"/>
                <a:gd name="T49" fmla="*/ 10 h 891"/>
                <a:gd name="T50" fmla="*/ 2 w 508"/>
                <a:gd name="T51" fmla="*/ 12 h 891"/>
                <a:gd name="T52" fmla="*/ 0 w 508"/>
                <a:gd name="T53" fmla="*/ 13 h 891"/>
                <a:gd name="T54" fmla="*/ 1 w 508"/>
                <a:gd name="T55" fmla="*/ 15 h 891"/>
                <a:gd name="T56" fmla="*/ 3 w 508"/>
                <a:gd name="T57" fmla="*/ 16 h 891"/>
                <a:gd name="T58" fmla="*/ 4 w 508"/>
                <a:gd name="T59" fmla="*/ 17 h 891"/>
                <a:gd name="T60" fmla="*/ 6 w 508"/>
                <a:gd name="T61" fmla="*/ 17 h 891"/>
                <a:gd name="T62" fmla="*/ 7 w 508"/>
                <a:gd name="T63" fmla="*/ 19 h 891"/>
                <a:gd name="T64" fmla="*/ 7 w 508"/>
                <a:gd name="T65" fmla="*/ 19 h 891"/>
                <a:gd name="T66" fmla="*/ 7 w 508"/>
                <a:gd name="T67" fmla="*/ 21 h 891"/>
                <a:gd name="T68" fmla="*/ 7 w 508"/>
                <a:gd name="T69" fmla="*/ 23 h 891"/>
                <a:gd name="T70" fmla="*/ 6 w 508"/>
                <a:gd name="T71" fmla="*/ 24 h 891"/>
                <a:gd name="T72" fmla="*/ 6 w 508"/>
                <a:gd name="T73" fmla="*/ 25 h 891"/>
                <a:gd name="T74" fmla="*/ 6 w 508"/>
                <a:gd name="T75" fmla="*/ 27 h 891"/>
                <a:gd name="T76" fmla="*/ 5 w 508"/>
                <a:gd name="T77" fmla="*/ 28 h 891"/>
                <a:gd name="T78" fmla="*/ 5 w 508"/>
                <a:gd name="T79" fmla="*/ 30 h 891"/>
                <a:gd name="T80" fmla="*/ 5 w 508"/>
                <a:gd name="T81" fmla="*/ 31 h 891"/>
                <a:gd name="T82" fmla="*/ 3 w 508"/>
                <a:gd name="T83" fmla="*/ 37 h 891"/>
                <a:gd name="T84" fmla="*/ 4 w 508"/>
                <a:gd name="T85" fmla="*/ 42 h 891"/>
                <a:gd name="T86" fmla="*/ 4 w 508"/>
                <a:gd name="T87" fmla="*/ 43 h 891"/>
                <a:gd name="T88" fmla="*/ 4 w 508"/>
                <a:gd name="T89" fmla="*/ 45 h 891"/>
                <a:gd name="T90" fmla="*/ 5 w 508"/>
                <a:gd name="T91" fmla="*/ 46 h 891"/>
                <a:gd name="T92" fmla="*/ 6 w 508"/>
                <a:gd name="T93" fmla="*/ 46 h 891"/>
                <a:gd name="T94" fmla="*/ 6 w 508"/>
                <a:gd name="T95" fmla="*/ 43 h 891"/>
                <a:gd name="T96" fmla="*/ 12 w 508"/>
                <a:gd name="T97" fmla="*/ 38 h 891"/>
                <a:gd name="T98" fmla="*/ 11 w 508"/>
                <a:gd name="T99" fmla="*/ 37 h 891"/>
                <a:gd name="T100" fmla="*/ 12 w 508"/>
                <a:gd name="T101" fmla="*/ 34 h 891"/>
                <a:gd name="T102" fmla="*/ 13 w 508"/>
                <a:gd name="T103" fmla="*/ 33 h 891"/>
                <a:gd name="T104" fmla="*/ 12 w 508"/>
                <a:gd name="T105" fmla="*/ 32 h 891"/>
                <a:gd name="T106" fmla="*/ 11 w 508"/>
                <a:gd name="T107" fmla="*/ 29 h 891"/>
                <a:gd name="T108" fmla="*/ 11 w 508"/>
                <a:gd name="T109" fmla="*/ 26 h 891"/>
                <a:gd name="T110" fmla="*/ 14 w 508"/>
                <a:gd name="T111" fmla="*/ 24 h 891"/>
                <a:gd name="T112" fmla="*/ 16 w 508"/>
                <a:gd name="T113" fmla="*/ 22 h 891"/>
                <a:gd name="T114" fmla="*/ 21 w 508"/>
                <a:gd name="T115" fmla="*/ 18 h 891"/>
                <a:gd name="T116" fmla="*/ 23 w 508"/>
                <a:gd name="T117" fmla="*/ 16 h 891"/>
                <a:gd name="T118" fmla="*/ 25 w 508"/>
                <a:gd name="T119" fmla="*/ 14 h 891"/>
                <a:gd name="T120" fmla="*/ 26 w 508"/>
                <a:gd name="T121" fmla="*/ 12 h 89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8"/>
                <a:gd name="T184" fmla="*/ 0 h 891"/>
                <a:gd name="T185" fmla="*/ 508 w 508"/>
                <a:gd name="T186" fmla="*/ 891 h 89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8" h="891">
                  <a:moveTo>
                    <a:pt x="508" y="229"/>
                  </a:moveTo>
                  <a:cubicBezTo>
                    <a:pt x="508" y="221"/>
                    <a:pt x="507" y="210"/>
                    <a:pt x="507" y="210"/>
                  </a:cubicBezTo>
                  <a:cubicBezTo>
                    <a:pt x="499" y="211"/>
                    <a:pt x="499" y="211"/>
                    <a:pt x="499" y="211"/>
                  </a:cubicBezTo>
                  <a:cubicBezTo>
                    <a:pt x="499" y="170"/>
                    <a:pt x="499" y="170"/>
                    <a:pt x="499" y="170"/>
                  </a:cubicBezTo>
                  <a:cubicBezTo>
                    <a:pt x="491" y="162"/>
                    <a:pt x="491" y="162"/>
                    <a:pt x="491" y="162"/>
                  </a:cubicBezTo>
                  <a:cubicBezTo>
                    <a:pt x="502" y="155"/>
                    <a:pt x="502" y="155"/>
                    <a:pt x="502" y="155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503" y="104"/>
                    <a:pt x="503" y="104"/>
                    <a:pt x="503" y="104"/>
                  </a:cubicBezTo>
                  <a:cubicBezTo>
                    <a:pt x="493" y="78"/>
                    <a:pt x="493" y="78"/>
                    <a:pt x="493" y="78"/>
                  </a:cubicBezTo>
                  <a:cubicBezTo>
                    <a:pt x="493" y="78"/>
                    <a:pt x="505" y="21"/>
                    <a:pt x="505" y="13"/>
                  </a:cubicBezTo>
                  <a:cubicBezTo>
                    <a:pt x="505" y="5"/>
                    <a:pt x="497" y="0"/>
                    <a:pt x="497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44" y="37"/>
                    <a:pt x="444" y="37"/>
                    <a:pt x="444" y="37"/>
                  </a:cubicBezTo>
                  <a:cubicBezTo>
                    <a:pt x="425" y="38"/>
                    <a:pt x="425" y="38"/>
                    <a:pt x="425" y="38"/>
                  </a:cubicBezTo>
                  <a:cubicBezTo>
                    <a:pt x="425" y="38"/>
                    <a:pt x="404" y="51"/>
                    <a:pt x="400" y="52"/>
                  </a:cubicBezTo>
                  <a:cubicBezTo>
                    <a:pt x="396" y="53"/>
                    <a:pt x="393" y="45"/>
                    <a:pt x="393" y="45"/>
                  </a:cubicBezTo>
                  <a:cubicBezTo>
                    <a:pt x="377" y="45"/>
                    <a:pt x="377" y="45"/>
                    <a:pt x="377" y="45"/>
                  </a:cubicBezTo>
                  <a:cubicBezTo>
                    <a:pt x="377" y="45"/>
                    <a:pt x="361" y="63"/>
                    <a:pt x="354" y="66"/>
                  </a:cubicBezTo>
                  <a:cubicBezTo>
                    <a:pt x="347" y="69"/>
                    <a:pt x="343" y="67"/>
                    <a:pt x="343" y="67"/>
                  </a:cubicBezTo>
                  <a:cubicBezTo>
                    <a:pt x="343" y="67"/>
                    <a:pt x="329" y="59"/>
                    <a:pt x="325" y="61"/>
                  </a:cubicBezTo>
                  <a:cubicBezTo>
                    <a:pt x="321" y="63"/>
                    <a:pt x="316" y="72"/>
                    <a:pt x="311" y="72"/>
                  </a:cubicBezTo>
                  <a:cubicBezTo>
                    <a:pt x="306" y="72"/>
                    <a:pt x="287" y="51"/>
                    <a:pt x="279" y="51"/>
                  </a:cubicBezTo>
                  <a:cubicBezTo>
                    <a:pt x="271" y="51"/>
                    <a:pt x="267" y="61"/>
                    <a:pt x="267" y="61"/>
                  </a:cubicBezTo>
                  <a:cubicBezTo>
                    <a:pt x="267" y="61"/>
                    <a:pt x="250" y="62"/>
                    <a:pt x="237" y="62"/>
                  </a:cubicBezTo>
                  <a:cubicBezTo>
                    <a:pt x="236" y="66"/>
                    <a:pt x="236" y="70"/>
                    <a:pt x="236" y="72"/>
                  </a:cubicBezTo>
                  <a:cubicBezTo>
                    <a:pt x="236" y="75"/>
                    <a:pt x="233" y="81"/>
                    <a:pt x="224" y="89"/>
                  </a:cubicBezTo>
                  <a:cubicBezTo>
                    <a:pt x="215" y="97"/>
                    <a:pt x="225" y="104"/>
                    <a:pt x="229" y="109"/>
                  </a:cubicBezTo>
                  <a:cubicBezTo>
                    <a:pt x="233" y="114"/>
                    <a:pt x="233" y="132"/>
                    <a:pt x="228" y="144"/>
                  </a:cubicBezTo>
                  <a:cubicBezTo>
                    <a:pt x="225" y="151"/>
                    <a:pt x="225" y="159"/>
                    <a:pt x="226" y="164"/>
                  </a:cubicBezTo>
                  <a:cubicBezTo>
                    <a:pt x="229" y="165"/>
                    <a:pt x="233" y="165"/>
                    <a:pt x="235" y="166"/>
                  </a:cubicBezTo>
                  <a:cubicBezTo>
                    <a:pt x="239" y="169"/>
                    <a:pt x="257" y="196"/>
                    <a:pt x="261" y="204"/>
                  </a:cubicBezTo>
                  <a:cubicBezTo>
                    <a:pt x="265" y="212"/>
                    <a:pt x="275" y="222"/>
                    <a:pt x="281" y="231"/>
                  </a:cubicBezTo>
                  <a:cubicBezTo>
                    <a:pt x="287" y="240"/>
                    <a:pt x="270" y="258"/>
                    <a:pt x="270" y="258"/>
                  </a:cubicBezTo>
                  <a:cubicBezTo>
                    <a:pt x="270" y="258"/>
                    <a:pt x="274" y="293"/>
                    <a:pt x="268" y="300"/>
                  </a:cubicBezTo>
                  <a:cubicBezTo>
                    <a:pt x="262" y="307"/>
                    <a:pt x="244" y="299"/>
                    <a:pt x="238" y="317"/>
                  </a:cubicBezTo>
                  <a:cubicBezTo>
                    <a:pt x="232" y="335"/>
                    <a:pt x="242" y="323"/>
                    <a:pt x="246" y="333"/>
                  </a:cubicBezTo>
                  <a:cubicBezTo>
                    <a:pt x="250" y="343"/>
                    <a:pt x="243" y="360"/>
                    <a:pt x="232" y="358"/>
                  </a:cubicBezTo>
                  <a:cubicBezTo>
                    <a:pt x="221" y="356"/>
                    <a:pt x="235" y="346"/>
                    <a:pt x="234" y="340"/>
                  </a:cubicBezTo>
                  <a:cubicBezTo>
                    <a:pt x="233" y="334"/>
                    <a:pt x="202" y="314"/>
                    <a:pt x="202" y="314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2" y="297"/>
                    <a:pt x="197" y="297"/>
                    <a:pt x="195" y="294"/>
                  </a:cubicBezTo>
                  <a:cubicBezTo>
                    <a:pt x="193" y="291"/>
                    <a:pt x="208" y="279"/>
                    <a:pt x="208" y="279"/>
                  </a:cubicBezTo>
                  <a:cubicBezTo>
                    <a:pt x="200" y="266"/>
                    <a:pt x="200" y="266"/>
                    <a:pt x="200" y="266"/>
                  </a:cubicBezTo>
                  <a:cubicBezTo>
                    <a:pt x="210" y="263"/>
                    <a:pt x="210" y="263"/>
                    <a:pt x="210" y="263"/>
                  </a:cubicBezTo>
                  <a:cubicBezTo>
                    <a:pt x="213" y="242"/>
                    <a:pt x="213" y="242"/>
                    <a:pt x="213" y="242"/>
                  </a:cubicBezTo>
                  <a:cubicBezTo>
                    <a:pt x="213" y="242"/>
                    <a:pt x="207" y="243"/>
                    <a:pt x="208" y="234"/>
                  </a:cubicBezTo>
                  <a:cubicBezTo>
                    <a:pt x="209" y="225"/>
                    <a:pt x="205" y="214"/>
                    <a:pt x="205" y="214"/>
                  </a:cubicBezTo>
                  <a:cubicBezTo>
                    <a:pt x="199" y="211"/>
                    <a:pt x="189" y="218"/>
                    <a:pt x="189" y="218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48" y="189"/>
                    <a:pt x="104" y="209"/>
                    <a:pt x="95" y="214"/>
                  </a:cubicBezTo>
                  <a:cubicBezTo>
                    <a:pt x="85" y="219"/>
                    <a:pt x="43" y="227"/>
                    <a:pt x="43" y="227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11" y="239"/>
                    <a:pt x="5" y="243"/>
                  </a:cubicBezTo>
                  <a:cubicBezTo>
                    <a:pt x="0" y="247"/>
                    <a:pt x="15" y="261"/>
                    <a:pt x="15" y="261"/>
                  </a:cubicBezTo>
                  <a:cubicBezTo>
                    <a:pt x="17" y="297"/>
                    <a:pt x="17" y="297"/>
                    <a:pt x="17" y="297"/>
                  </a:cubicBezTo>
                  <a:cubicBezTo>
                    <a:pt x="56" y="297"/>
                    <a:pt x="56" y="297"/>
                    <a:pt x="56" y="29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89" y="322"/>
                    <a:pt x="89" y="322"/>
                    <a:pt x="89" y="322"/>
                  </a:cubicBezTo>
                  <a:cubicBezTo>
                    <a:pt x="89" y="322"/>
                    <a:pt x="99" y="319"/>
                    <a:pt x="107" y="319"/>
                  </a:cubicBezTo>
                  <a:cubicBezTo>
                    <a:pt x="115" y="319"/>
                    <a:pt x="120" y="331"/>
                    <a:pt x="120" y="331"/>
                  </a:cubicBezTo>
                  <a:cubicBezTo>
                    <a:pt x="120" y="331"/>
                    <a:pt x="135" y="331"/>
                    <a:pt x="139" y="339"/>
                  </a:cubicBezTo>
                  <a:cubicBezTo>
                    <a:pt x="143" y="347"/>
                    <a:pt x="129" y="357"/>
                    <a:pt x="129" y="357"/>
                  </a:cubicBezTo>
                  <a:cubicBezTo>
                    <a:pt x="137" y="366"/>
                    <a:pt x="137" y="366"/>
                    <a:pt x="137" y="366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37" y="383"/>
                    <a:pt x="132" y="390"/>
                    <a:pt x="129" y="395"/>
                  </a:cubicBezTo>
                  <a:cubicBezTo>
                    <a:pt x="127" y="401"/>
                    <a:pt x="135" y="407"/>
                    <a:pt x="137" y="421"/>
                  </a:cubicBezTo>
                  <a:cubicBezTo>
                    <a:pt x="140" y="434"/>
                    <a:pt x="131" y="434"/>
                    <a:pt x="131" y="434"/>
                  </a:cubicBezTo>
                  <a:cubicBezTo>
                    <a:pt x="131" y="443"/>
                    <a:pt x="131" y="443"/>
                    <a:pt x="131" y="443"/>
                  </a:cubicBezTo>
                  <a:cubicBezTo>
                    <a:pt x="117" y="450"/>
                    <a:pt x="117" y="450"/>
                    <a:pt x="117" y="450"/>
                  </a:cubicBezTo>
                  <a:cubicBezTo>
                    <a:pt x="131" y="466"/>
                    <a:pt x="131" y="466"/>
                    <a:pt x="131" y="466"/>
                  </a:cubicBezTo>
                  <a:cubicBezTo>
                    <a:pt x="131" y="466"/>
                    <a:pt x="119" y="477"/>
                    <a:pt x="117" y="482"/>
                  </a:cubicBezTo>
                  <a:cubicBezTo>
                    <a:pt x="116" y="487"/>
                    <a:pt x="133" y="498"/>
                    <a:pt x="135" y="505"/>
                  </a:cubicBezTo>
                  <a:cubicBezTo>
                    <a:pt x="136" y="511"/>
                    <a:pt x="125" y="518"/>
                    <a:pt x="125" y="518"/>
                  </a:cubicBezTo>
                  <a:cubicBezTo>
                    <a:pt x="125" y="518"/>
                    <a:pt x="123" y="525"/>
                    <a:pt x="121" y="533"/>
                  </a:cubicBezTo>
                  <a:cubicBezTo>
                    <a:pt x="120" y="541"/>
                    <a:pt x="105" y="542"/>
                    <a:pt x="105" y="542"/>
                  </a:cubicBezTo>
                  <a:cubicBezTo>
                    <a:pt x="104" y="565"/>
                    <a:pt x="104" y="565"/>
                    <a:pt x="104" y="565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105" y="583"/>
                    <a:pt x="105" y="583"/>
                    <a:pt x="105" y="583"/>
                  </a:cubicBezTo>
                  <a:cubicBezTo>
                    <a:pt x="95" y="586"/>
                    <a:pt x="95" y="586"/>
                    <a:pt x="95" y="586"/>
                  </a:cubicBezTo>
                  <a:cubicBezTo>
                    <a:pt x="48" y="642"/>
                    <a:pt x="48" y="642"/>
                    <a:pt x="48" y="642"/>
                  </a:cubicBezTo>
                  <a:cubicBezTo>
                    <a:pt x="48" y="642"/>
                    <a:pt x="55" y="693"/>
                    <a:pt x="57" y="702"/>
                  </a:cubicBezTo>
                  <a:cubicBezTo>
                    <a:pt x="59" y="711"/>
                    <a:pt x="80" y="743"/>
                    <a:pt x="79" y="752"/>
                  </a:cubicBezTo>
                  <a:cubicBezTo>
                    <a:pt x="78" y="761"/>
                    <a:pt x="78" y="809"/>
                    <a:pt x="78" y="809"/>
                  </a:cubicBezTo>
                  <a:cubicBezTo>
                    <a:pt x="60" y="833"/>
                    <a:pt x="60" y="833"/>
                    <a:pt x="60" y="833"/>
                  </a:cubicBezTo>
                  <a:cubicBezTo>
                    <a:pt x="76" y="830"/>
                    <a:pt x="76" y="830"/>
                    <a:pt x="76" y="830"/>
                  </a:cubicBezTo>
                  <a:cubicBezTo>
                    <a:pt x="76" y="830"/>
                    <a:pt x="71" y="847"/>
                    <a:pt x="73" y="854"/>
                  </a:cubicBezTo>
                  <a:cubicBezTo>
                    <a:pt x="76" y="861"/>
                    <a:pt x="83" y="861"/>
                    <a:pt x="83" y="861"/>
                  </a:cubicBezTo>
                  <a:cubicBezTo>
                    <a:pt x="87" y="877"/>
                    <a:pt x="87" y="877"/>
                    <a:pt x="87" y="877"/>
                  </a:cubicBezTo>
                  <a:cubicBezTo>
                    <a:pt x="91" y="876"/>
                    <a:pt x="95" y="875"/>
                    <a:pt x="98" y="877"/>
                  </a:cubicBezTo>
                  <a:cubicBezTo>
                    <a:pt x="102" y="879"/>
                    <a:pt x="107" y="885"/>
                    <a:pt x="111" y="891"/>
                  </a:cubicBezTo>
                  <a:cubicBezTo>
                    <a:pt x="113" y="883"/>
                    <a:pt x="115" y="876"/>
                    <a:pt x="115" y="871"/>
                  </a:cubicBezTo>
                  <a:cubicBezTo>
                    <a:pt x="116" y="856"/>
                    <a:pt x="107" y="845"/>
                    <a:pt x="107" y="845"/>
                  </a:cubicBezTo>
                  <a:cubicBezTo>
                    <a:pt x="107" y="845"/>
                    <a:pt x="88" y="839"/>
                    <a:pt x="109" y="819"/>
                  </a:cubicBezTo>
                  <a:cubicBezTo>
                    <a:pt x="130" y="799"/>
                    <a:pt x="165" y="785"/>
                    <a:pt x="186" y="773"/>
                  </a:cubicBezTo>
                  <a:cubicBezTo>
                    <a:pt x="207" y="761"/>
                    <a:pt x="242" y="744"/>
                    <a:pt x="242" y="735"/>
                  </a:cubicBezTo>
                  <a:cubicBezTo>
                    <a:pt x="242" y="726"/>
                    <a:pt x="242" y="718"/>
                    <a:pt x="242" y="718"/>
                  </a:cubicBezTo>
                  <a:cubicBezTo>
                    <a:pt x="242" y="718"/>
                    <a:pt x="231" y="727"/>
                    <a:pt x="230" y="713"/>
                  </a:cubicBezTo>
                  <a:cubicBezTo>
                    <a:pt x="229" y="699"/>
                    <a:pt x="249" y="684"/>
                    <a:pt x="247" y="674"/>
                  </a:cubicBezTo>
                  <a:cubicBezTo>
                    <a:pt x="245" y="664"/>
                    <a:pt x="241" y="650"/>
                    <a:pt x="241" y="650"/>
                  </a:cubicBezTo>
                  <a:cubicBezTo>
                    <a:pt x="248" y="631"/>
                    <a:pt x="248" y="631"/>
                    <a:pt x="248" y="631"/>
                  </a:cubicBezTo>
                  <a:cubicBezTo>
                    <a:pt x="246" y="626"/>
                    <a:pt x="246" y="626"/>
                    <a:pt x="246" y="626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8" y="612"/>
                    <a:pt x="238" y="612"/>
                    <a:pt x="238" y="612"/>
                  </a:cubicBezTo>
                  <a:cubicBezTo>
                    <a:pt x="238" y="612"/>
                    <a:pt x="223" y="597"/>
                    <a:pt x="222" y="587"/>
                  </a:cubicBezTo>
                  <a:cubicBezTo>
                    <a:pt x="221" y="577"/>
                    <a:pt x="230" y="567"/>
                    <a:pt x="225" y="555"/>
                  </a:cubicBezTo>
                  <a:cubicBezTo>
                    <a:pt x="220" y="543"/>
                    <a:pt x="208" y="554"/>
                    <a:pt x="208" y="541"/>
                  </a:cubicBezTo>
                  <a:cubicBezTo>
                    <a:pt x="208" y="528"/>
                    <a:pt x="219" y="507"/>
                    <a:pt x="222" y="503"/>
                  </a:cubicBezTo>
                  <a:cubicBezTo>
                    <a:pt x="225" y="499"/>
                    <a:pt x="249" y="493"/>
                    <a:pt x="252" y="484"/>
                  </a:cubicBezTo>
                  <a:cubicBezTo>
                    <a:pt x="255" y="475"/>
                    <a:pt x="260" y="460"/>
                    <a:pt x="267" y="455"/>
                  </a:cubicBezTo>
                  <a:cubicBezTo>
                    <a:pt x="274" y="450"/>
                    <a:pt x="279" y="455"/>
                    <a:pt x="287" y="449"/>
                  </a:cubicBezTo>
                  <a:cubicBezTo>
                    <a:pt x="295" y="443"/>
                    <a:pt x="310" y="435"/>
                    <a:pt x="312" y="419"/>
                  </a:cubicBezTo>
                  <a:cubicBezTo>
                    <a:pt x="314" y="403"/>
                    <a:pt x="331" y="385"/>
                    <a:pt x="348" y="377"/>
                  </a:cubicBezTo>
                  <a:cubicBezTo>
                    <a:pt x="365" y="369"/>
                    <a:pt x="409" y="355"/>
                    <a:pt x="417" y="348"/>
                  </a:cubicBezTo>
                  <a:cubicBezTo>
                    <a:pt x="425" y="341"/>
                    <a:pt x="458" y="324"/>
                    <a:pt x="458" y="324"/>
                  </a:cubicBezTo>
                  <a:cubicBezTo>
                    <a:pt x="458" y="314"/>
                    <a:pt x="458" y="314"/>
                    <a:pt x="458" y="314"/>
                  </a:cubicBezTo>
                  <a:cubicBezTo>
                    <a:pt x="458" y="314"/>
                    <a:pt x="476" y="295"/>
                    <a:pt x="476" y="290"/>
                  </a:cubicBezTo>
                  <a:cubicBezTo>
                    <a:pt x="476" y="285"/>
                    <a:pt x="498" y="263"/>
                    <a:pt x="498" y="263"/>
                  </a:cubicBezTo>
                  <a:cubicBezTo>
                    <a:pt x="496" y="254"/>
                    <a:pt x="496" y="254"/>
                    <a:pt x="496" y="254"/>
                  </a:cubicBezTo>
                  <a:cubicBezTo>
                    <a:pt x="496" y="254"/>
                    <a:pt x="508" y="237"/>
                    <a:pt x="508" y="22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2" name="Freeform 160">
              <a:extLst>
                <a:ext uri="{FF2B5EF4-FFF2-40B4-BE49-F238E27FC236}">
                  <a16:creationId xmlns:a16="http://schemas.microsoft.com/office/drawing/2014/main" id="{E7591FE4-DCE2-DA89-995E-78CEA3A56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7143" y="4392906"/>
              <a:ext cx="92985" cy="236271"/>
            </a:xfrm>
            <a:custGeom>
              <a:avLst/>
              <a:gdLst>
                <a:gd name="T0" fmla="*/ 8 w 162"/>
                <a:gd name="T1" fmla="*/ 15 h 416"/>
                <a:gd name="T2" fmla="*/ 7 w 162"/>
                <a:gd name="T3" fmla="*/ 13 h 416"/>
                <a:gd name="T4" fmla="*/ 6 w 162"/>
                <a:gd name="T5" fmla="*/ 12 h 416"/>
                <a:gd name="T6" fmla="*/ 5 w 162"/>
                <a:gd name="T7" fmla="*/ 12 h 416"/>
                <a:gd name="T8" fmla="*/ 6 w 162"/>
                <a:gd name="T9" fmla="*/ 12 h 416"/>
                <a:gd name="T10" fmla="*/ 6 w 162"/>
                <a:gd name="T11" fmla="*/ 12 h 416"/>
                <a:gd name="T12" fmla="*/ 6 w 162"/>
                <a:gd name="T13" fmla="*/ 14 h 416"/>
                <a:gd name="T14" fmla="*/ 6 w 162"/>
                <a:gd name="T15" fmla="*/ 13 h 416"/>
                <a:gd name="T16" fmla="*/ 5 w 162"/>
                <a:gd name="T17" fmla="*/ 13 h 416"/>
                <a:gd name="T18" fmla="*/ 5 w 162"/>
                <a:gd name="T19" fmla="*/ 12 h 416"/>
                <a:gd name="T20" fmla="*/ 5 w 162"/>
                <a:gd name="T21" fmla="*/ 12 h 416"/>
                <a:gd name="T22" fmla="*/ 5 w 162"/>
                <a:gd name="T23" fmla="*/ 10 h 416"/>
                <a:gd name="T24" fmla="*/ 3 w 162"/>
                <a:gd name="T25" fmla="*/ 9 h 416"/>
                <a:gd name="T26" fmla="*/ 3 w 162"/>
                <a:gd name="T27" fmla="*/ 8 h 416"/>
                <a:gd name="T28" fmla="*/ 4 w 162"/>
                <a:gd name="T29" fmla="*/ 7 h 416"/>
                <a:gd name="T30" fmla="*/ 5 w 162"/>
                <a:gd name="T31" fmla="*/ 6 h 416"/>
                <a:gd name="T32" fmla="*/ 5 w 162"/>
                <a:gd name="T33" fmla="*/ 5 h 416"/>
                <a:gd name="T34" fmla="*/ 4 w 162"/>
                <a:gd name="T35" fmla="*/ 3 h 416"/>
                <a:gd name="T36" fmla="*/ 3 w 162"/>
                <a:gd name="T37" fmla="*/ 2 h 416"/>
                <a:gd name="T38" fmla="*/ 3 w 162"/>
                <a:gd name="T39" fmla="*/ 0 h 416"/>
                <a:gd name="T40" fmla="*/ 2 w 162"/>
                <a:gd name="T41" fmla="*/ 0 h 416"/>
                <a:gd name="T42" fmla="*/ 2 w 162"/>
                <a:gd name="T43" fmla="*/ 0 h 416"/>
                <a:gd name="T44" fmla="*/ 1 w 162"/>
                <a:gd name="T45" fmla="*/ 0 h 416"/>
                <a:gd name="T46" fmla="*/ 1 w 162"/>
                <a:gd name="T47" fmla="*/ 0 h 416"/>
                <a:gd name="T48" fmla="*/ 2 w 162"/>
                <a:gd name="T49" fmla="*/ 1 h 416"/>
                <a:gd name="T50" fmla="*/ 2 w 162"/>
                <a:gd name="T51" fmla="*/ 2 h 416"/>
                <a:gd name="T52" fmla="*/ 2 w 162"/>
                <a:gd name="T53" fmla="*/ 2 h 416"/>
                <a:gd name="T54" fmla="*/ 2 w 162"/>
                <a:gd name="T55" fmla="*/ 3 h 416"/>
                <a:gd name="T56" fmla="*/ 3 w 162"/>
                <a:gd name="T57" fmla="*/ 3 h 416"/>
                <a:gd name="T58" fmla="*/ 2 w 162"/>
                <a:gd name="T59" fmla="*/ 4 h 416"/>
                <a:gd name="T60" fmla="*/ 2 w 162"/>
                <a:gd name="T61" fmla="*/ 4 h 416"/>
                <a:gd name="T62" fmla="*/ 2 w 162"/>
                <a:gd name="T63" fmla="*/ 5 h 416"/>
                <a:gd name="T64" fmla="*/ 2 w 162"/>
                <a:gd name="T65" fmla="*/ 6 h 416"/>
                <a:gd name="T66" fmla="*/ 2 w 162"/>
                <a:gd name="T67" fmla="*/ 8 h 416"/>
                <a:gd name="T68" fmla="*/ 2 w 162"/>
                <a:gd name="T69" fmla="*/ 8 h 416"/>
                <a:gd name="T70" fmla="*/ 1 w 162"/>
                <a:gd name="T71" fmla="*/ 9 h 416"/>
                <a:gd name="T72" fmla="*/ 1 w 162"/>
                <a:gd name="T73" fmla="*/ 10 h 416"/>
                <a:gd name="T74" fmla="*/ 0 w 162"/>
                <a:gd name="T75" fmla="*/ 12 h 416"/>
                <a:gd name="T76" fmla="*/ 1 w 162"/>
                <a:gd name="T77" fmla="*/ 13 h 416"/>
                <a:gd name="T78" fmla="*/ 2 w 162"/>
                <a:gd name="T79" fmla="*/ 14 h 416"/>
                <a:gd name="T80" fmla="*/ 3 w 162"/>
                <a:gd name="T81" fmla="*/ 14 h 416"/>
                <a:gd name="T82" fmla="*/ 4 w 162"/>
                <a:gd name="T83" fmla="*/ 14 h 416"/>
                <a:gd name="T84" fmla="*/ 5 w 162"/>
                <a:gd name="T85" fmla="*/ 15 h 416"/>
                <a:gd name="T86" fmla="*/ 5 w 162"/>
                <a:gd name="T87" fmla="*/ 15 h 416"/>
                <a:gd name="T88" fmla="*/ 5 w 162"/>
                <a:gd name="T89" fmla="*/ 16 h 416"/>
                <a:gd name="T90" fmla="*/ 4 w 162"/>
                <a:gd name="T91" fmla="*/ 17 h 416"/>
                <a:gd name="T92" fmla="*/ 5 w 162"/>
                <a:gd name="T93" fmla="*/ 18 h 416"/>
                <a:gd name="T94" fmla="*/ 4 w 162"/>
                <a:gd name="T95" fmla="*/ 18 h 416"/>
                <a:gd name="T96" fmla="*/ 4 w 162"/>
                <a:gd name="T97" fmla="*/ 18 h 416"/>
                <a:gd name="T98" fmla="*/ 4 w 162"/>
                <a:gd name="T99" fmla="*/ 19 h 416"/>
                <a:gd name="T100" fmla="*/ 6 w 162"/>
                <a:gd name="T101" fmla="*/ 20 h 416"/>
                <a:gd name="T102" fmla="*/ 6 w 162"/>
                <a:gd name="T103" fmla="*/ 21 h 416"/>
                <a:gd name="T104" fmla="*/ 6 w 162"/>
                <a:gd name="T105" fmla="*/ 20 h 416"/>
                <a:gd name="T106" fmla="*/ 6 w 162"/>
                <a:gd name="T107" fmla="*/ 19 h 416"/>
                <a:gd name="T108" fmla="*/ 8 w 162"/>
                <a:gd name="T109" fmla="*/ 19 h 416"/>
                <a:gd name="T110" fmla="*/ 8 w 162"/>
                <a:gd name="T111" fmla="*/ 16 h 416"/>
                <a:gd name="T112" fmla="*/ 8 w 162"/>
                <a:gd name="T113" fmla="*/ 15 h 4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2"/>
                <a:gd name="T172" fmla="*/ 0 h 416"/>
                <a:gd name="T173" fmla="*/ 162 w 162"/>
                <a:gd name="T174" fmla="*/ 416 h 41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2" h="416">
                  <a:moveTo>
                    <a:pt x="156" y="287"/>
                  </a:moveTo>
                  <a:cubicBezTo>
                    <a:pt x="150" y="278"/>
                    <a:pt x="140" y="268"/>
                    <a:pt x="136" y="260"/>
                  </a:cubicBezTo>
                  <a:cubicBezTo>
                    <a:pt x="132" y="252"/>
                    <a:pt x="114" y="225"/>
                    <a:pt x="110" y="222"/>
                  </a:cubicBezTo>
                  <a:cubicBezTo>
                    <a:pt x="108" y="221"/>
                    <a:pt x="104" y="221"/>
                    <a:pt x="101" y="220"/>
                  </a:cubicBezTo>
                  <a:cubicBezTo>
                    <a:pt x="101" y="225"/>
                    <a:pt x="103" y="228"/>
                    <a:pt x="105" y="229"/>
                  </a:cubicBezTo>
                  <a:cubicBezTo>
                    <a:pt x="110" y="231"/>
                    <a:pt x="114" y="237"/>
                    <a:pt x="114" y="237"/>
                  </a:cubicBezTo>
                  <a:cubicBezTo>
                    <a:pt x="114" y="237"/>
                    <a:pt x="119" y="262"/>
                    <a:pt x="113" y="264"/>
                  </a:cubicBezTo>
                  <a:cubicBezTo>
                    <a:pt x="107" y="266"/>
                    <a:pt x="105" y="253"/>
                    <a:pt x="105" y="253"/>
                  </a:cubicBezTo>
                  <a:cubicBezTo>
                    <a:pt x="105" y="253"/>
                    <a:pt x="93" y="259"/>
                    <a:pt x="90" y="257"/>
                  </a:cubicBezTo>
                  <a:cubicBezTo>
                    <a:pt x="87" y="255"/>
                    <a:pt x="87" y="241"/>
                    <a:pt x="86" y="234"/>
                  </a:cubicBezTo>
                  <a:cubicBezTo>
                    <a:pt x="85" y="227"/>
                    <a:pt x="83" y="224"/>
                    <a:pt x="81" y="220"/>
                  </a:cubicBezTo>
                  <a:cubicBezTo>
                    <a:pt x="79" y="216"/>
                    <a:pt x="81" y="203"/>
                    <a:pt x="81" y="195"/>
                  </a:cubicBezTo>
                  <a:cubicBezTo>
                    <a:pt x="81" y="187"/>
                    <a:pt x="76" y="181"/>
                    <a:pt x="64" y="171"/>
                  </a:cubicBezTo>
                  <a:cubicBezTo>
                    <a:pt x="52" y="161"/>
                    <a:pt x="61" y="163"/>
                    <a:pt x="59" y="154"/>
                  </a:cubicBezTo>
                  <a:cubicBezTo>
                    <a:pt x="57" y="145"/>
                    <a:pt x="67" y="137"/>
                    <a:pt x="77" y="126"/>
                  </a:cubicBezTo>
                  <a:cubicBezTo>
                    <a:pt x="87" y="115"/>
                    <a:pt x="83" y="113"/>
                    <a:pt x="84" y="108"/>
                  </a:cubicBezTo>
                  <a:cubicBezTo>
                    <a:pt x="85" y="103"/>
                    <a:pt x="81" y="98"/>
                    <a:pt x="81" y="90"/>
                  </a:cubicBezTo>
                  <a:cubicBezTo>
                    <a:pt x="81" y="82"/>
                    <a:pt x="79" y="67"/>
                    <a:pt x="78" y="51"/>
                  </a:cubicBezTo>
                  <a:cubicBezTo>
                    <a:pt x="77" y="35"/>
                    <a:pt x="75" y="44"/>
                    <a:pt x="64" y="37"/>
                  </a:cubicBezTo>
                  <a:cubicBezTo>
                    <a:pt x="53" y="30"/>
                    <a:pt x="61" y="21"/>
                    <a:pt x="6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34" y="9"/>
                    <a:pt x="35" y="16"/>
                  </a:cubicBezTo>
                  <a:cubicBezTo>
                    <a:pt x="36" y="23"/>
                    <a:pt x="34" y="42"/>
                    <a:pt x="37" y="42"/>
                  </a:cubicBezTo>
                  <a:cubicBezTo>
                    <a:pt x="40" y="42"/>
                    <a:pt x="46" y="41"/>
                    <a:pt x="46" y="41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58" y="57"/>
                    <a:pt x="52" y="64"/>
                  </a:cubicBezTo>
                  <a:cubicBezTo>
                    <a:pt x="46" y="71"/>
                    <a:pt x="30" y="75"/>
                    <a:pt x="30" y="7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45" y="150"/>
                    <a:pt x="42" y="157"/>
                  </a:cubicBezTo>
                  <a:cubicBezTo>
                    <a:pt x="39" y="164"/>
                    <a:pt x="14" y="175"/>
                    <a:pt x="14" y="175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0"/>
                    <a:pt x="0" y="223"/>
                    <a:pt x="1" y="226"/>
                  </a:cubicBezTo>
                  <a:cubicBezTo>
                    <a:pt x="2" y="229"/>
                    <a:pt x="23" y="245"/>
                    <a:pt x="23" y="245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64" y="274"/>
                    <a:pt x="74" y="267"/>
                    <a:pt x="80" y="270"/>
                  </a:cubicBezTo>
                  <a:cubicBezTo>
                    <a:pt x="80" y="270"/>
                    <a:pt x="84" y="281"/>
                    <a:pt x="83" y="290"/>
                  </a:cubicBezTo>
                  <a:cubicBezTo>
                    <a:pt x="82" y="299"/>
                    <a:pt x="88" y="298"/>
                    <a:pt x="88" y="298"/>
                  </a:cubicBezTo>
                  <a:cubicBezTo>
                    <a:pt x="85" y="319"/>
                    <a:pt x="85" y="319"/>
                    <a:pt x="85" y="319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83" y="335"/>
                    <a:pt x="83" y="335"/>
                    <a:pt x="83" y="335"/>
                  </a:cubicBezTo>
                  <a:cubicBezTo>
                    <a:pt x="83" y="335"/>
                    <a:pt x="68" y="347"/>
                    <a:pt x="70" y="350"/>
                  </a:cubicBezTo>
                  <a:cubicBezTo>
                    <a:pt x="72" y="353"/>
                    <a:pt x="77" y="353"/>
                    <a:pt x="77" y="353"/>
                  </a:cubicBezTo>
                  <a:cubicBezTo>
                    <a:pt x="77" y="370"/>
                    <a:pt x="77" y="370"/>
                    <a:pt x="77" y="370"/>
                  </a:cubicBezTo>
                  <a:cubicBezTo>
                    <a:pt x="77" y="370"/>
                    <a:pt x="108" y="390"/>
                    <a:pt x="109" y="396"/>
                  </a:cubicBezTo>
                  <a:cubicBezTo>
                    <a:pt x="110" y="402"/>
                    <a:pt x="96" y="412"/>
                    <a:pt x="107" y="414"/>
                  </a:cubicBezTo>
                  <a:cubicBezTo>
                    <a:pt x="118" y="416"/>
                    <a:pt x="125" y="399"/>
                    <a:pt x="121" y="389"/>
                  </a:cubicBezTo>
                  <a:cubicBezTo>
                    <a:pt x="117" y="379"/>
                    <a:pt x="107" y="391"/>
                    <a:pt x="113" y="373"/>
                  </a:cubicBezTo>
                  <a:cubicBezTo>
                    <a:pt x="119" y="355"/>
                    <a:pt x="137" y="363"/>
                    <a:pt x="143" y="356"/>
                  </a:cubicBezTo>
                  <a:cubicBezTo>
                    <a:pt x="149" y="349"/>
                    <a:pt x="145" y="314"/>
                    <a:pt x="145" y="314"/>
                  </a:cubicBezTo>
                  <a:cubicBezTo>
                    <a:pt x="145" y="314"/>
                    <a:pt x="162" y="296"/>
                    <a:pt x="156" y="28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3" name="Freeform 161">
              <a:extLst>
                <a:ext uri="{FF2B5EF4-FFF2-40B4-BE49-F238E27FC236}">
                  <a16:creationId xmlns:a16="http://schemas.microsoft.com/office/drawing/2014/main" id="{3BBB2965-8E0C-64D3-94A9-5112812B0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569" y="4353273"/>
              <a:ext cx="318585" cy="304866"/>
            </a:xfrm>
            <a:custGeom>
              <a:avLst/>
              <a:gdLst>
                <a:gd name="T0" fmla="*/ 28 w 563"/>
                <a:gd name="T1" fmla="*/ 6 h 536"/>
                <a:gd name="T2" fmla="*/ 27 w 563"/>
                <a:gd name="T3" fmla="*/ 4 h 536"/>
                <a:gd name="T4" fmla="*/ 27 w 563"/>
                <a:gd name="T5" fmla="*/ 4 h 536"/>
                <a:gd name="T6" fmla="*/ 26 w 563"/>
                <a:gd name="T7" fmla="*/ 3 h 536"/>
                <a:gd name="T8" fmla="*/ 25 w 563"/>
                <a:gd name="T9" fmla="*/ 3 h 536"/>
                <a:gd name="T10" fmla="*/ 23 w 563"/>
                <a:gd name="T11" fmla="*/ 2 h 536"/>
                <a:gd name="T12" fmla="*/ 22 w 563"/>
                <a:gd name="T13" fmla="*/ 1 h 536"/>
                <a:gd name="T14" fmla="*/ 22 w 563"/>
                <a:gd name="T15" fmla="*/ 1 h 536"/>
                <a:gd name="T16" fmla="*/ 20 w 563"/>
                <a:gd name="T17" fmla="*/ 0 h 536"/>
                <a:gd name="T18" fmla="*/ 17 w 563"/>
                <a:gd name="T19" fmla="*/ 1 h 536"/>
                <a:gd name="T20" fmla="*/ 16 w 563"/>
                <a:gd name="T21" fmla="*/ 3 h 536"/>
                <a:gd name="T22" fmla="*/ 16 w 563"/>
                <a:gd name="T23" fmla="*/ 4 h 536"/>
                <a:gd name="T24" fmla="*/ 16 w 563"/>
                <a:gd name="T25" fmla="*/ 10 h 536"/>
                <a:gd name="T26" fmla="*/ 18 w 563"/>
                <a:gd name="T27" fmla="*/ 12 h 536"/>
                <a:gd name="T28" fmla="*/ 19 w 563"/>
                <a:gd name="T29" fmla="*/ 11 h 536"/>
                <a:gd name="T30" fmla="*/ 19 w 563"/>
                <a:gd name="T31" fmla="*/ 15 h 536"/>
                <a:gd name="T32" fmla="*/ 18 w 563"/>
                <a:gd name="T33" fmla="*/ 15 h 536"/>
                <a:gd name="T34" fmla="*/ 17 w 563"/>
                <a:gd name="T35" fmla="*/ 13 h 536"/>
                <a:gd name="T36" fmla="*/ 16 w 563"/>
                <a:gd name="T37" fmla="*/ 12 h 536"/>
                <a:gd name="T38" fmla="*/ 14 w 563"/>
                <a:gd name="T39" fmla="*/ 11 h 536"/>
                <a:gd name="T40" fmla="*/ 14 w 563"/>
                <a:gd name="T41" fmla="*/ 10 h 536"/>
                <a:gd name="T42" fmla="*/ 13 w 563"/>
                <a:gd name="T43" fmla="*/ 9 h 536"/>
                <a:gd name="T44" fmla="*/ 9 w 563"/>
                <a:gd name="T45" fmla="*/ 10 h 536"/>
                <a:gd name="T46" fmla="*/ 7 w 563"/>
                <a:gd name="T47" fmla="*/ 9 h 536"/>
                <a:gd name="T48" fmla="*/ 6 w 563"/>
                <a:gd name="T49" fmla="*/ 8 h 536"/>
                <a:gd name="T50" fmla="*/ 5 w 563"/>
                <a:gd name="T51" fmla="*/ 7 h 536"/>
                <a:gd name="T52" fmla="*/ 6 w 563"/>
                <a:gd name="T53" fmla="*/ 9 h 536"/>
                <a:gd name="T54" fmla="*/ 5 w 563"/>
                <a:gd name="T55" fmla="*/ 11 h 536"/>
                <a:gd name="T56" fmla="*/ 5 w 563"/>
                <a:gd name="T57" fmla="*/ 12 h 536"/>
                <a:gd name="T58" fmla="*/ 4 w 563"/>
                <a:gd name="T59" fmla="*/ 14 h 536"/>
                <a:gd name="T60" fmla="*/ 0 w 563"/>
                <a:gd name="T61" fmla="*/ 22 h 536"/>
                <a:gd name="T62" fmla="*/ 0 w 563"/>
                <a:gd name="T63" fmla="*/ 24 h 536"/>
                <a:gd name="T64" fmla="*/ 4 w 563"/>
                <a:gd name="T65" fmla="*/ 26 h 536"/>
                <a:gd name="T66" fmla="*/ 6 w 563"/>
                <a:gd name="T67" fmla="*/ 26 h 536"/>
                <a:gd name="T68" fmla="*/ 7 w 563"/>
                <a:gd name="T69" fmla="*/ 26 h 536"/>
                <a:gd name="T70" fmla="*/ 9 w 563"/>
                <a:gd name="T71" fmla="*/ 27 h 536"/>
                <a:gd name="T72" fmla="*/ 10 w 563"/>
                <a:gd name="T73" fmla="*/ 27 h 536"/>
                <a:gd name="T74" fmla="*/ 14 w 563"/>
                <a:gd name="T75" fmla="*/ 25 h 536"/>
                <a:gd name="T76" fmla="*/ 17 w 563"/>
                <a:gd name="T77" fmla="*/ 24 h 536"/>
                <a:gd name="T78" fmla="*/ 18 w 563"/>
                <a:gd name="T79" fmla="*/ 21 h 536"/>
                <a:gd name="T80" fmla="*/ 20 w 563"/>
                <a:gd name="T81" fmla="*/ 20 h 536"/>
                <a:gd name="T82" fmla="*/ 21 w 563"/>
                <a:gd name="T83" fmla="*/ 19 h 536"/>
                <a:gd name="T84" fmla="*/ 24 w 563"/>
                <a:gd name="T85" fmla="*/ 18 h 536"/>
                <a:gd name="T86" fmla="*/ 26 w 563"/>
                <a:gd name="T87" fmla="*/ 15 h 536"/>
                <a:gd name="T88" fmla="*/ 27 w 563"/>
                <a:gd name="T89" fmla="*/ 13 h 536"/>
                <a:gd name="T90" fmla="*/ 27 w 563"/>
                <a:gd name="T91" fmla="*/ 12 h 536"/>
                <a:gd name="T92" fmla="*/ 28 w 563"/>
                <a:gd name="T93" fmla="*/ 8 h 536"/>
                <a:gd name="T94" fmla="*/ 27 w 563"/>
                <a:gd name="T95" fmla="*/ 7 h 536"/>
                <a:gd name="T96" fmla="*/ 28 w 563"/>
                <a:gd name="T97" fmla="*/ 6 h 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63"/>
                <a:gd name="T148" fmla="*/ 0 h 536"/>
                <a:gd name="T149" fmla="*/ 563 w 563"/>
                <a:gd name="T150" fmla="*/ 536 h 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63" h="536">
                  <a:moveTo>
                    <a:pt x="551" y="122"/>
                  </a:moveTo>
                  <a:cubicBezTo>
                    <a:pt x="551" y="109"/>
                    <a:pt x="551" y="109"/>
                    <a:pt x="551" y="109"/>
                  </a:cubicBezTo>
                  <a:cubicBezTo>
                    <a:pt x="551" y="109"/>
                    <a:pt x="545" y="110"/>
                    <a:pt x="542" y="110"/>
                  </a:cubicBezTo>
                  <a:cubicBezTo>
                    <a:pt x="539" y="110"/>
                    <a:pt x="541" y="91"/>
                    <a:pt x="540" y="84"/>
                  </a:cubicBezTo>
                  <a:cubicBezTo>
                    <a:pt x="539" y="77"/>
                    <a:pt x="525" y="77"/>
                    <a:pt x="525" y="77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02" y="60"/>
                    <a:pt x="502" y="60"/>
                    <a:pt x="502" y="60"/>
                  </a:cubicBezTo>
                  <a:cubicBezTo>
                    <a:pt x="500" y="49"/>
                    <a:pt x="500" y="49"/>
                    <a:pt x="500" y="49"/>
                  </a:cubicBezTo>
                  <a:cubicBezTo>
                    <a:pt x="500" y="49"/>
                    <a:pt x="490" y="55"/>
                    <a:pt x="485" y="51"/>
                  </a:cubicBezTo>
                  <a:cubicBezTo>
                    <a:pt x="480" y="47"/>
                    <a:pt x="473" y="38"/>
                    <a:pt x="473" y="38"/>
                  </a:cubicBezTo>
                  <a:cubicBezTo>
                    <a:pt x="473" y="38"/>
                    <a:pt x="464" y="41"/>
                    <a:pt x="461" y="38"/>
                  </a:cubicBezTo>
                  <a:cubicBezTo>
                    <a:pt x="458" y="35"/>
                    <a:pt x="456" y="23"/>
                    <a:pt x="456" y="23"/>
                  </a:cubicBezTo>
                  <a:cubicBezTo>
                    <a:pt x="456" y="23"/>
                    <a:pt x="444" y="27"/>
                    <a:pt x="436" y="26"/>
                  </a:cubicBezTo>
                  <a:cubicBezTo>
                    <a:pt x="434" y="31"/>
                    <a:pt x="431" y="36"/>
                    <a:pt x="428" y="38"/>
                  </a:cubicBezTo>
                  <a:cubicBezTo>
                    <a:pt x="420" y="42"/>
                    <a:pt x="419" y="25"/>
                    <a:pt x="419" y="25"/>
                  </a:cubicBezTo>
                  <a:cubicBezTo>
                    <a:pt x="419" y="25"/>
                    <a:pt x="411" y="20"/>
                    <a:pt x="400" y="16"/>
                  </a:cubicBezTo>
                  <a:cubicBezTo>
                    <a:pt x="393" y="13"/>
                    <a:pt x="398" y="6"/>
                    <a:pt x="402" y="0"/>
                  </a:cubicBezTo>
                  <a:cubicBezTo>
                    <a:pt x="394" y="4"/>
                    <a:pt x="387" y="6"/>
                    <a:pt x="383" y="7"/>
                  </a:cubicBezTo>
                  <a:cubicBezTo>
                    <a:pt x="370" y="10"/>
                    <a:pt x="333" y="15"/>
                    <a:pt x="333" y="15"/>
                  </a:cubicBezTo>
                  <a:cubicBezTo>
                    <a:pt x="333" y="15"/>
                    <a:pt x="333" y="28"/>
                    <a:pt x="333" y="35"/>
                  </a:cubicBezTo>
                  <a:cubicBezTo>
                    <a:pt x="333" y="42"/>
                    <a:pt x="306" y="57"/>
                    <a:pt x="306" y="57"/>
                  </a:cubicBezTo>
                  <a:cubicBezTo>
                    <a:pt x="306" y="57"/>
                    <a:pt x="312" y="64"/>
                    <a:pt x="315" y="66"/>
                  </a:cubicBezTo>
                  <a:cubicBezTo>
                    <a:pt x="318" y="68"/>
                    <a:pt x="320" y="87"/>
                    <a:pt x="320" y="87"/>
                  </a:cubicBezTo>
                  <a:cubicBezTo>
                    <a:pt x="320" y="87"/>
                    <a:pt x="324" y="121"/>
                    <a:pt x="324" y="135"/>
                  </a:cubicBezTo>
                  <a:cubicBezTo>
                    <a:pt x="324" y="149"/>
                    <a:pt x="302" y="171"/>
                    <a:pt x="304" y="189"/>
                  </a:cubicBezTo>
                  <a:cubicBezTo>
                    <a:pt x="306" y="207"/>
                    <a:pt x="317" y="202"/>
                    <a:pt x="323" y="209"/>
                  </a:cubicBezTo>
                  <a:cubicBezTo>
                    <a:pt x="329" y="216"/>
                    <a:pt x="341" y="230"/>
                    <a:pt x="351" y="230"/>
                  </a:cubicBezTo>
                  <a:cubicBezTo>
                    <a:pt x="361" y="230"/>
                    <a:pt x="358" y="217"/>
                    <a:pt x="358" y="217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72" y="214"/>
                    <a:pt x="373" y="279"/>
                    <a:pt x="367" y="282"/>
                  </a:cubicBezTo>
                  <a:cubicBezTo>
                    <a:pt x="361" y="285"/>
                    <a:pt x="359" y="271"/>
                    <a:pt x="359" y="271"/>
                  </a:cubicBezTo>
                  <a:cubicBezTo>
                    <a:pt x="344" y="281"/>
                    <a:pt x="344" y="281"/>
                    <a:pt x="344" y="281"/>
                  </a:cubicBezTo>
                  <a:cubicBezTo>
                    <a:pt x="332" y="281"/>
                    <a:pt x="332" y="281"/>
                    <a:pt x="332" y="281"/>
                  </a:cubicBezTo>
                  <a:cubicBezTo>
                    <a:pt x="332" y="281"/>
                    <a:pt x="329" y="258"/>
                    <a:pt x="324" y="251"/>
                  </a:cubicBezTo>
                  <a:cubicBezTo>
                    <a:pt x="319" y="244"/>
                    <a:pt x="313" y="247"/>
                    <a:pt x="313" y="247"/>
                  </a:cubicBezTo>
                  <a:cubicBezTo>
                    <a:pt x="313" y="247"/>
                    <a:pt x="311" y="236"/>
                    <a:pt x="305" y="228"/>
                  </a:cubicBezTo>
                  <a:cubicBezTo>
                    <a:pt x="299" y="220"/>
                    <a:pt x="294" y="228"/>
                    <a:pt x="290" y="228"/>
                  </a:cubicBezTo>
                  <a:cubicBezTo>
                    <a:pt x="286" y="228"/>
                    <a:pt x="287" y="220"/>
                    <a:pt x="282" y="216"/>
                  </a:cubicBezTo>
                  <a:cubicBezTo>
                    <a:pt x="277" y="212"/>
                    <a:pt x="275" y="218"/>
                    <a:pt x="267" y="217"/>
                  </a:cubicBezTo>
                  <a:cubicBezTo>
                    <a:pt x="259" y="216"/>
                    <a:pt x="267" y="207"/>
                    <a:pt x="267" y="203"/>
                  </a:cubicBezTo>
                  <a:cubicBezTo>
                    <a:pt x="267" y="199"/>
                    <a:pt x="257" y="199"/>
                    <a:pt x="253" y="194"/>
                  </a:cubicBezTo>
                  <a:cubicBezTo>
                    <a:pt x="249" y="189"/>
                    <a:pt x="258" y="184"/>
                    <a:pt x="246" y="179"/>
                  </a:cubicBezTo>
                  <a:cubicBezTo>
                    <a:pt x="234" y="174"/>
                    <a:pt x="237" y="200"/>
                    <a:pt x="232" y="204"/>
                  </a:cubicBezTo>
                  <a:cubicBezTo>
                    <a:pt x="227" y="208"/>
                    <a:pt x="175" y="195"/>
                    <a:pt x="165" y="188"/>
                  </a:cubicBezTo>
                  <a:cubicBezTo>
                    <a:pt x="155" y="181"/>
                    <a:pt x="159" y="162"/>
                    <a:pt x="159" y="162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8" y="168"/>
                    <a:pt x="142" y="178"/>
                    <a:pt x="125" y="177"/>
                  </a:cubicBezTo>
                  <a:cubicBezTo>
                    <a:pt x="108" y="176"/>
                    <a:pt x="117" y="151"/>
                    <a:pt x="117" y="151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6" y="154"/>
                    <a:pt x="110" y="175"/>
                    <a:pt x="107" y="178"/>
                  </a:cubicBezTo>
                  <a:cubicBezTo>
                    <a:pt x="104" y="181"/>
                    <a:pt x="96" y="183"/>
                    <a:pt x="96" y="183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2"/>
                    <a:pt x="99" y="248"/>
                    <a:pt x="97" y="255"/>
                  </a:cubicBezTo>
                  <a:cubicBezTo>
                    <a:pt x="95" y="262"/>
                    <a:pt x="84" y="262"/>
                    <a:pt x="84" y="262"/>
                  </a:cubicBezTo>
                  <a:cubicBezTo>
                    <a:pt x="1" y="260"/>
                    <a:pt x="1" y="260"/>
                    <a:pt x="1" y="260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6" y="437"/>
                    <a:pt x="6" y="437"/>
                    <a:pt x="6" y="437"/>
                  </a:cubicBezTo>
                  <a:cubicBezTo>
                    <a:pt x="6" y="449"/>
                    <a:pt x="6" y="449"/>
                    <a:pt x="6" y="449"/>
                  </a:cubicBezTo>
                  <a:cubicBezTo>
                    <a:pt x="64" y="507"/>
                    <a:pt x="64" y="507"/>
                    <a:pt x="64" y="507"/>
                  </a:cubicBezTo>
                  <a:cubicBezTo>
                    <a:pt x="79" y="511"/>
                    <a:pt x="79" y="511"/>
                    <a:pt x="79" y="511"/>
                  </a:cubicBezTo>
                  <a:cubicBezTo>
                    <a:pt x="92" y="503"/>
                    <a:pt x="92" y="503"/>
                    <a:pt x="92" y="503"/>
                  </a:cubicBezTo>
                  <a:cubicBezTo>
                    <a:pt x="92" y="503"/>
                    <a:pt x="99" y="498"/>
                    <a:pt x="108" y="498"/>
                  </a:cubicBezTo>
                  <a:cubicBezTo>
                    <a:pt x="117" y="498"/>
                    <a:pt x="118" y="506"/>
                    <a:pt x="118" y="506"/>
                  </a:cubicBezTo>
                  <a:cubicBezTo>
                    <a:pt x="138" y="504"/>
                    <a:pt x="138" y="504"/>
                    <a:pt x="138" y="504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17"/>
                    <a:pt x="175" y="513"/>
                    <a:pt x="177" y="517"/>
                  </a:cubicBezTo>
                  <a:cubicBezTo>
                    <a:pt x="179" y="521"/>
                    <a:pt x="185" y="527"/>
                    <a:pt x="189" y="527"/>
                  </a:cubicBezTo>
                  <a:cubicBezTo>
                    <a:pt x="193" y="527"/>
                    <a:pt x="195" y="515"/>
                    <a:pt x="202" y="521"/>
                  </a:cubicBezTo>
                  <a:cubicBezTo>
                    <a:pt x="209" y="527"/>
                    <a:pt x="210" y="536"/>
                    <a:pt x="228" y="527"/>
                  </a:cubicBezTo>
                  <a:cubicBezTo>
                    <a:pt x="246" y="518"/>
                    <a:pt x="267" y="491"/>
                    <a:pt x="267" y="491"/>
                  </a:cubicBezTo>
                  <a:cubicBezTo>
                    <a:pt x="267" y="491"/>
                    <a:pt x="269" y="475"/>
                    <a:pt x="276" y="468"/>
                  </a:cubicBezTo>
                  <a:cubicBezTo>
                    <a:pt x="283" y="461"/>
                    <a:pt x="322" y="450"/>
                    <a:pt x="323" y="449"/>
                  </a:cubicBezTo>
                  <a:cubicBezTo>
                    <a:pt x="324" y="448"/>
                    <a:pt x="321" y="425"/>
                    <a:pt x="321" y="425"/>
                  </a:cubicBezTo>
                  <a:cubicBezTo>
                    <a:pt x="321" y="425"/>
                    <a:pt x="339" y="411"/>
                    <a:pt x="356" y="405"/>
                  </a:cubicBezTo>
                  <a:cubicBezTo>
                    <a:pt x="369" y="400"/>
                    <a:pt x="387" y="400"/>
                    <a:pt x="396" y="401"/>
                  </a:cubicBezTo>
                  <a:cubicBezTo>
                    <a:pt x="395" y="385"/>
                    <a:pt x="395" y="385"/>
                    <a:pt x="395" y="385"/>
                  </a:cubicBezTo>
                  <a:cubicBezTo>
                    <a:pt x="395" y="385"/>
                    <a:pt x="380" y="371"/>
                    <a:pt x="385" y="367"/>
                  </a:cubicBezTo>
                  <a:cubicBezTo>
                    <a:pt x="391" y="363"/>
                    <a:pt x="411" y="362"/>
                    <a:pt x="411" y="362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3" y="351"/>
                    <a:pt x="465" y="343"/>
                    <a:pt x="475" y="338"/>
                  </a:cubicBezTo>
                  <a:cubicBezTo>
                    <a:pt x="484" y="333"/>
                    <a:pt x="528" y="313"/>
                    <a:pt x="528" y="313"/>
                  </a:cubicBezTo>
                  <a:cubicBezTo>
                    <a:pt x="528" y="313"/>
                    <a:pt x="507" y="297"/>
                    <a:pt x="506" y="294"/>
                  </a:cubicBezTo>
                  <a:cubicBezTo>
                    <a:pt x="505" y="291"/>
                    <a:pt x="521" y="268"/>
                    <a:pt x="521" y="268"/>
                  </a:cubicBezTo>
                  <a:cubicBezTo>
                    <a:pt x="519" y="243"/>
                    <a:pt x="519" y="243"/>
                    <a:pt x="519" y="243"/>
                  </a:cubicBezTo>
                  <a:cubicBezTo>
                    <a:pt x="519" y="243"/>
                    <a:pt x="544" y="232"/>
                    <a:pt x="547" y="225"/>
                  </a:cubicBezTo>
                  <a:cubicBezTo>
                    <a:pt x="550" y="218"/>
                    <a:pt x="539" y="221"/>
                    <a:pt x="539" y="221"/>
                  </a:cubicBezTo>
                  <a:cubicBezTo>
                    <a:pt x="538" y="173"/>
                    <a:pt x="538" y="173"/>
                    <a:pt x="538" y="173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35" y="154"/>
                    <a:pt x="535" y="154"/>
                    <a:pt x="535" y="154"/>
                  </a:cubicBezTo>
                  <a:cubicBezTo>
                    <a:pt x="535" y="143"/>
                    <a:pt x="535" y="143"/>
                    <a:pt x="535" y="143"/>
                  </a:cubicBezTo>
                  <a:cubicBezTo>
                    <a:pt x="535" y="143"/>
                    <a:pt x="551" y="139"/>
                    <a:pt x="557" y="132"/>
                  </a:cubicBezTo>
                  <a:cubicBezTo>
                    <a:pt x="563" y="125"/>
                    <a:pt x="551" y="122"/>
                    <a:pt x="551" y="122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4" name="Freeform 163">
              <a:extLst>
                <a:ext uri="{FF2B5EF4-FFF2-40B4-BE49-F238E27FC236}">
                  <a16:creationId xmlns:a16="http://schemas.microsoft.com/office/drawing/2014/main" id="{BBA1212E-5244-5224-CEF9-AE564FF36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537" y="4135295"/>
              <a:ext cx="57924" cy="56401"/>
            </a:xfrm>
            <a:custGeom>
              <a:avLst/>
              <a:gdLst>
                <a:gd name="T0" fmla="*/ 2 w 104"/>
                <a:gd name="T1" fmla="*/ 5 h 98"/>
                <a:gd name="T2" fmla="*/ 3 w 104"/>
                <a:gd name="T3" fmla="*/ 5 h 98"/>
                <a:gd name="T4" fmla="*/ 3 w 104"/>
                <a:gd name="T5" fmla="*/ 4 h 98"/>
                <a:gd name="T6" fmla="*/ 4 w 104"/>
                <a:gd name="T7" fmla="*/ 4 h 98"/>
                <a:gd name="T8" fmla="*/ 4 w 104"/>
                <a:gd name="T9" fmla="*/ 4 h 98"/>
                <a:gd name="T10" fmla="*/ 5 w 104"/>
                <a:gd name="T11" fmla="*/ 3 h 98"/>
                <a:gd name="T12" fmla="*/ 5 w 104"/>
                <a:gd name="T13" fmla="*/ 2 h 98"/>
                <a:gd name="T14" fmla="*/ 5 w 104"/>
                <a:gd name="T15" fmla="*/ 2 h 98"/>
                <a:gd name="T16" fmla="*/ 4 w 104"/>
                <a:gd name="T17" fmla="*/ 1 h 98"/>
                <a:gd name="T18" fmla="*/ 4 w 104"/>
                <a:gd name="T19" fmla="*/ 0 h 98"/>
                <a:gd name="T20" fmla="*/ 4 w 104"/>
                <a:gd name="T21" fmla="*/ 0 h 98"/>
                <a:gd name="T22" fmla="*/ 3 w 104"/>
                <a:gd name="T23" fmla="*/ 1 h 98"/>
                <a:gd name="T24" fmla="*/ 3 w 104"/>
                <a:gd name="T25" fmla="*/ 1 h 98"/>
                <a:gd name="T26" fmla="*/ 2 w 104"/>
                <a:gd name="T27" fmla="*/ 1 h 98"/>
                <a:gd name="T28" fmla="*/ 1 w 104"/>
                <a:gd name="T29" fmla="*/ 2 h 98"/>
                <a:gd name="T30" fmla="*/ 1 w 104"/>
                <a:gd name="T31" fmla="*/ 3 h 98"/>
                <a:gd name="T32" fmla="*/ 0 w 104"/>
                <a:gd name="T33" fmla="*/ 4 h 98"/>
                <a:gd name="T34" fmla="*/ 1 w 104"/>
                <a:gd name="T35" fmla="*/ 5 h 98"/>
                <a:gd name="T36" fmla="*/ 2 w 104"/>
                <a:gd name="T37" fmla="*/ 5 h 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4"/>
                <a:gd name="T58" fmla="*/ 0 h 98"/>
                <a:gd name="T59" fmla="*/ 104 w 104"/>
                <a:gd name="T60" fmla="*/ 98 h 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4" h="98">
                  <a:moveTo>
                    <a:pt x="35" y="98"/>
                  </a:moveTo>
                  <a:cubicBezTo>
                    <a:pt x="39" y="98"/>
                    <a:pt x="52" y="91"/>
                    <a:pt x="52" y="91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6" y="73"/>
                    <a:pt x="104" y="71"/>
                    <a:pt x="104" y="64"/>
                  </a:cubicBezTo>
                  <a:cubicBezTo>
                    <a:pt x="104" y="52"/>
                    <a:pt x="98" y="44"/>
                    <a:pt x="98" y="44"/>
                  </a:cubicBezTo>
                  <a:cubicBezTo>
                    <a:pt x="98" y="44"/>
                    <a:pt x="104" y="39"/>
                    <a:pt x="100" y="31"/>
                  </a:cubicBezTo>
                  <a:cubicBezTo>
                    <a:pt x="96" y="23"/>
                    <a:pt x="86" y="13"/>
                    <a:pt x="86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1" y="17"/>
                    <a:pt x="64" y="25"/>
                  </a:cubicBezTo>
                  <a:cubicBezTo>
                    <a:pt x="58" y="32"/>
                    <a:pt x="52" y="17"/>
                    <a:pt x="5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18" y="28"/>
                    <a:pt x="17" y="36"/>
                  </a:cubicBezTo>
                  <a:cubicBezTo>
                    <a:pt x="15" y="44"/>
                    <a:pt x="25" y="55"/>
                    <a:pt x="24" y="58"/>
                  </a:cubicBezTo>
                  <a:cubicBezTo>
                    <a:pt x="22" y="62"/>
                    <a:pt x="0" y="72"/>
                    <a:pt x="4" y="80"/>
                  </a:cubicBezTo>
                  <a:cubicBezTo>
                    <a:pt x="8" y="88"/>
                    <a:pt x="22" y="85"/>
                    <a:pt x="22" y="85"/>
                  </a:cubicBezTo>
                  <a:cubicBezTo>
                    <a:pt x="22" y="85"/>
                    <a:pt x="31" y="98"/>
                    <a:pt x="35" y="9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5" name="Freeform 164">
              <a:extLst>
                <a:ext uri="{FF2B5EF4-FFF2-40B4-BE49-F238E27FC236}">
                  <a16:creationId xmlns:a16="http://schemas.microsoft.com/office/drawing/2014/main" id="{4D4F3525-C5F0-0149-53BB-DE94B779D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433" y="3938656"/>
              <a:ext cx="512174" cy="576196"/>
            </a:xfrm>
            <a:custGeom>
              <a:avLst/>
              <a:gdLst>
                <a:gd name="T0" fmla="*/ 43 w 902"/>
                <a:gd name="T1" fmla="*/ 13 h 1016"/>
                <a:gd name="T2" fmla="*/ 44 w 902"/>
                <a:gd name="T3" fmla="*/ 12 h 1016"/>
                <a:gd name="T4" fmla="*/ 46 w 902"/>
                <a:gd name="T5" fmla="*/ 9 h 1016"/>
                <a:gd name="T6" fmla="*/ 45 w 902"/>
                <a:gd name="T7" fmla="*/ 6 h 1016"/>
                <a:gd name="T8" fmla="*/ 45 w 902"/>
                <a:gd name="T9" fmla="*/ 5 h 1016"/>
                <a:gd name="T10" fmla="*/ 42 w 902"/>
                <a:gd name="T11" fmla="*/ 2 h 1016"/>
                <a:gd name="T12" fmla="*/ 39 w 902"/>
                <a:gd name="T13" fmla="*/ 3 h 1016"/>
                <a:gd name="T14" fmla="*/ 37 w 902"/>
                <a:gd name="T15" fmla="*/ 1 h 1016"/>
                <a:gd name="T16" fmla="*/ 34 w 902"/>
                <a:gd name="T17" fmla="*/ 0 h 1016"/>
                <a:gd name="T18" fmla="*/ 32 w 902"/>
                <a:gd name="T19" fmla="*/ 1 h 1016"/>
                <a:gd name="T20" fmla="*/ 29 w 902"/>
                <a:gd name="T21" fmla="*/ 1 h 1016"/>
                <a:gd name="T22" fmla="*/ 26 w 902"/>
                <a:gd name="T23" fmla="*/ 1 h 1016"/>
                <a:gd name="T24" fmla="*/ 24 w 902"/>
                <a:gd name="T25" fmla="*/ 3 h 1016"/>
                <a:gd name="T26" fmla="*/ 20 w 902"/>
                <a:gd name="T27" fmla="*/ 3 h 1016"/>
                <a:gd name="T28" fmla="*/ 18 w 902"/>
                <a:gd name="T29" fmla="*/ 1 h 1016"/>
                <a:gd name="T30" fmla="*/ 16 w 902"/>
                <a:gd name="T31" fmla="*/ 4 h 1016"/>
                <a:gd name="T32" fmla="*/ 16 w 902"/>
                <a:gd name="T33" fmla="*/ 5 h 1016"/>
                <a:gd name="T34" fmla="*/ 14 w 902"/>
                <a:gd name="T35" fmla="*/ 11 h 1016"/>
                <a:gd name="T36" fmla="*/ 14 w 902"/>
                <a:gd name="T37" fmla="*/ 15 h 1016"/>
                <a:gd name="T38" fmla="*/ 11 w 902"/>
                <a:gd name="T39" fmla="*/ 19 h 1016"/>
                <a:gd name="T40" fmla="*/ 10 w 902"/>
                <a:gd name="T41" fmla="*/ 25 h 1016"/>
                <a:gd name="T42" fmla="*/ 7 w 902"/>
                <a:gd name="T43" fmla="*/ 28 h 1016"/>
                <a:gd name="T44" fmla="*/ 4 w 902"/>
                <a:gd name="T45" fmla="*/ 28 h 1016"/>
                <a:gd name="T46" fmla="*/ 2 w 902"/>
                <a:gd name="T47" fmla="*/ 28 h 1016"/>
                <a:gd name="T48" fmla="*/ 0 w 902"/>
                <a:gd name="T49" fmla="*/ 29 h 1016"/>
                <a:gd name="T50" fmla="*/ 0 w 902"/>
                <a:gd name="T51" fmla="*/ 32 h 1016"/>
                <a:gd name="T52" fmla="*/ 3 w 902"/>
                <a:gd name="T53" fmla="*/ 31 h 1016"/>
                <a:gd name="T54" fmla="*/ 5 w 902"/>
                <a:gd name="T55" fmla="*/ 31 h 1016"/>
                <a:gd name="T56" fmla="*/ 8 w 902"/>
                <a:gd name="T57" fmla="*/ 31 h 1016"/>
                <a:gd name="T58" fmla="*/ 10 w 902"/>
                <a:gd name="T59" fmla="*/ 31 h 1016"/>
                <a:gd name="T60" fmla="*/ 12 w 902"/>
                <a:gd name="T61" fmla="*/ 34 h 1016"/>
                <a:gd name="T62" fmla="*/ 12 w 902"/>
                <a:gd name="T63" fmla="*/ 36 h 1016"/>
                <a:gd name="T64" fmla="*/ 14 w 902"/>
                <a:gd name="T65" fmla="*/ 37 h 1016"/>
                <a:gd name="T66" fmla="*/ 15 w 902"/>
                <a:gd name="T67" fmla="*/ 37 h 1016"/>
                <a:gd name="T68" fmla="*/ 18 w 902"/>
                <a:gd name="T69" fmla="*/ 37 h 1016"/>
                <a:gd name="T70" fmla="*/ 18 w 902"/>
                <a:gd name="T71" fmla="*/ 35 h 1016"/>
                <a:gd name="T72" fmla="*/ 20 w 902"/>
                <a:gd name="T73" fmla="*/ 35 h 1016"/>
                <a:gd name="T74" fmla="*/ 23 w 902"/>
                <a:gd name="T75" fmla="*/ 36 h 1016"/>
                <a:gd name="T76" fmla="*/ 24 w 902"/>
                <a:gd name="T77" fmla="*/ 38 h 1016"/>
                <a:gd name="T78" fmla="*/ 23 w 902"/>
                <a:gd name="T79" fmla="*/ 41 h 1016"/>
                <a:gd name="T80" fmla="*/ 24 w 902"/>
                <a:gd name="T81" fmla="*/ 45 h 1016"/>
                <a:gd name="T82" fmla="*/ 25 w 902"/>
                <a:gd name="T83" fmla="*/ 46 h 1016"/>
                <a:gd name="T84" fmla="*/ 27 w 902"/>
                <a:gd name="T85" fmla="*/ 45 h 1016"/>
                <a:gd name="T86" fmla="*/ 29 w 902"/>
                <a:gd name="T87" fmla="*/ 45 h 1016"/>
                <a:gd name="T88" fmla="*/ 30 w 902"/>
                <a:gd name="T89" fmla="*/ 47 h 1016"/>
                <a:gd name="T90" fmla="*/ 32 w 902"/>
                <a:gd name="T91" fmla="*/ 47 h 1016"/>
                <a:gd name="T92" fmla="*/ 37 w 902"/>
                <a:gd name="T93" fmla="*/ 48 h 1016"/>
                <a:gd name="T94" fmla="*/ 38 w 902"/>
                <a:gd name="T95" fmla="*/ 49 h 1016"/>
                <a:gd name="T96" fmla="*/ 40 w 902"/>
                <a:gd name="T97" fmla="*/ 50 h 1016"/>
                <a:gd name="T98" fmla="*/ 41 w 902"/>
                <a:gd name="T99" fmla="*/ 52 h 1016"/>
                <a:gd name="T100" fmla="*/ 43 w 902"/>
                <a:gd name="T101" fmla="*/ 49 h 1016"/>
                <a:gd name="T102" fmla="*/ 42 w 902"/>
                <a:gd name="T103" fmla="*/ 49 h 1016"/>
                <a:gd name="T104" fmla="*/ 40 w 902"/>
                <a:gd name="T105" fmla="*/ 45 h 1016"/>
                <a:gd name="T106" fmla="*/ 39 w 902"/>
                <a:gd name="T107" fmla="*/ 41 h 1016"/>
                <a:gd name="T108" fmla="*/ 43 w 902"/>
                <a:gd name="T109" fmla="*/ 38 h 1016"/>
                <a:gd name="T110" fmla="*/ 44 w 902"/>
                <a:gd name="T111" fmla="*/ 36 h 1016"/>
                <a:gd name="T112" fmla="*/ 43 w 902"/>
                <a:gd name="T113" fmla="*/ 34 h 1016"/>
                <a:gd name="T114" fmla="*/ 42 w 902"/>
                <a:gd name="T115" fmla="*/ 30 h 1016"/>
                <a:gd name="T116" fmla="*/ 41 w 902"/>
                <a:gd name="T117" fmla="*/ 26 h 1016"/>
                <a:gd name="T118" fmla="*/ 42 w 902"/>
                <a:gd name="T119" fmla="*/ 24 h 1016"/>
                <a:gd name="T120" fmla="*/ 41 w 902"/>
                <a:gd name="T121" fmla="*/ 22 h 1016"/>
                <a:gd name="T122" fmla="*/ 41 w 902"/>
                <a:gd name="T123" fmla="*/ 20 h 101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2"/>
                <a:gd name="T187" fmla="*/ 0 h 1016"/>
                <a:gd name="T188" fmla="*/ 902 w 902"/>
                <a:gd name="T189" fmla="*/ 1016 h 101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2" h="1016">
                  <a:moveTo>
                    <a:pt x="828" y="315"/>
                  </a:moveTo>
                  <a:cubicBezTo>
                    <a:pt x="828" y="295"/>
                    <a:pt x="828" y="295"/>
                    <a:pt x="828" y="295"/>
                  </a:cubicBezTo>
                  <a:cubicBezTo>
                    <a:pt x="838" y="264"/>
                    <a:pt x="838" y="264"/>
                    <a:pt x="838" y="264"/>
                  </a:cubicBezTo>
                  <a:cubicBezTo>
                    <a:pt x="840" y="247"/>
                    <a:pt x="840" y="247"/>
                    <a:pt x="840" y="247"/>
                  </a:cubicBezTo>
                  <a:cubicBezTo>
                    <a:pt x="853" y="239"/>
                    <a:pt x="853" y="239"/>
                    <a:pt x="853" y="239"/>
                  </a:cubicBezTo>
                  <a:cubicBezTo>
                    <a:pt x="853" y="230"/>
                    <a:pt x="853" y="230"/>
                    <a:pt x="853" y="230"/>
                  </a:cubicBezTo>
                  <a:cubicBezTo>
                    <a:pt x="869" y="222"/>
                    <a:pt x="869" y="222"/>
                    <a:pt x="869" y="222"/>
                  </a:cubicBezTo>
                  <a:cubicBezTo>
                    <a:pt x="869" y="222"/>
                    <a:pt x="902" y="182"/>
                    <a:pt x="902" y="174"/>
                  </a:cubicBezTo>
                  <a:cubicBezTo>
                    <a:pt x="902" y="166"/>
                    <a:pt x="890" y="163"/>
                    <a:pt x="890" y="163"/>
                  </a:cubicBezTo>
                  <a:cubicBezTo>
                    <a:pt x="890" y="163"/>
                    <a:pt x="879" y="164"/>
                    <a:pt x="876" y="158"/>
                  </a:cubicBezTo>
                  <a:cubicBezTo>
                    <a:pt x="873" y="153"/>
                    <a:pt x="882" y="142"/>
                    <a:pt x="883" y="137"/>
                  </a:cubicBezTo>
                  <a:cubicBezTo>
                    <a:pt x="884" y="131"/>
                    <a:pt x="873" y="127"/>
                    <a:pt x="873" y="127"/>
                  </a:cubicBezTo>
                  <a:cubicBezTo>
                    <a:pt x="886" y="113"/>
                    <a:pt x="886" y="113"/>
                    <a:pt x="886" y="113"/>
                  </a:cubicBezTo>
                  <a:cubicBezTo>
                    <a:pt x="880" y="100"/>
                    <a:pt x="880" y="100"/>
                    <a:pt x="880" y="100"/>
                  </a:cubicBezTo>
                  <a:cubicBezTo>
                    <a:pt x="869" y="98"/>
                    <a:pt x="869" y="98"/>
                    <a:pt x="869" y="98"/>
                  </a:cubicBezTo>
                  <a:cubicBezTo>
                    <a:pt x="866" y="84"/>
                    <a:pt x="866" y="84"/>
                    <a:pt x="866" y="84"/>
                  </a:cubicBezTo>
                  <a:cubicBezTo>
                    <a:pt x="866" y="84"/>
                    <a:pt x="847" y="80"/>
                    <a:pt x="839" y="68"/>
                  </a:cubicBezTo>
                  <a:cubicBezTo>
                    <a:pt x="831" y="56"/>
                    <a:pt x="827" y="39"/>
                    <a:pt x="820" y="39"/>
                  </a:cubicBezTo>
                  <a:cubicBezTo>
                    <a:pt x="813" y="39"/>
                    <a:pt x="814" y="57"/>
                    <a:pt x="803" y="57"/>
                  </a:cubicBezTo>
                  <a:cubicBezTo>
                    <a:pt x="792" y="57"/>
                    <a:pt x="791" y="45"/>
                    <a:pt x="782" y="45"/>
                  </a:cubicBezTo>
                  <a:cubicBezTo>
                    <a:pt x="773" y="45"/>
                    <a:pt x="765" y="61"/>
                    <a:pt x="765" y="61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734" y="32"/>
                    <a:pt x="734" y="32"/>
                    <a:pt x="734" y="32"/>
                  </a:cubicBezTo>
                  <a:cubicBezTo>
                    <a:pt x="713" y="13"/>
                    <a:pt x="713" y="13"/>
                    <a:pt x="713" y="13"/>
                  </a:cubicBezTo>
                  <a:cubicBezTo>
                    <a:pt x="709" y="5"/>
                    <a:pt x="709" y="5"/>
                    <a:pt x="709" y="5"/>
                  </a:cubicBezTo>
                  <a:cubicBezTo>
                    <a:pt x="709" y="5"/>
                    <a:pt x="705" y="16"/>
                    <a:pt x="685" y="21"/>
                  </a:cubicBezTo>
                  <a:cubicBezTo>
                    <a:pt x="665" y="26"/>
                    <a:pt x="659" y="10"/>
                    <a:pt x="659" y="10"/>
                  </a:cubicBezTo>
                  <a:cubicBezTo>
                    <a:pt x="638" y="13"/>
                    <a:pt x="638" y="13"/>
                    <a:pt x="638" y="13"/>
                  </a:cubicBezTo>
                  <a:cubicBezTo>
                    <a:pt x="638" y="13"/>
                    <a:pt x="630" y="0"/>
                    <a:pt x="623" y="1"/>
                  </a:cubicBezTo>
                  <a:cubicBezTo>
                    <a:pt x="616" y="2"/>
                    <a:pt x="611" y="23"/>
                    <a:pt x="611" y="23"/>
                  </a:cubicBezTo>
                  <a:cubicBezTo>
                    <a:pt x="611" y="23"/>
                    <a:pt x="593" y="28"/>
                    <a:pt x="589" y="28"/>
                  </a:cubicBezTo>
                  <a:cubicBezTo>
                    <a:pt x="585" y="28"/>
                    <a:pt x="576" y="18"/>
                    <a:pt x="576" y="18"/>
                  </a:cubicBezTo>
                  <a:cubicBezTo>
                    <a:pt x="560" y="32"/>
                    <a:pt x="560" y="32"/>
                    <a:pt x="560" y="32"/>
                  </a:cubicBezTo>
                  <a:cubicBezTo>
                    <a:pt x="548" y="32"/>
                    <a:pt x="548" y="32"/>
                    <a:pt x="548" y="32"/>
                  </a:cubicBezTo>
                  <a:cubicBezTo>
                    <a:pt x="548" y="32"/>
                    <a:pt x="535" y="41"/>
                    <a:pt x="529" y="46"/>
                  </a:cubicBezTo>
                  <a:cubicBezTo>
                    <a:pt x="523" y="51"/>
                    <a:pt x="509" y="30"/>
                    <a:pt x="509" y="30"/>
                  </a:cubicBezTo>
                  <a:cubicBezTo>
                    <a:pt x="509" y="30"/>
                    <a:pt x="502" y="43"/>
                    <a:pt x="495" y="46"/>
                  </a:cubicBezTo>
                  <a:cubicBezTo>
                    <a:pt x="488" y="49"/>
                    <a:pt x="493" y="63"/>
                    <a:pt x="484" y="70"/>
                  </a:cubicBezTo>
                  <a:cubicBezTo>
                    <a:pt x="475" y="77"/>
                    <a:pt x="462" y="63"/>
                    <a:pt x="462" y="63"/>
                  </a:cubicBezTo>
                  <a:cubicBezTo>
                    <a:pt x="462" y="63"/>
                    <a:pt x="444" y="63"/>
                    <a:pt x="434" y="64"/>
                  </a:cubicBezTo>
                  <a:cubicBezTo>
                    <a:pt x="424" y="65"/>
                    <a:pt x="418" y="53"/>
                    <a:pt x="418" y="53"/>
                  </a:cubicBezTo>
                  <a:cubicBezTo>
                    <a:pt x="418" y="53"/>
                    <a:pt x="409" y="53"/>
                    <a:pt x="394" y="53"/>
                  </a:cubicBezTo>
                  <a:cubicBezTo>
                    <a:pt x="379" y="53"/>
                    <a:pt x="391" y="38"/>
                    <a:pt x="388" y="34"/>
                  </a:cubicBezTo>
                  <a:cubicBezTo>
                    <a:pt x="385" y="30"/>
                    <a:pt x="372" y="32"/>
                    <a:pt x="372" y="32"/>
                  </a:cubicBezTo>
                  <a:cubicBezTo>
                    <a:pt x="372" y="32"/>
                    <a:pt x="375" y="17"/>
                    <a:pt x="346" y="15"/>
                  </a:cubicBezTo>
                  <a:cubicBezTo>
                    <a:pt x="317" y="13"/>
                    <a:pt x="327" y="32"/>
                    <a:pt x="317" y="46"/>
                  </a:cubicBezTo>
                  <a:cubicBezTo>
                    <a:pt x="307" y="60"/>
                    <a:pt x="308" y="49"/>
                    <a:pt x="300" y="59"/>
                  </a:cubicBezTo>
                  <a:cubicBezTo>
                    <a:pt x="292" y="69"/>
                    <a:pt x="302" y="72"/>
                    <a:pt x="302" y="7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292" y="96"/>
                    <a:pt x="292" y="96"/>
                    <a:pt x="292" y="96"/>
                  </a:cubicBezTo>
                  <a:cubicBezTo>
                    <a:pt x="301" y="103"/>
                    <a:pt x="301" y="103"/>
                    <a:pt x="301" y="103"/>
                  </a:cubicBezTo>
                  <a:cubicBezTo>
                    <a:pt x="301" y="103"/>
                    <a:pt x="301" y="114"/>
                    <a:pt x="301" y="122"/>
                  </a:cubicBezTo>
                  <a:cubicBezTo>
                    <a:pt x="301" y="130"/>
                    <a:pt x="286" y="159"/>
                    <a:pt x="277" y="169"/>
                  </a:cubicBezTo>
                  <a:cubicBezTo>
                    <a:pt x="268" y="179"/>
                    <a:pt x="275" y="206"/>
                    <a:pt x="276" y="217"/>
                  </a:cubicBezTo>
                  <a:cubicBezTo>
                    <a:pt x="277" y="228"/>
                    <a:pt x="267" y="236"/>
                    <a:pt x="265" y="244"/>
                  </a:cubicBezTo>
                  <a:cubicBezTo>
                    <a:pt x="263" y="252"/>
                    <a:pt x="272" y="259"/>
                    <a:pt x="272" y="270"/>
                  </a:cubicBezTo>
                  <a:cubicBezTo>
                    <a:pt x="272" y="281"/>
                    <a:pt x="262" y="289"/>
                    <a:pt x="262" y="289"/>
                  </a:cubicBezTo>
                  <a:cubicBezTo>
                    <a:pt x="259" y="321"/>
                    <a:pt x="259" y="321"/>
                    <a:pt x="259" y="321"/>
                  </a:cubicBezTo>
                  <a:cubicBezTo>
                    <a:pt x="259" y="321"/>
                    <a:pt x="253" y="336"/>
                    <a:pt x="243" y="343"/>
                  </a:cubicBezTo>
                  <a:cubicBezTo>
                    <a:pt x="233" y="350"/>
                    <a:pt x="220" y="356"/>
                    <a:pt x="213" y="359"/>
                  </a:cubicBezTo>
                  <a:cubicBezTo>
                    <a:pt x="206" y="362"/>
                    <a:pt x="206" y="385"/>
                    <a:pt x="205" y="394"/>
                  </a:cubicBezTo>
                  <a:cubicBezTo>
                    <a:pt x="204" y="403"/>
                    <a:pt x="186" y="410"/>
                    <a:pt x="186" y="410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70" y="507"/>
                    <a:pt x="170" y="507"/>
                    <a:pt x="170" y="507"/>
                  </a:cubicBezTo>
                  <a:cubicBezTo>
                    <a:pt x="170" y="507"/>
                    <a:pt x="160" y="510"/>
                    <a:pt x="154" y="510"/>
                  </a:cubicBezTo>
                  <a:cubicBezTo>
                    <a:pt x="148" y="510"/>
                    <a:pt x="136" y="531"/>
                    <a:pt x="129" y="540"/>
                  </a:cubicBezTo>
                  <a:cubicBezTo>
                    <a:pt x="122" y="549"/>
                    <a:pt x="119" y="554"/>
                    <a:pt x="104" y="554"/>
                  </a:cubicBezTo>
                  <a:cubicBezTo>
                    <a:pt x="89" y="554"/>
                    <a:pt x="107" y="531"/>
                    <a:pt x="100" y="524"/>
                  </a:cubicBezTo>
                  <a:cubicBezTo>
                    <a:pt x="93" y="517"/>
                    <a:pt x="83" y="533"/>
                    <a:pt x="83" y="533"/>
                  </a:cubicBezTo>
                  <a:cubicBezTo>
                    <a:pt x="70" y="532"/>
                    <a:pt x="70" y="532"/>
                    <a:pt x="70" y="532"/>
                  </a:cubicBezTo>
                  <a:cubicBezTo>
                    <a:pt x="70" y="532"/>
                    <a:pt x="71" y="548"/>
                    <a:pt x="59" y="553"/>
                  </a:cubicBezTo>
                  <a:cubicBezTo>
                    <a:pt x="47" y="558"/>
                    <a:pt x="43" y="537"/>
                    <a:pt x="43" y="537"/>
                  </a:cubicBezTo>
                  <a:cubicBezTo>
                    <a:pt x="36" y="540"/>
                    <a:pt x="36" y="540"/>
                    <a:pt x="36" y="540"/>
                  </a:cubicBezTo>
                  <a:cubicBezTo>
                    <a:pt x="33" y="548"/>
                    <a:pt x="33" y="548"/>
                    <a:pt x="33" y="548"/>
                  </a:cubicBezTo>
                  <a:cubicBezTo>
                    <a:pt x="9" y="565"/>
                    <a:pt x="9" y="565"/>
                    <a:pt x="9" y="565"/>
                  </a:cubicBezTo>
                  <a:cubicBezTo>
                    <a:pt x="9" y="565"/>
                    <a:pt x="21" y="591"/>
                    <a:pt x="13" y="595"/>
                  </a:cubicBezTo>
                  <a:cubicBezTo>
                    <a:pt x="10" y="597"/>
                    <a:pt x="5" y="599"/>
                    <a:pt x="0" y="602"/>
                  </a:cubicBezTo>
                  <a:cubicBezTo>
                    <a:pt x="4" y="605"/>
                    <a:pt x="11" y="612"/>
                    <a:pt x="12" y="617"/>
                  </a:cubicBezTo>
                  <a:cubicBezTo>
                    <a:pt x="35" y="607"/>
                    <a:pt x="35" y="607"/>
                    <a:pt x="35" y="607"/>
                  </a:cubicBezTo>
                  <a:cubicBezTo>
                    <a:pt x="52" y="609"/>
                    <a:pt x="52" y="609"/>
                    <a:pt x="52" y="609"/>
                  </a:cubicBezTo>
                  <a:cubicBezTo>
                    <a:pt x="57" y="607"/>
                    <a:pt x="57" y="607"/>
                    <a:pt x="57" y="607"/>
                  </a:cubicBezTo>
                  <a:cubicBezTo>
                    <a:pt x="65" y="609"/>
                    <a:pt x="65" y="609"/>
                    <a:pt x="65" y="609"/>
                  </a:cubicBezTo>
                  <a:cubicBezTo>
                    <a:pt x="80" y="605"/>
                    <a:pt x="80" y="605"/>
                    <a:pt x="80" y="605"/>
                  </a:cubicBezTo>
                  <a:cubicBezTo>
                    <a:pt x="80" y="605"/>
                    <a:pt x="91" y="612"/>
                    <a:pt x="98" y="611"/>
                  </a:cubicBezTo>
                  <a:cubicBezTo>
                    <a:pt x="105" y="610"/>
                    <a:pt x="123" y="607"/>
                    <a:pt x="123" y="607"/>
                  </a:cubicBezTo>
                  <a:cubicBezTo>
                    <a:pt x="123" y="607"/>
                    <a:pt x="136" y="609"/>
                    <a:pt x="141" y="609"/>
                  </a:cubicBezTo>
                  <a:cubicBezTo>
                    <a:pt x="146" y="609"/>
                    <a:pt x="153" y="609"/>
                    <a:pt x="153" y="609"/>
                  </a:cubicBezTo>
                  <a:cubicBezTo>
                    <a:pt x="163" y="606"/>
                    <a:pt x="163" y="606"/>
                    <a:pt x="163" y="606"/>
                  </a:cubicBezTo>
                  <a:cubicBezTo>
                    <a:pt x="177" y="607"/>
                    <a:pt x="177" y="607"/>
                    <a:pt x="177" y="607"/>
                  </a:cubicBezTo>
                  <a:cubicBezTo>
                    <a:pt x="177" y="607"/>
                    <a:pt x="195" y="599"/>
                    <a:pt x="200" y="608"/>
                  </a:cubicBezTo>
                  <a:cubicBezTo>
                    <a:pt x="205" y="617"/>
                    <a:pt x="211" y="621"/>
                    <a:pt x="211" y="621"/>
                  </a:cubicBezTo>
                  <a:cubicBezTo>
                    <a:pt x="212" y="651"/>
                    <a:pt x="212" y="651"/>
                    <a:pt x="212" y="651"/>
                  </a:cubicBezTo>
                  <a:cubicBezTo>
                    <a:pt x="212" y="651"/>
                    <a:pt x="222" y="658"/>
                    <a:pt x="223" y="664"/>
                  </a:cubicBezTo>
                  <a:cubicBezTo>
                    <a:pt x="224" y="670"/>
                    <a:pt x="222" y="686"/>
                    <a:pt x="222" y="686"/>
                  </a:cubicBezTo>
                  <a:cubicBezTo>
                    <a:pt x="222" y="686"/>
                    <a:pt x="228" y="689"/>
                    <a:pt x="233" y="695"/>
                  </a:cubicBezTo>
                  <a:cubicBezTo>
                    <a:pt x="238" y="701"/>
                    <a:pt x="240" y="709"/>
                    <a:pt x="240" y="709"/>
                  </a:cubicBezTo>
                  <a:cubicBezTo>
                    <a:pt x="246" y="717"/>
                    <a:pt x="246" y="717"/>
                    <a:pt x="246" y="717"/>
                  </a:cubicBezTo>
                  <a:cubicBezTo>
                    <a:pt x="249" y="727"/>
                    <a:pt x="249" y="727"/>
                    <a:pt x="249" y="727"/>
                  </a:cubicBezTo>
                  <a:cubicBezTo>
                    <a:pt x="270" y="726"/>
                    <a:pt x="270" y="726"/>
                    <a:pt x="270" y="726"/>
                  </a:cubicBezTo>
                  <a:cubicBezTo>
                    <a:pt x="277" y="731"/>
                    <a:pt x="277" y="731"/>
                    <a:pt x="277" y="731"/>
                  </a:cubicBezTo>
                  <a:cubicBezTo>
                    <a:pt x="281" y="724"/>
                    <a:pt x="281" y="724"/>
                    <a:pt x="281" y="724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303" y="718"/>
                    <a:pt x="303" y="718"/>
                    <a:pt x="303" y="718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36" y="706"/>
                    <a:pt x="339" y="702"/>
                  </a:cubicBezTo>
                  <a:cubicBezTo>
                    <a:pt x="342" y="698"/>
                    <a:pt x="349" y="698"/>
                    <a:pt x="349" y="693"/>
                  </a:cubicBezTo>
                  <a:cubicBezTo>
                    <a:pt x="349" y="688"/>
                    <a:pt x="338" y="676"/>
                    <a:pt x="343" y="672"/>
                  </a:cubicBezTo>
                  <a:cubicBezTo>
                    <a:pt x="348" y="668"/>
                    <a:pt x="377" y="671"/>
                    <a:pt x="377" y="671"/>
                  </a:cubicBezTo>
                  <a:cubicBezTo>
                    <a:pt x="377" y="671"/>
                    <a:pt x="377" y="663"/>
                    <a:pt x="386" y="666"/>
                  </a:cubicBezTo>
                  <a:cubicBezTo>
                    <a:pt x="395" y="669"/>
                    <a:pt x="391" y="678"/>
                    <a:pt x="391" y="678"/>
                  </a:cubicBezTo>
                  <a:cubicBezTo>
                    <a:pt x="392" y="686"/>
                    <a:pt x="392" y="686"/>
                    <a:pt x="392" y="686"/>
                  </a:cubicBezTo>
                  <a:cubicBezTo>
                    <a:pt x="452" y="685"/>
                    <a:pt x="452" y="685"/>
                    <a:pt x="452" y="685"/>
                  </a:cubicBezTo>
                  <a:cubicBezTo>
                    <a:pt x="452" y="703"/>
                    <a:pt x="452" y="703"/>
                    <a:pt x="452" y="703"/>
                  </a:cubicBezTo>
                  <a:cubicBezTo>
                    <a:pt x="445" y="713"/>
                    <a:pt x="445" y="713"/>
                    <a:pt x="445" y="713"/>
                  </a:cubicBezTo>
                  <a:cubicBezTo>
                    <a:pt x="448" y="727"/>
                    <a:pt x="448" y="727"/>
                    <a:pt x="448" y="727"/>
                  </a:cubicBezTo>
                  <a:cubicBezTo>
                    <a:pt x="448" y="727"/>
                    <a:pt x="461" y="740"/>
                    <a:pt x="461" y="747"/>
                  </a:cubicBezTo>
                  <a:cubicBezTo>
                    <a:pt x="461" y="754"/>
                    <a:pt x="453" y="763"/>
                    <a:pt x="453" y="763"/>
                  </a:cubicBezTo>
                  <a:cubicBezTo>
                    <a:pt x="456" y="779"/>
                    <a:pt x="456" y="779"/>
                    <a:pt x="456" y="779"/>
                  </a:cubicBezTo>
                  <a:cubicBezTo>
                    <a:pt x="456" y="779"/>
                    <a:pt x="451" y="791"/>
                    <a:pt x="451" y="799"/>
                  </a:cubicBezTo>
                  <a:cubicBezTo>
                    <a:pt x="451" y="807"/>
                    <a:pt x="457" y="815"/>
                    <a:pt x="464" y="822"/>
                  </a:cubicBezTo>
                  <a:cubicBezTo>
                    <a:pt x="471" y="829"/>
                    <a:pt x="475" y="847"/>
                    <a:pt x="475" y="847"/>
                  </a:cubicBezTo>
                  <a:cubicBezTo>
                    <a:pt x="475" y="847"/>
                    <a:pt x="474" y="862"/>
                    <a:pt x="471" y="869"/>
                  </a:cubicBezTo>
                  <a:cubicBezTo>
                    <a:pt x="468" y="876"/>
                    <a:pt x="465" y="888"/>
                    <a:pt x="468" y="892"/>
                  </a:cubicBezTo>
                  <a:cubicBezTo>
                    <a:pt x="471" y="896"/>
                    <a:pt x="479" y="898"/>
                    <a:pt x="479" y="898"/>
                  </a:cubicBezTo>
                  <a:cubicBezTo>
                    <a:pt x="485" y="886"/>
                    <a:pt x="485" y="886"/>
                    <a:pt x="485" y="886"/>
                  </a:cubicBezTo>
                  <a:cubicBezTo>
                    <a:pt x="503" y="890"/>
                    <a:pt x="503" y="890"/>
                    <a:pt x="503" y="890"/>
                  </a:cubicBezTo>
                  <a:cubicBezTo>
                    <a:pt x="519" y="885"/>
                    <a:pt x="519" y="885"/>
                    <a:pt x="519" y="885"/>
                  </a:cubicBezTo>
                  <a:cubicBezTo>
                    <a:pt x="519" y="885"/>
                    <a:pt x="519" y="880"/>
                    <a:pt x="526" y="880"/>
                  </a:cubicBezTo>
                  <a:cubicBezTo>
                    <a:pt x="533" y="880"/>
                    <a:pt x="537" y="887"/>
                    <a:pt x="537" y="887"/>
                  </a:cubicBezTo>
                  <a:cubicBezTo>
                    <a:pt x="551" y="885"/>
                    <a:pt x="551" y="885"/>
                    <a:pt x="551" y="885"/>
                  </a:cubicBezTo>
                  <a:cubicBezTo>
                    <a:pt x="556" y="875"/>
                    <a:pt x="556" y="875"/>
                    <a:pt x="556" y="875"/>
                  </a:cubicBezTo>
                  <a:cubicBezTo>
                    <a:pt x="561" y="884"/>
                    <a:pt x="561" y="884"/>
                    <a:pt x="561" y="884"/>
                  </a:cubicBezTo>
                  <a:cubicBezTo>
                    <a:pt x="572" y="882"/>
                    <a:pt x="572" y="882"/>
                    <a:pt x="572" y="882"/>
                  </a:cubicBezTo>
                  <a:cubicBezTo>
                    <a:pt x="572" y="882"/>
                    <a:pt x="563" y="907"/>
                    <a:pt x="580" y="908"/>
                  </a:cubicBezTo>
                  <a:cubicBezTo>
                    <a:pt x="597" y="909"/>
                    <a:pt x="583" y="899"/>
                    <a:pt x="583" y="899"/>
                  </a:cubicBezTo>
                  <a:cubicBezTo>
                    <a:pt x="614" y="893"/>
                    <a:pt x="614" y="893"/>
                    <a:pt x="614" y="893"/>
                  </a:cubicBezTo>
                  <a:cubicBezTo>
                    <a:pt x="614" y="893"/>
                    <a:pt x="610" y="912"/>
                    <a:pt x="620" y="919"/>
                  </a:cubicBezTo>
                  <a:cubicBezTo>
                    <a:pt x="630" y="926"/>
                    <a:pt x="682" y="939"/>
                    <a:pt x="687" y="935"/>
                  </a:cubicBezTo>
                  <a:cubicBezTo>
                    <a:pt x="692" y="931"/>
                    <a:pt x="689" y="905"/>
                    <a:pt x="701" y="910"/>
                  </a:cubicBezTo>
                  <a:cubicBezTo>
                    <a:pt x="713" y="915"/>
                    <a:pt x="704" y="920"/>
                    <a:pt x="708" y="925"/>
                  </a:cubicBezTo>
                  <a:cubicBezTo>
                    <a:pt x="712" y="930"/>
                    <a:pt x="722" y="930"/>
                    <a:pt x="722" y="934"/>
                  </a:cubicBezTo>
                  <a:cubicBezTo>
                    <a:pt x="722" y="938"/>
                    <a:pt x="714" y="947"/>
                    <a:pt x="722" y="948"/>
                  </a:cubicBezTo>
                  <a:cubicBezTo>
                    <a:pt x="730" y="949"/>
                    <a:pt x="732" y="943"/>
                    <a:pt x="737" y="947"/>
                  </a:cubicBezTo>
                  <a:cubicBezTo>
                    <a:pt x="742" y="951"/>
                    <a:pt x="741" y="959"/>
                    <a:pt x="745" y="959"/>
                  </a:cubicBezTo>
                  <a:cubicBezTo>
                    <a:pt x="749" y="959"/>
                    <a:pt x="754" y="951"/>
                    <a:pt x="760" y="959"/>
                  </a:cubicBezTo>
                  <a:cubicBezTo>
                    <a:pt x="766" y="967"/>
                    <a:pt x="768" y="978"/>
                    <a:pt x="768" y="978"/>
                  </a:cubicBezTo>
                  <a:cubicBezTo>
                    <a:pt x="768" y="978"/>
                    <a:pt x="774" y="975"/>
                    <a:pt x="779" y="982"/>
                  </a:cubicBezTo>
                  <a:cubicBezTo>
                    <a:pt x="784" y="989"/>
                    <a:pt x="787" y="1012"/>
                    <a:pt x="787" y="1012"/>
                  </a:cubicBezTo>
                  <a:cubicBezTo>
                    <a:pt x="799" y="1012"/>
                    <a:pt x="799" y="1012"/>
                    <a:pt x="799" y="1012"/>
                  </a:cubicBezTo>
                  <a:cubicBezTo>
                    <a:pt x="814" y="1002"/>
                    <a:pt x="814" y="1002"/>
                    <a:pt x="814" y="1002"/>
                  </a:cubicBezTo>
                  <a:cubicBezTo>
                    <a:pt x="814" y="1002"/>
                    <a:pt x="816" y="1016"/>
                    <a:pt x="822" y="1013"/>
                  </a:cubicBezTo>
                  <a:cubicBezTo>
                    <a:pt x="828" y="1010"/>
                    <a:pt x="827" y="945"/>
                    <a:pt x="827" y="945"/>
                  </a:cubicBezTo>
                  <a:cubicBezTo>
                    <a:pt x="819" y="945"/>
                    <a:pt x="819" y="945"/>
                    <a:pt x="819" y="945"/>
                  </a:cubicBezTo>
                  <a:cubicBezTo>
                    <a:pt x="813" y="948"/>
                    <a:pt x="813" y="948"/>
                    <a:pt x="813" y="948"/>
                  </a:cubicBezTo>
                  <a:cubicBezTo>
                    <a:pt x="813" y="948"/>
                    <a:pt x="816" y="961"/>
                    <a:pt x="806" y="961"/>
                  </a:cubicBezTo>
                  <a:cubicBezTo>
                    <a:pt x="796" y="961"/>
                    <a:pt x="784" y="947"/>
                    <a:pt x="778" y="940"/>
                  </a:cubicBezTo>
                  <a:cubicBezTo>
                    <a:pt x="772" y="933"/>
                    <a:pt x="761" y="938"/>
                    <a:pt x="759" y="920"/>
                  </a:cubicBezTo>
                  <a:cubicBezTo>
                    <a:pt x="757" y="902"/>
                    <a:pt x="779" y="880"/>
                    <a:pt x="779" y="866"/>
                  </a:cubicBezTo>
                  <a:cubicBezTo>
                    <a:pt x="779" y="852"/>
                    <a:pt x="775" y="818"/>
                    <a:pt x="775" y="818"/>
                  </a:cubicBezTo>
                  <a:cubicBezTo>
                    <a:pt x="775" y="818"/>
                    <a:pt x="773" y="799"/>
                    <a:pt x="770" y="797"/>
                  </a:cubicBezTo>
                  <a:cubicBezTo>
                    <a:pt x="767" y="795"/>
                    <a:pt x="761" y="788"/>
                    <a:pt x="761" y="788"/>
                  </a:cubicBezTo>
                  <a:cubicBezTo>
                    <a:pt x="761" y="788"/>
                    <a:pt x="788" y="773"/>
                    <a:pt x="788" y="766"/>
                  </a:cubicBezTo>
                  <a:cubicBezTo>
                    <a:pt x="788" y="759"/>
                    <a:pt x="788" y="746"/>
                    <a:pt x="788" y="746"/>
                  </a:cubicBezTo>
                  <a:cubicBezTo>
                    <a:pt x="788" y="746"/>
                    <a:pt x="825" y="741"/>
                    <a:pt x="838" y="738"/>
                  </a:cubicBezTo>
                  <a:cubicBezTo>
                    <a:pt x="842" y="737"/>
                    <a:pt x="849" y="735"/>
                    <a:pt x="857" y="731"/>
                  </a:cubicBezTo>
                  <a:cubicBezTo>
                    <a:pt x="860" y="728"/>
                    <a:pt x="862" y="726"/>
                    <a:pt x="862" y="726"/>
                  </a:cubicBezTo>
                  <a:cubicBezTo>
                    <a:pt x="862" y="726"/>
                    <a:pt x="855" y="714"/>
                    <a:pt x="850" y="710"/>
                  </a:cubicBezTo>
                  <a:cubicBezTo>
                    <a:pt x="846" y="706"/>
                    <a:pt x="849" y="688"/>
                    <a:pt x="849" y="681"/>
                  </a:cubicBezTo>
                  <a:cubicBezTo>
                    <a:pt x="849" y="674"/>
                    <a:pt x="837" y="678"/>
                    <a:pt x="834" y="677"/>
                  </a:cubicBezTo>
                  <a:cubicBezTo>
                    <a:pt x="831" y="676"/>
                    <a:pt x="828" y="666"/>
                    <a:pt x="828" y="658"/>
                  </a:cubicBezTo>
                  <a:cubicBezTo>
                    <a:pt x="828" y="650"/>
                    <a:pt x="819" y="649"/>
                    <a:pt x="812" y="642"/>
                  </a:cubicBezTo>
                  <a:cubicBezTo>
                    <a:pt x="805" y="635"/>
                    <a:pt x="803" y="618"/>
                    <a:pt x="804" y="612"/>
                  </a:cubicBezTo>
                  <a:cubicBezTo>
                    <a:pt x="805" y="606"/>
                    <a:pt x="810" y="596"/>
                    <a:pt x="810" y="589"/>
                  </a:cubicBezTo>
                  <a:cubicBezTo>
                    <a:pt x="810" y="582"/>
                    <a:pt x="800" y="582"/>
                    <a:pt x="796" y="572"/>
                  </a:cubicBezTo>
                  <a:cubicBezTo>
                    <a:pt x="792" y="562"/>
                    <a:pt x="796" y="550"/>
                    <a:pt x="797" y="538"/>
                  </a:cubicBezTo>
                  <a:cubicBezTo>
                    <a:pt x="798" y="526"/>
                    <a:pt x="799" y="515"/>
                    <a:pt x="802" y="502"/>
                  </a:cubicBezTo>
                  <a:cubicBezTo>
                    <a:pt x="804" y="494"/>
                    <a:pt x="810" y="495"/>
                    <a:pt x="814" y="498"/>
                  </a:cubicBezTo>
                  <a:cubicBezTo>
                    <a:pt x="814" y="496"/>
                    <a:pt x="814" y="494"/>
                    <a:pt x="814" y="494"/>
                  </a:cubicBezTo>
                  <a:cubicBezTo>
                    <a:pt x="814" y="494"/>
                    <a:pt x="816" y="480"/>
                    <a:pt x="816" y="471"/>
                  </a:cubicBezTo>
                  <a:cubicBezTo>
                    <a:pt x="816" y="462"/>
                    <a:pt x="801" y="454"/>
                    <a:pt x="801" y="45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1" y="433"/>
                    <a:pt x="787" y="432"/>
                    <a:pt x="786" y="428"/>
                  </a:cubicBezTo>
                  <a:cubicBezTo>
                    <a:pt x="782" y="420"/>
                    <a:pt x="804" y="410"/>
                    <a:pt x="806" y="406"/>
                  </a:cubicBezTo>
                  <a:cubicBezTo>
                    <a:pt x="807" y="403"/>
                    <a:pt x="797" y="392"/>
                    <a:pt x="799" y="384"/>
                  </a:cubicBezTo>
                  <a:cubicBezTo>
                    <a:pt x="800" y="376"/>
                    <a:pt x="824" y="365"/>
                    <a:pt x="824" y="365"/>
                  </a:cubicBezTo>
                  <a:lnTo>
                    <a:pt x="828" y="315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6" name="Freeform 165">
              <a:extLst>
                <a:ext uri="{FF2B5EF4-FFF2-40B4-BE49-F238E27FC236}">
                  <a16:creationId xmlns:a16="http://schemas.microsoft.com/office/drawing/2014/main" id="{B660E388-5F1B-1237-C509-7B613C18D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4159" y="4177976"/>
              <a:ext cx="48779" cy="62498"/>
            </a:xfrm>
            <a:custGeom>
              <a:avLst/>
              <a:gdLst>
                <a:gd name="T0" fmla="*/ 1 w 87"/>
                <a:gd name="T1" fmla="*/ 3 h 112"/>
                <a:gd name="T2" fmla="*/ 1 w 87"/>
                <a:gd name="T3" fmla="*/ 4 h 112"/>
                <a:gd name="T4" fmla="*/ 1 w 87"/>
                <a:gd name="T5" fmla="*/ 5 h 112"/>
                <a:gd name="T6" fmla="*/ 2 w 87"/>
                <a:gd name="T7" fmla="*/ 5 h 112"/>
                <a:gd name="T8" fmla="*/ 3 w 87"/>
                <a:gd name="T9" fmla="*/ 3 h 112"/>
                <a:gd name="T10" fmla="*/ 4 w 87"/>
                <a:gd name="T11" fmla="*/ 3 h 112"/>
                <a:gd name="T12" fmla="*/ 4 w 87"/>
                <a:gd name="T13" fmla="*/ 2 h 112"/>
                <a:gd name="T14" fmla="*/ 4 w 87"/>
                <a:gd name="T15" fmla="*/ 2 h 112"/>
                <a:gd name="T16" fmla="*/ 4 w 87"/>
                <a:gd name="T17" fmla="*/ 1 h 112"/>
                <a:gd name="T18" fmla="*/ 3 w 87"/>
                <a:gd name="T19" fmla="*/ 1 h 112"/>
                <a:gd name="T20" fmla="*/ 4 w 87"/>
                <a:gd name="T21" fmla="*/ 0 h 112"/>
                <a:gd name="T22" fmla="*/ 4 w 87"/>
                <a:gd name="T23" fmla="*/ 0 h 112"/>
                <a:gd name="T24" fmla="*/ 4 w 87"/>
                <a:gd name="T25" fmla="*/ 0 h 112"/>
                <a:gd name="T26" fmla="*/ 2 w 87"/>
                <a:gd name="T27" fmla="*/ 0 h 112"/>
                <a:gd name="T28" fmla="*/ 2 w 87"/>
                <a:gd name="T29" fmla="*/ 1 h 112"/>
                <a:gd name="T30" fmla="*/ 1 w 87"/>
                <a:gd name="T31" fmla="*/ 1 h 112"/>
                <a:gd name="T32" fmla="*/ 0 w 87"/>
                <a:gd name="T33" fmla="*/ 0 h 112"/>
                <a:gd name="T34" fmla="*/ 0 w 87"/>
                <a:gd name="T35" fmla="*/ 0 h 112"/>
                <a:gd name="T36" fmla="*/ 0 w 87"/>
                <a:gd name="T37" fmla="*/ 1 h 112"/>
                <a:gd name="T38" fmla="*/ 1 w 87"/>
                <a:gd name="T39" fmla="*/ 3 h 1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12"/>
                <a:gd name="T62" fmla="*/ 87 w 87"/>
                <a:gd name="T63" fmla="*/ 112 h 11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12">
                  <a:moveTo>
                    <a:pt x="21" y="49"/>
                  </a:moveTo>
                  <a:cubicBezTo>
                    <a:pt x="21" y="58"/>
                    <a:pt x="19" y="72"/>
                    <a:pt x="19" y="72"/>
                  </a:cubicBezTo>
                  <a:cubicBezTo>
                    <a:pt x="19" y="72"/>
                    <a:pt x="19" y="99"/>
                    <a:pt x="25" y="112"/>
                  </a:cubicBezTo>
                  <a:cubicBezTo>
                    <a:pt x="29" y="112"/>
                    <a:pt x="35" y="110"/>
                    <a:pt x="45" y="103"/>
                  </a:cubicBezTo>
                  <a:cubicBezTo>
                    <a:pt x="61" y="91"/>
                    <a:pt x="54" y="81"/>
                    <a:pt x="61" y="68"/>
                  </a:cubicBezTo>
                  <a:cubicBezTo>
                    <a:pt x="68" y="55"/>
                    <a:pt x="80" y="56"/>
                    <a:pt x="80" y="5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63" y="32"/>
                    <a:pt x="65" y="23"/>
                  </a:cubicBezTo>
                  <a:cubicBezTo>
                    <a:pt x="67" y="14"/>
                    <a:pt x="71" y="0"/>
                    <a:pt x="71" y="0"/>
                  </a:cubicBezTo>
                  <a:cubicBezTo>
                    <a:pt x="71" y="0"/>
                    <a:pt x="74" y="0"/>
                    <a:pt x="77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26" y="24"/>
                    <a:pt x="22" y="24"/>
                  </a:cubicBezTo>
                  <a:cubicBezTo>
                    <a:pt x="18" y="24"/>
                    <a:pt x="9" y="11"/>
                    <a:pt x="9" y="11"/>
                  </a:cubicBezTo>
                  <a:cubicBezTo>
                    <a:pt x="9" y="11"/>
                    <a:pt x="5" y="12"/>
                    <a:pt x="0" y="1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21" y="40"/>
                    <a:pt x="21" y="4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7" name="Freeform 166">
              <a:extLst>
                <a:ext uri="{FF2B5EF4-FFF2-40B4-BE49-F238E27FC236}">
                  <a16:creationId xmlns:a16="http://schemas.microsoft.com/office/drawing/2014/main" id="{E7016D33-D9AE-7EE6-A57C-5ECA4BFFA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9402" y="4135295"/>
              <a:ext cx="288099" cy="329255"/>
            </a:xfrm>
            <a:custGeom>
              <a:avLst/>
              <a:gdLst>
                <a:gd name="T0" fmla="*/ 24 w 510"/>
                <a:gd name="T1" fmla="*/ 25 h 579"/>
                <a:gd name="T2" fmla="*/ 23 w 510"/>
                <a:gd name="T3" fmla="*/ 21 h 579"/>
                <a:gd name="T4" fmla="*/ 23 w 510"/>
                <a:gd name="T5" fmla="*/ 19 h 579"/>
                <a:gd name="T6" fmla="*/ 22 w 510"/>
                <a:gd name="T7" fmla="*/ 15 h 579"/>
                <a:gd name="T8" fmla="*/ 23 w 510"/>
                <a:gd name="T9" fmla="*/ 10 h 579"/>
                <a:gd name="T10" fmla="*/ 20 w 510"/>
                <a:gd name="T11" fmla="*/ 6 h 579"/>
                <a:gd name="T12" fmla="*/ 11 w 510"/>
                <a:gd name="T13" fmla="*/ 0 h 579"/>
                <a:gd name="T14" fmla="*/ 10 w 510"/>
                <a:gd name="T15" fmla="*/ 0 h 579"/>
                <a:gd name="T16" fmla="*/ 10 w 510"/>
                <a:gd name="T17" fmla="*/ 1 h 579"/>
                <a:gd name="T18" fmla="*/ 10 w 510"/>
                <a:gd name="T19" fmla="*/ 3 h 579"/>
                <a:gd name="T20" fmla="*/ 8 w 510"/>
                <a:gd name="T21" fmla="*/ 4 h 579"/>
                <a:gd name="T22" fmla="*/ 8 w 510"/>
                <a:gd name="T23" fmla="*/ 5 h 579"/>
                <a:gd name="T24" fmla="*/ 8 w 510"/>
                <a:gd name="T25" fmla="*/ 4 h 579"/>
                <a:gd name="T26" fmla="*/ 6 w 510"/>
                <a:gd name="T27" fmla="*/ 3 h 579"/>
                <a:gd name="T28" fmla="*/ 5 w 510"/>
                <a:gd name="T29" fmla="*/ 4 h 579"/>
                <a:gd name="T30" fmla="*/ 6 w 510"/>
                <a:gd name="T31" fmla="*/ 0 h 579"/>
                <a:gd name="T32" fmla="*/ 3 w 510"/>
                <a:gd name="T33" fmla="*/ 0 h 579"/>
                <a:gd name="T34" fmla="*/ 3 w 510"/>
                <a:gd name="T35" fmla="*/ 1 h 579"/>
                <a:gd name="T36" fmla="*/ 3 w 510"/>
                <a:gd name="T37" fmla="*/ 3 h 579"/>
                <a:gd name="T38" fmla="*/ 2 w 510"/>
                <a:gd name="T39" fmla="*/ 5 h 579"/>
                <a:gd name="T40" fmla="*/ 3 w 510"/>
                <a:gd name="T41" fmla="*/ 6 h 579"/>
                <a:gd name="T42" fmla="*/ 3 w 510"/>
                <a:gd name="T43" fmla="*/ 7 h 579"/>
                <a:gd name="T44" fmla="*/ 1 w 510"/>
                <a:gd name="T45" fmla="*/ 9 h 579"/>
                <a:gd name="T46" fmla="*/ 0 w 510"/>
                <a:gd name="T47" fmla="*/ 10 h 579"/>
                <a:gd name="T48" fmla="*/ 0 w 510"/>
                <a:gd name="T49" fmla="*/ 12 h 579"/>
                <a:gd name="T50" fmla="*/ 0 w 510"/>
                <a:gd name="T51" fmla="*/ 15 h 579"/>
                <a:gd name="T52" fmla="*/ 3 w 510"/>
                <a:gd name="T53" fmla="*/ 17 h 579"/>
                <a:gd name="T54" fmla="*/ 3 w 510"/>
                <a:gd name="T55" fmla="*/ 19 h 579"/>
                <a:gd name="T56" fmla="*/ 4 w 510"/>
                <a:gd name="T57" fmla="*/ 21 h 579"/>
                <a:gd name="T58" fmla="*/ 5 w 510"/>
                <a:gd name="T59" fmla="*/ 22 h 579"/>
                <a:gd name="T60" fmla="*/ 6 w 510"/>
                <a:gd name="T61" fmla="*/ 22 h 579"/>
                <a:gd name="T62" fmla="*/ 7 w 510"/>
                <a:gd name="T63" fmla="*/ 23 h 579"/>
                <a:gd name="T64" fmla="*/ 8 w 510"/>
                <a:gd name="T65" fmla="*/ 24 h 579"/>
                <a:gd name="T66" fmla="*/ 9 w 510"/>
                <a:gd name="T67" fmla="*/ 24 h 579"/>
                <a:gd name="T68" fmla="*/ 11 w 510"/>
                <a:gd name="T69" fmla="*/ 24 h 579"/>
                <a:gd name="T70" fmla="*/ 12 w 510"/>
                <a:gd name="T71" fmla="*/ 27 h 579"/>
                <a:gd name="T72" fmla="*/ 12 w 510"/>
                <a:gd name="T73" fmla="*/ 28 h 579"/>
                <a:gd name="T74" fmla="*/ 13 w 510"/>
                <a:gd name="T75" fmla="*/ 29 h 579"/>
                <a:gd name="T76" fmla="*/ 15 w 510"/>
                <a:gd name="T77" fmla="*/ 29 h 579"/>
                <a:gd name="T78" fmla="*/ 17 w 510"/>
                <a:gd name="T79" fmla="*/ 29 h 579"/>
                <a:gd name="T80" fmla="*/ 19 w 510"/>
                <a:gd name="T81" fmla="*/ 30 h 579"/>
                <a:gd name="T82" fmla="*/ 21 w 510"/>
                <a:gd name="T83" fmla="*/ 29 h 579"/>
                <a:gd name="T84" fmla="*/ 22 w 510"/>
                <a:gd name="T85" fmla="*/ 28 h 579"/>
                <a:gd name="T86" fmla="*/ 26 w 510"/>
                <a:gd name="T87" fmla="*/ 26 h 579"/>
                <a:gd name="T88" fmla="*/ 24 w 510"/>
                <a:gd name="T89" fmla="*/ 12 h 579"/>
                <a:gd name="T90" fmla="*/ 24 w 510"/>
                <a:gd name="T91" fmla="*/ 12 h 579"/>
                <a:gd name="T92" fmla="*/ 24 w 510"/>
                <a:gd name="T93" fmla="*/ 15 h 579"/>
                <a:gd name="T94" fmla="*/ 23 w 510"/>
                <a:gd name="T95" fmla="*/ 13 h 5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0"/>
                <a:gd name="T145" fmla="*/ 0 h 579"/>
                <a:gd name="T146" fmla="*/ 510 w 510"/>
                <a:gd name="T147" fmla="*/ 579 h 5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0" h="579">
                  <a:moveTo>
                    <a:pt x="507" y="496"/>
                  </a:moveTo>
                  <a:cubicBezTo>
                    <a:pt x="507" y="496"/>
                    <a:pt x="479" y="489"/>
                    <a:pt x="477" y="478"/>
                  </a:cubicBezTo>
                  <a:cubicBezTo>
                    <a:pt x="475" y="467"/>
                    <a:pt x="473" y="436"/>
                    <a:pt x="473" y="436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67" y="374"/>
                    <a:pt x="467" y="374"/>
                    <a:pt x="467" y="374"/>
                  </a:cubicBezTo>
                  <a:cubicBezTo>
                    <a:pt x="456" y="360"/>
                    <a:pt x="456" y="360"/>
                    <a:pt x="456" y="360"/>
                  </a:cubicBezTo>
                  <a:cubicBezTo>
                    <a:pt x="456" y="360"/>
                    <a:pt x="476" y="325"/>
                    <a:pt x="471" y="317"/>
                  </a:cubicBezTo>
                  <a:cubicBezTo>
                    <a:pt x="466" y="309"/>
                    <a:pt x="439" y="302"/>
                    <a:pt x="436" y="290"/>
                  </a:cubicBezTo>
                  <a:cubicBezTo>
                    <a:pt x="433" y="278"/>
                    <a:pt x="450" y="239"/>
                    <a:pt x="451" y="232"/>
                  </a:cubicBezTo>
                  <a:cubicBezTo>
                    <a:pt x="452" y="226"/>
                    <a:pt x="454" y="203"/>
                    <a:pt x="455" y="198"/>
                  </a:cubicBezTo>
                  <a:cubicBezTo>
                    <a:pt x="380" y="128"/>
                    <a:pt x="380" y="128"/>
                    <a:pt x="380" y="128"/>
                  </a:cubicBezTo>
                  <a:cubicBezTo>
                    <a:pt x="380" y="128"/>
                    <a:pt x="388" y="122"/>
                    <a:pt x="391" y="118"/>
                  </a:cubicBezTo>
                  <a:cubicBezTo>
                    <a:pt x="394" y="114"/>
                    <a:pt x="382" y="105"/>
                    <a:pt x="382" y="105"/>
                  </a:cubicBezTo>
                  <a:cubicBezTo>
                    <a:pt x="216" y="1"/>
                    <a:pt x="216" y="1"/>
                    <a:pt x="21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0"/>
                    <a:pt x="209" y="24"/>
                    <a:pt x="209" y="24"/>
                  </a:cubicBezTo>
                  <a:cubicBezTo>
                    <a:pt x="194" y="31"/>
                    <a:pt x="194" y="31"/>
                    <a:pt x="194" y="31"/>
                  </a:cubicBezTo>
                  <a:cubicBezTo>
                    <a:pt x="194" y="31"/>
                    <a:pt x="181" y="40"/>
                    <a:pt x="176" y="55"/>
                  </a:cubicBezTo>
                  <a:cubicBezTo>
                    <a:pt x="171" y="70"/>
                    <a:pt x="206" y="59"/>
                    <a:pt x="206" y="59"/>
                  </a:cubicBezTo>
                  <a:cubicBezTo>
                    <a:pt x="206" y="59"/>
                    <a:pt x="187" y="75"/>
                    <a:pt x="181" y="78"/>
                  </a:cubicBezTo>
                  <a:cubicBezTo>
                    <a:pt x="175" y="81"/>
                    <a:pt x="171" y="72"/>
                    <a:pt x="162" y="71"/>
                  </a:cubicBezTo>
                  <a:cubicBezTo>
                    <a:pt x="153" y="70"/>
                    <a:pt x="154" y="89"/>
                    <a:pt x="154" y="89"/>
                  </a:cubicBezTo>
                  <a:cubicBezTo>
                    <a:pt x="161" y="99"/>
                    <a:pt x="161" y="99"/>
                    <a:pt x="161" y="99"/>
                  </a:cubicBezTo>
                  <a:cubicBezTo>
                    <a:pt x="161" y="99"/>
                    <a:pt x="158" y="100"/>
                    <a:pt x="148" y="99"/>
                  </a:cubicBezTo>
                  <a:cubicBezTo>
                    <a:pt x="138" y="98"/>
                    <a:pt x="150" y="73"/>
                    <a:pt x="150" y="73"/>
                  </a:cubicBezTo>
                  <a:cubicBezTo>
                    <a:pt x="138" y="78"/>
                    <a:pt x="138" y="78"/>
                    <a:pt x="138" y="78"/>
                  </a:cubicBezTo>
                  <a:cubicBezTo>
                    <a:pt x="138" y="78"/>
                    <a:pt x="130" y="66"/>
                    <a:pt x="123" y="66"/>
                  </a:cubicBezTo>
                  <a:cubicBezTo>
                    <a:pt x="113" y="66"/>
                    <a:pt x="114" y="92"/>
                    <a:pt x="109" y="92"/>
                  </a:cubicBezTo>
                  <a:cubicBezTo>
                    <a:pt x="104" y="92"/>
                    <a:pt x="104" y="80"/>
                    <a:pt x="104" y="80"/>
                  </a:cubicBezTo>
                  <a:cubicBezTo>
                    <a:pt x="104" y="80"/>
                    <a:pt x="99" y="54"/>
                    <a:pt x="101" y="40"/>
                  </a:cubicBezTo>
                  <a:cubicBezTo>
                    <a:pt x="103" y="26"/>
                    <a:pt x="111" y="8"/>
                    <a:pt x="112" y="2"/>
                  </a:cubicBezTo>
                  <a:cubicBezTo>
                    <a:pt x="112" y="1"/>
                    <a:pt x="112" y="1"/>
                    <a:pt x="11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56" y="23"/>
                    <a:pt x="60" y="31"/>
                  </a:cubicBezTo>
                  <a:cubicBezTo>
                    <a:pt x="64" y="39"/>
                    <a:pt x="58" y="44"/>
                    <a:pt x="58" y="44"/>
                  </a:cubicBezTo>
                  <a:cubicBezTo>
                    <a:pt x="58" y="44"/>
                    <a:pt x="64" y="52"/>
                    <a:pt x="64" y="64"/>
                  </a:cubicBezTo>
                  <a:cubicBezTo>
                    <a:pt x="64" y="76"/>
                    <a:pt x="44" y="74"/>
                    <a:pt x="44" y="74"/>
                  </a:cubicBezTo>
                  <a:cubicBezTo>
                    <a:pt x="44" y="74"/>
                    <a:pt x="40" y="88"/>
                    <a:pt x="38" y="97"/>
                  </a:cubicBezTo>
                  <a:cubicBezTo>
                    <a:pt x="36" y="106"/>
                    <a:pt x="60" y="107"/>
                    <a:pt x="60" y="10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0"/>
                    <a:pt x="41" y="129"/>
                    <a:pt x="34" y="142"/>
                  </a:cubicBezTo>
                  <a:cubicBezTo>
                    <a:pt x="27" y="155"/>
                    <a:pt x="34" y="165"/>
                    <a:pt x="18" y="177"/>
                  </a:cubicBezTo>
                  <a:cubicBezTo>
                    <a:pt x="11" y="182"/>
                    <a:pt x="6" y="184"/>
                    <a:pt x="2" y="18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6" y="205"/>
                    <a:pt x="9" y="209"/>
                  </a:cubicBezTo>
                  <a:cubicBezTo>
                    <a:pt x="12" y="213"/>
                    <a:pt x="8" y="226"/>
                    <a:pt x="8" y="226"/>
                  </a:cubicBezTo>
                  <a:cubicBezTo>
                    <a:pt x="8" y="226"/>
                    <a:pt x="19" y="256"/>
                    <a:pt x="15" y="261"/>
                  </a:cubicBezTo>
                  <a:cubicBezTo>
                    <a:pt x="11" y="266"/>
                    <a:pt x="8" y="269"/>
                    <a:pt x="9" y="279"/>
                  </a:cubicBezTo>
                  <a:cubicBezTo>
                    <a:pt x="10" y="289"/>
                    <a:pt x="18" y="294"/>
                    <a:pt x="24" y="296"/>
                  </a:cubicBezTo>
                  <a:cubicBezTo>
                    <a:pt x="30" y="298"/>
                    <a:pt x="47" y="316"/>
                    <a:pt x="51" y="322"/>
                  </a:cubicBezTo>
                  <a:cubicBezTo>
                    <a:pt x="55" y="328"/>
                    <a:pt x="51" y="337"/>
                    <a:pt x="49" y="345"/>
                  </a:cubicBezTo>
                  <a:cubicBezTo>
                    <a:pt x="47" y="353"/>
                    <a:pt x="56" y="370"/>
                    <a:pt x="56" y="370"/>
                  </a:cubicBezTo>
                  <a:cubicBezTo>
                    <a:pt x="74" y="394"/>
                    <a:pt x="74" y="394"/>
                    <a:pt x="74" y="394"/>
                  </a:cubicBezTo>
                  <a:cubicBezTo>
                    <a:pt x="74" y="394"/>
                    <a:pt x="72" y="401"/>
                    <a:pt x="69" y="409"/>
                  </a:cubicBezTo>
                  <a:cubicBezTo>
                    <a:pt x="77" y="410"/>
                    <a:pt x="89" y="406"/>
                    <a:pt x="89" y="406"/>
                  </a:cubicBezTo>
                  <a:cubicBezTo>
                    <a:pt x="89" y="406"/>
                    <a:pt x="91" y="418"/>
                    <a:pt x="94" y="421"/>
                  </a:cubicBezTo>
                  <a:cubicBezTo>
                    <a:pt x="97" y="424"/>
                    <a:pt x="106" y="421"/>
                    <a:pt x="106" y="421"/>
                  </a:cubicBezTo>
                  <a:cubicBezTo>
                    <a:pt x="106" y="421"/>
                    <a:pt x="113" y="430"/>
                    <a:pt x="118" y="434"/>
                  </a:cubicBezTo>
                  <a:cubicBezTo>
                    <a:pt x="123" y="438"/>
                    <a:pt x="133" y="432"/>
                    <a:pt x="133" y="432"/>
                  </a:cubicBezTo>
                  <a:cubicBezTo>
                    <a:pt x="135" y="443"/>
                    <a:pt x="135" y="443"/>
                    <a:pt x="135" y="443"/>
                  </a:cubicBezTo>
                  <a:cubicBezTo>
                    <a:pt x="147" y="442"/>
                    <a:pt x="147" y="442"/>
                    <a:pt x="147" y="442"/>
                  </a:cubicBezTo>
                  <a:cubicBezTo>
                    <a:pt x="158" y="452"/>
                    <a:pt x="158" y="452"/>
                    <a:pt x="158" y="452"/>
                  </a:cubicBezTo>
                  <a:cubicBezTo>
                    <a:pt x="173" y="451"/>
                    <a:pt x="173" y="451"/>
                    <a:pt x="173" y="451"/>
                  </a:cubicBezTo>
                  <a:cubicBezTo>
                    <a:pt x="179" y="461"/>
                    <a:pt x="179" y="461"/>
                    <a:pt x="179" y="461"/>
                  </a:cubicBezTo>
                  <a:cubicBezTo>
                    <a:pt x="198" y="461"/>
                    <a:pt x="198" y="461"/>
                    <a:pt x="198" y="461"/>
                  </a:cubicBezTo>
                  <a:cubicBezTo>
                    <a:pt x="198" y="461"/>
                    <a:pt x="202" y="448"/>
                    <a:pt x="212" y="453"/>
                  </a:cubicBezTo>
                  <a:cubicBezTo>
                    <a:pt x="222" y="458"/>
                    <a:pt x="230" y="479"/>
                    <a:pt x="230" y="479"/>
                  </a:cubicBezTo>
                  <a:cubicBezTo>
                    <a:pt x="232" y="514"/>
                    <a:pt x="232" y="514"/>
                    <a:pt x="232" y="514"/>
                  </a:cubicBezTo>
                  <a:cubicBezTo>
                    <a:pt x="232" y="514"/>
                    <a:pt x="237" y="515"/>
                    <a:pt x="237" y="522"/>
                  </a:cubicBezTo>
                  <a:cubicBezTo>
                    <a:pt x="237" y="529"/>
                    <a:pt x="234" y="531"/>
                    <a:pt x="231" y="539"/>
                  </a:cubicBezTo>
                  <a:cubicBezTo>
                    <a:pt x="228" y="547"/>
                    <a:pt x="250" y="557"/>
                    <a:pt x="250" y="557"/>
                  </a:cubicBezTo>
                  <a:cubicBezTo>
                    <a:pt x="249" y="569"/>
                    <a:pt x="249" y="569"/>
                    <a:pt x="249" y="569"/>
                  </a:cubicBezTo>
                  <a:cubicBezTo>
                    <a:pt x="262" y="569"/>
                    <a:pt x="280" y="568"/>
                    <a:pt x="280" y="568"/>
                  </a:cubicBezTo>
                  <a:cubicBezTo>
                    <a:pt x="280" y="568"/>
                    <a:pt x="284" y="558"/>
                    <a:pt x="292" y="558"/>
                  </a:cubicBezTo>
                  <a:cubicBezTo>
                    <a:pt x="300" y="558"/>
                    <a:pt x="319" y="579"/>
                    <a:pt x="324" y="579"/>
                  </a:cubicBezTo>
                  <a:cubicBezTo>
                    <a:pt x="329" y="579"/>
                    <a:pt x="334" y="570"/>
                    <a:pt x="338" y="568"/>
                  </a:cubicBezTo>
                  <a:cubicBezTo>
                    <a:pt x="342" y="566"/>
                    <a:pt x="356" y="574"/>
                    <a:pt x="356" y="574"/>
                  </a:cubicBezTo>
                  <a:cubicBezTo>
                    <a:pt x="356" y="574"/>
                    <a:pt x="360" y="576"/>
                    <a:pt x="367" y="573"/>
                  </a:cubicBezTo>
                  <a:cubicBezTo>
                    <a:pt x="374" y="570"/>
                    <a:pt x="390" y="552"/>
                    <a:pt x="390" y="552"/>
                  </a:cubicBezTo>
                  <a:cubicBezTo>
                    <a:pt x="406" y="552"/>
                    <a:pt x="406" y="552"/>
                    <a:pt x="406" y="552"/>
                  </a:cubicBezTo>
                  <a:cubicBezTo>
                    <a:pt x="406" y="552"/>
                    <a:pt x="409" y="560"/>
                    <a:pt x="413" y="559"/>
                  </a:cubicBezTo>
                  <a:cubicBezTo>
                    <a:pt x="417" y="558"/>
                    <a:pt x="438" y="545"/>
                    <a:pt x="438" y="545"/>
                  </a:cubicBezTo>
                  <a:cubicBezTo>
                    <a:pt x="457" y="544"/>
                    <a:pt x="457" y="544"/>
                    <a:pt x="457" y="544"/>
                  </a:cubicBezTo>
                  <a:cubicBezTo>
                    <a:pt x="510" y="507"/>
                    <a:pt x="510" y="507"/>
                    <a:pt x="510" y="507"/>
                  </a:cubicBezTo>
                  <a:lnTo>
                    <a:pt x="507" y="496"/>
                  </a:lnTo>
                  <a:close/>
                  <a:moveTo>
                    <a:pt x="481" y="237"/>
                  </a:moveTo>
                  <a:cubicBezTo>
                    <a:pt x="497" y="235"/>
                    <a:pt x="483" y="196"/>
                    <a:pt x="476" y="204"/>
                  </a:cubicBezTo>
                  <a:cubicBezTo>
                    <a:pt x="468" y="212"/>
                    <a:pt x="468" y="239"/>
                    <a:pt x="481" y="237"/>
                  </a:cubicBezTo>
                  <a:close/>
                  <a:moveTo>
                    <a:pt x="452" y="278"/>
                  </a:moveTo>
                  <a:cubicBezTo>
                    <a:pt x="452" y="278"/>
                    <a:pt x="468" y="296"/>
                    <a:pt x="478" y="294"/>
                  </a:cubicBezTo>
                  <a:cubicBezTo>
                    <a:pt x="487" y="292"/>
                    <a:pt x="470" y="272"/>
                    <a:pt x="470" y="272"/>
                  </a:cubicBezTo>
                  <a:cubicBezTo>
                    <a:pt x="470" y="272"/>
                    <a:pt x="474" y="251"/>
                    <a:pt x="458" y="251"/>
                  </a:cubicBezTo>
                  <a:cubicBezTo>
                    <a:pt x="442" y="251"/>
                    <a:pt x="452" y="278"/>
                    <a:pt x="452" y="27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8" name="Freeform 167">
              <a:extLst>
                <a:ext uri="{FF2B5EF4-FFF2-40B4-BE49-F238E27FC236}">
                  <a16:creationId xmlns:a16="http://schemas.microsoft.com/office/drawing/2014/main" id="{38D4591D-8844-9C4F-6722-89ACBE2546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0926" y="3975240"/>
              <a:ext cx="149384" cy="178347"/>
            </a:xfrm>
            <a:custGeom>
              <a:avLst/>
              <a:gdLst>
                <a:gd name="T0" fmla="*/ 10 w 266"/>
                <a:gd name="T1" fmla="*/ 15 h 314"/>
                <a:gd name="T2" fmla="*/ 11 w 266"/>
                <a:gd name="T3" fmla="*/ 15 h 314"/>
                <a:gd name="T4" fmla="*/ 11 w 266"/>
                <a:gd name="T5" fmla="*/ 15 h 314"/>
                <a:gd name="T6" fmla="*/ 10 w 266"/>
                <a:gd name="T7" fmla="*/ 15 h 314"/>
                <a:gd name="T8" fmla="*/ 13 w 266"/>
                <a:gd name="T9" fmla="*/ 7 h 314"/>
                <a:gd name="T10" fmla="*/ 13 w 266"/>
                <a:gd name="T11" fmla="*/ 5 h 314"/>
                <a:gd name="T12" fmla="*/ 13 w 266"/>
                <a:gd name="T13" fmla="*/ 4 h 314"/>
                <a:gd name="T14" fmla="*/ 12 w 266"/>
                <a:gd name="T15" fmla="*/ 3 h 314"/>
                <a:gd name="T16" fmla="*/ 12 w 266"/>
                <a:gd name="T17" fmla="*/ 3 h 314"/>
                <a:gd name="T18" fmla="*/ 11 w 266"/>
                <a:gd name="T19" fmla="*/ 2 h 314"/>
                <a:gd name="T20" fmla="*/ 11 w 266"/>
                <a:gd name="T21" fmla="*/ 1 h 314"/>
                <a:gd name="T22" fmla="*/ 11 w 266"/>
                <a:gd name="T23" fmla="*/ 1 h 314"/>
                <a:gd name="T24" fmla="*/ 10 w 266"/>
                <a:gd name="T25" fmla="*/ 0 h 314"/>
                <a:gd name="T26" fmla="*/ 10 w 266"/>
                <a:gd name="T27" fmla="*/ 0 h 314"/>
                <a:gd name="T28" fmla="*/ 9 w 266"/>
                <a:gd name="T29" fmla="*/ 1 h 314"/>
                <a:gd name="T30" fmla="*/ 8 w 266"/>
                <a:gd name="T31" fmla="*/ 1 h 314"/>
                <a:gd name="T32" fmla="*/ 7 w 266"/>
                <a:gd name="T33" fmla="*/ 1 h 314"/>
                <a:gd name="T34" fmla="*/ 7 w 266"/>
                <a:gd name="T35" fmla="*/ 1 h 314"/>
                <a:gd name="T36" fmla="*/ 6 w 266"/>
                <a:gd name="T37" fmla="*/ 2 h 314"/>
                <a:gd name="T38" fmla="*/ 5 w 266"/>
                <a:gd name="T39" fmla="*/ 1 h 314"/>
                <a:gd name="T40" fmla="*/ 5 w 266"/>
                <a:gd name="T41" fmla="*/ 1 h 314"/>
                <a:gd name="T42" fmla="*/ 5 w 266"/>
                <a:gd name="T43" fmla="*/ 1 h 314"/>
                <a:gd name="T44" fmla="*/ 4 w 266"/>
                <a:gd name="T45" fmla="*/ 1 h 314"/>
                <a:gd name="T46" fmla="*/ 3 w 266"/>
                <a:gd name="T47" fmla="*/ 2 h 314"/>
                <a:gd name="T48" fmla="*/ 3 w 266"/>
                <a:gd name="T49" fmla="*/ 3 h 314"/>
                <a:gd name="T50" fmla="*/ 3 w 266"/>
                <a:gd name="T51" fmla="*/ 3 h 314"/>
                <a:gd name="T52" fmla="*/ 3 w 266"/>
                <a:gd name="T53" fmla="*/ 4 h 314"/>
                <a:gd name="T54" fmla="*/ 3 w 266"/>
                <a:gd name="T55" fmla="*/ 5 h 314"/>
                <a:gd name="T56" fmla="*/ 3 w 266"/>
                <a:gd name="T57" fmla="*/ 5 h 314"/>
                <a:gd name="T58" fmla="*/ 4 w 266"/>
                <a:gd name="T59" fmla="*/ 6 h 314"/>
                <a:gd name="T60" fmla="*/ 2 w 266"/>
                <a:gd name="T61" fmla="*/ 8 h 314"/>
                <a:gd name="T62" fmla="*/ 1 w 266"/>
                <a:gd name="T63" fmla="*/ 9 h 314"/>
                <a:gd name="T64" fmla="*/ 1 w 266"/>
                <a:gd name="T65" fmla="*/ 9 h 314"/>
                <a:gd name="T66" fmla="*/ 1 w 266"/>
                <a:gd name="T67" fmla="*/ 9 h 314"/>
                <a:gd name="T68" fmla="*/ 1 w 266"/>
                <a:gd name="T69" fmla="*/ 10 h 314"/>
                <a:gd name="T70" fmla="*/ 0 w 266"/>
                <a:gd name="T71" fmla="*/ 12 h 314"/>
                <a:gd name="T72" fmla="*/ 0 w 266"/>
                <a:gd name="T73" fmla="*/ 13 h 314"/>
                <a:gd name="T74" fmla="*/ 0 w 266"/>
                <a:gd name="T75" fmla="*/ 15 h 314"/>
                <a:gd name="T76" fmla="*/ 0 w 266"/>
                <a:gd name="T77" fmla="*/ 15 h 314"/>
                <a:gd name="T78" fmla="*/ 1 w 266"/>
                <a:gd name="T79" fmla="*/ 16 h 314"/>
                <a:gd name="T80" fmla="*/ 1 w 266"/>
                <a:gd name="T81" fmla="*/ 15 h 314"/>
                <a:gd name="T82" fmla="*/ 3 w 266"/>
                <a:gd name="T83" fmla="*/ 15 h 314"/>
                <a:gd name="T84" fmla="*/ 6 w 266"/>
                <a:gd name="T85" fmla="*/ 15 h 314"/>
                <a:gd name="T86" fmla="*/ 5 w 266"/>
                <a:gd name="T87" fmla="*/ 14 h 314"/>
                <a:gd name="T88" fmla="*/ 6 w 266"/>
                <a:gd name="T89" fmla="*/ 13 h 314"/>
                <a:gd name="T90" fmla="*/ 6 w 266"/>
                <a:gd name="T91" fmla="*/ 12 h 314"/>
                <a:gd name="T92" fmla="*/ 8 w 266"/>
                <a:gd name="T93" fmla="*/ 11 h 314"/>
                <a:gd name="T94" fmla="*/ 9 w 266"/>
                <a:gd name="T95" fmla="*/ 10 h 314"/>
                <a:gd name="T96" fmla="*/ 9 w 266"/>
                <a:gd name="T97" fmla="*/ 12 h 314"/>
                <a:gd name="T98" fmla="*/ 10 w 266"/>
                <a:gd name="T99" fmla="*/ 11 h 314"/>
                <a:gd name="T100" fmla="*/ 10 w 266"/>
                <a:gd name="T101" fmla="*/ 11 h 314"/>
                <a:gd name="T102" fmla="*/ 10 w 266"/>
                <a:gd name="T103" fmla="*/ 12 h 314"/>
                <a:gd name="T104" fmla="*/ 11 w 266"/>
                <a:gd name="T105" fmla="*/ 10 h 314"/>
                <a:gd name="T106" fmla="*/ 11 w 266"/>
                <a:gd name="T107" fmla="*/ 10 h 314"/>
                <a:gd name="T108" fmla="*/ 11 w 266"/>
                <a:gd name="T109" fmla="*/ 9 h 314"/>
                <a:gd name="T110" fmla="*/ 12 w 266"/>
                <a:gd name="T111" fmla="*/ 9 h 314"/>
                <a:gd name="T112" fmla="*/ 13 w 266"/>
                <a:gd name="T113" fmla="*/ 8 h 314"/>
                <a:gd name="T114" fmla="*/ 13 w 266"/>
                <a:gd name="T115" fmla="*/ 7 h 314"/>
                <a:gd name="T116" fmla="*/ 13 w 266"/>
                <a:gd name="T117" fmla="*/ 7 h 3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6"/>
                <a:gd name="T178" fmla="*/ 0 h 314"/>
                <a:gd name="T179" fmla="*/ 266 w 266"/>
                <a:gd name="T180" fmla="*/ 314 h 3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6" h="314">
                  <a:moveTo>
                    <a:pt x="204" y="283"/>
                  </a:moveTo>
                  <a:cubicBezTo>
                    <a:pt x="214" y="283"/>
                    <a:pt x="214" y="283"/>
                    <a:pt x="214" y="283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09" y="282"/>
                    <a:pt x="204" y="282"/>
                    <a:pt x="204" y="283"/>
                  </a:cubicBezTo>
                  <a:close/>
                  <a:moveTo>
                    <a:pt x="262" y="127"/>
                  </a:moveTo>
                  <a:cubicBezTo>
                    <a:pt x="258" y="121"/>
                    <a:pt x="245" y="102"/>
                    <a:pt x="246" y="97"/>
                  </a:cubicBezTo>
                  <a:cubicBezTo>
                    <a:pt x="247" y="92"/>
                    <a:pt x="255" y="87"/>
                    <a:pt x="255" y="87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5" y="57"/>
                    <a:pt x="235" y="57"/>
                    <a:pt x="235" y="57"/>
                  </a:cubicBezTo>
                  <a:cubicBezTo>
                    <a:pt x="235" y="57"/>
                    <a:pt x="224" y="48"/>
                    <a:pt x="226" y="42"/>
                  </a:cubicBezTo>
                  <a:cubicBezTo>
                    <a:pt x="228" y="36"/>
                    <a:pt x="228" y="27"/>
                    <a:pt x="228" y="27"/>
                  </a:cubicBezTo>
                  <a:cubicBezTo>
                    <a:pt x="228" y="27"/>
                    <a:pt x="215" y="35"/>
                    <a:pt x="215" y="22"/>
                  </a:cubicBezTo>
                  <a:cubicBezTo>
                    <a:pt x="215" y="9"/>
                    <a:pt x="208" y="0"/>
                    <a:pt x="20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0"/>
                    <a:pt x="191" y="27"/>
                    <a:pt x="178" y="25"/>
                  </a:cubicBezTo>
                  <a:cubicBezTo>
                    <a:pt x="165" y="23"/>
                    <a:pt x="166" y="17"/>
                    <a:pt x="161" y="17"/>
                  </a:cubicBezTo>
                  <a:cubicBezTo>
                    <a:pt x="156" y="17"/>
                    <a:pt x="149" y="25"/>
                    <a:pt x="149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8" y="30"/>
                    <a:pt x="92" y="29"/>
                  </a:cubicBezTo>
                  <a:cubicBezTo>
                    <a:pt x="86" y="28"/>
                    <a:pt x="77" y="21"/>
                    <a:pt x="72" y="21"/>
                  </a:cubicBezTo>
                  <a:cubicBezTo>
                    <a:pt x="67" y="21"/>
                    <a:pt x="56" y="34"/>
                    <a:pt x="56" y="34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60" y="65"/>
                    <a:pt x="59" y="71"/>
                  </a:cubicBezTo>
                  <a:cubicBezTo>
                    <a:pt x="58" y="76"/>
                    <a:pt x="49" y="87"/>
                    <a:pt x="52" y="92"/>
                  </a:cubicBezTo>
                  <a:cubicBezTo>
                    <a:pt x="55" y="98"/>
                    <a:pt x="66" y="97"/>
                    <a:pt x="66" y="97"/>
                  </a:cubicBezTo>
                  <a:cubicBezTo>
                    <a:pt x="66" y="97"/>
                    <a:pt x="78" y="100"/>
                    <a:pt x="78" y="108"/>
                  </a:cubicBezTo>
                  <a:cubicBezTo>
                    <a:pt x="78" y="116"/>
                    <a:pt x="45" y="156"/>
                    <a:pt x="45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6" y="314"/>
                    <a:pt x="22" y="307"/>
                  </a:cubicBezTo>
                  <a:cubicBezTo>
                    <a:pt x="29" y="299"/>
                    <a:pt x="33" y="283"/>
                    <a:pt x="33" y="283"/>
                  </a:cubicBezTo>
                  <a:cubicBezTo>
                    <a:pt x="49" y="282"/>
                    <a:pt x="49" y="282"/>
                    <a:pt x="49" y="282"/>
                  </a:cubicBezTo>
                  <a:cubicBezTo>
                    <a:pt x="110" y="282"/>
                    <a:pt x="110" y="282"/>
                    <a:pt x="110" y="282"/>
                  </a:cubicBezTo>
                  <a:cubicBezTo>
                    <a:pt x="110" y="277"/>
                    <a:pt x="104" y="271"/>
                    <a:pt x="102" y="265"/>
                  </a:cubicBezTo>
                  <a:cubicBezTo>
                    <a:pt x="100" y="258"/>
                    <a:pt x="107" y="250"/>
                    <a:pt x="111" y="246"/>
                  </a:cubicBezTo>
                  <a:cubicBezTo>
                    <a:pt x="115" y="242"/>
                    <a:pt x="109" y="230"/>
                    <a:pt x="118" y="223"/>
                  </a:cubicBezTo>
                  <a:cubicBezTo>
                    <a:pt x="127" y="216"/>
                    <a:pt x="157" y="218"/>
                    <a:pt x="160" y="216"/>
                  </a:cubicBezTo>
                  <a:cubicBezTo>
                    <a:pt x="163" y="214"/>
                    <a:pt x="170" y="202"/>
                    <a:pt x="176" y="202"/>
                  </a:cubicBezTo>
                  <a:cubicBezTo>
                    <a:pt x="182" y="202"/>
                    <a:pt x="182" y="219"/>
                    <a:pt x="182" y="219"/>
                  </a:cubicBezTo>
                  <a:cubicBezTo>
                    <a:pt x="182" y="219"/>
                    <a:pt x="189" y="212"/>
                    <a:pt x="200" y="215"/>
                  </a:cubicBezTo>
                  <a:cubicBezTo>
                    <a:pt x="202" y="215"/>
                    <a:pt x="204" y="216"/>
                    <a:pt x="207" y="217"/>
                  </a:cubicBezTo>
                  <a:cubicBezTo>
                    <a:pt x="207" y="218"/>
                    <a:pt x="207" y="218"/>
                    <a:pt x="207" y="219"/>
                  </a:cubicBezTo>
                  <a:cubicBezTo>
                    <a:pt x="207" y="208"/>
                    <a:pt x="218" y="201"/>
                    <a:pt x="218" y="201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31" y="179"/>
                    <a:pt x="227" y="170"/>
                    <a:pt x="234" y="164"/>
                  </a:cubicBezTo>
                  <a:cubicBezTo>
                    <a:pt x="241" y="158"/>
                    <a:pt x="247" y="160"/>
                    <a:pt x="247" y="160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51" y="145"/>
                    <a:pt x="266" y="133"/>
                    <a:pt x="262" y="12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59" name="Freeform 168">
              <a:extLst>
                <a:ext uri="{FF2B5EF4-FFF2-40B4-BE49-F238E27FC236}">
                  <a16:creationId xmlns:a16="http://schemas.microsoft.com/office/drawing/2014/main" id="{82EC0805-D366-A7E6-025E-1A6361005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251" y="3958473"/>
              <a:ext cx="216455" cy="289622"/>
            </a:xfrm>
            <a:custGeom>
              <a:avLst/>
              <a:gdLst>
                <a:gd name="T0" fmla="*/ 18 w 378"/>
                <a:gd name="T1" fmla="*/ 5 h 509"/>
                <a:gd name="T2" fmla="*/ 19 w 378"/>
                <a:gd name="T3" fmla="*/ 4 h 509"/>
                <a:gd name="T4" fmla="*/ 20 w 378"/>
                <a:gd name="T5" fmla="*/ 2 h 509"/>
                <a:gd name="T6" fmla="*/ 19 w 378"/>
                <a:gd name="T7" fmla="*/ 2 h 509"/>
                <a:gd name="T8" fmla="*/ 19 w 378"/>
                <a:gd name="T9" fmla="*/ 2 h 509"/>
                <a:gd name="T10" fmla="*/ 18 w 378"/>
                <a:gd name="T11" fmla="*/ 2 h 509"/>
                <a:gd name="T12" fmla="*/ 17 w 378"/>
                <a:gd name="T13" fmla="*/ 1 h 509"/>
                <a:gd name="T14" fmla="*/ 17 w 378"/>
                <a:gd name="T15" fmla="*/ 1 h 509"/>
                <a:gd name="T16" fmla="*/ 15 w 378"/>
                <a:gd name="T17" fmla="*/ 2 h 509"/>
                <a:gd name="T18" fmla="*/ 15 w 378"/>
                <a:gd name="T19" fmla="*/ 3 h 509"/>
                <a:gd name="T20" fmla="*/ 14 w 378"/>
                <a:gd name="T21" fmla="*/ 4 h 509"/>
                <a:gd name="T22" fmla="*/ 12 w 378"/>
                <a:gd name="T23" fmla="*/ 3 h 509"/>
                <a:gd name="T24" fmla="*/ 10 w 378"/>
                <a:gd name="T25" fmla="*/ 3 h 509"/>
                <a:gd name="T26" fmla="*/ 8 w 378"/>
                <a:gd name="T27" fmla="*/ 1 h 509"/>
                <a:gd name="T28" fmla="*/ 5 w 378"/>
                <a:gd name="T29" fmla="*/ 1 h 509"/>
                <a:gd name="T30" fmla="*/ 5 w 378"/>
                <a:gd name="T31" fmla="*/ 0 h 509"/>
                <a:gd name="T32" fmla="*/ 4 w 378"/>
                <a:gd name="T33" fmla="*/ 0 h 509"/>
                <a:gd name="T34" fmla="*/ 1 w 378"/>
                <a:gd name="T35" fmla="*/ 0 h 509"/>
                <a:gd name="T36" fmla="*/ 0 w 378"/>
                <a:gd name="T37" fmla="*/ 1 h 509"/>
                <a:gd name="T38" fmla="*/ 1 w 378"/>
                <a:gd name="T39" fmla="*/ 3 h 509"/>
                <a:gd name="T40" fmla="*/ 1 w 378"/>
                <a:gd name="T41" fmla="*/ 3 h 509"/>
                <a:gd name="T42" fmla="*/ 1 w 378"/>
                <a:gd name="T43" fmla="*/ 4 h 509"/>
                <a:gd name="T44" fmla="*/ 2 w 378"/>
                <a:gd name="T45" fmla="*/ 4 h 509"/>
                <a:gd name="T46" fmla="*/ 2 w 378"/>
                <a:gd name="T47" fmla="*/ 5 h 509"/>
                <a:gd name="T48" fmla="*/ 3 w 378"/>
                <a:gd name="T49" fmla="*/ 6 h 509"/>
                <a:gd name="T50" fmla="*/ 2 w 378"/>
                <a:gd name="T51" fmla="*/ 7 h 509"/>
                <a:gd name="T52" fmla="*/ 3 w 378"/>
                <a:gd name="T53" fmla="*/ 8 h 509"/>
                <a:gd name="T54" fmla="*/ 2 w 378"/>
                <a:gd name="T55" fmla="*/ 9 h 509"/>
                <a:gd name="T56" fmla="*/ 2 w 378"/>
                <a:gd name="T57" fmla="*/ 10 h 509"/>
                <a:gd name="T58" fmla="*/ 2 w 378"/>
                <a:gd name="T59" fmla="*/ 10 h 509"/>
                <a:gd name="T60" fmla="*/ 2 w 378"/>
                <a:gd name="T61" fmla="*/ 11 h 509"/>
                <a:gd name="T62" fmla="*/ 1 w 378"/>
                <a:gd name="T63" fmla="*/ 12 h 509"/>
                <a:gd name="T64" fmla="*/ 1 w 378"/>
                <a:gd name="T65" fmla="*/ 12 h 509"/>
                <a:gd name="T66" fmla="*/ 0 w 378"/>
                <a:gd name="T67" fmla="*/ 13 h 509"/>
                <a:gd name="T68" fmla="*/ 1 w 378"/>
                <a:gd name="T69" fmla="*/ 14 h 509"/>
                <a:gd name="T70" fmla="*/ 1 w 378"/>
                <a:gd name="T71" fmla="*/ 14 h 509"/>
                <a:gd name="T72" fmla="*/ 2 w 378"/>
                <a:gd name="T73" fmla="*/ 13 h 509"/>
                <a:gd name="T74" fmla="*/ 2 w 378"/>
                <a:gd name="T75" fmla="*/ 14 h 509"/>
                <a:gd name="T76" fmla="*/ 2 w 378"/>
                <a:gd name="T77" fmla="*/ 14 h 509"/>
                <a:gd name="T78" fmla="*/ 1 w 378"/>
                <a:gd name="T79" fmla="*/ 15 h 509"/>
                <a:gd name="T80" fmla="*/ 0 w 378"/>
                <a:gd name="T81" fmla="*/ 15 h 509"/>
                <a:gd name="T82" fmla="*/ 1 w 378"/>
                <a:gd name="T83" fmla="*/ 16 h 509"/>
                <a:gd name="T84" fmla="*/ 0 w 378"/>
                <a:gd name="T85" fmla="*/ 16 h 509"/>
                <a:gd name="T86" fmla="*/ 9 w 378"/>
                <a:gd name="T87" fmla="*/ 22 h 509"/>
                <a:gd name="T88" fmla="*/ 10 w 378"/>
                <a:gd name="T89" fmla="*/ 22 h 509"/>
                <a:gd name="T90" fmla="*/ 9 w 378"/>
                <a:gd name="T91" fmla="*/ 23 h 509"/>
                <a:gd name="T92" fmla="*/ 13 w 378"/>
                <a:gd name="T93" fmla="*/ 27 h 509"/>
                <a:gd name="T94" fmla="*/ 13 w 378"/>
                <a:gd name="T95" fmla="*/ 27 h 509"/>
                <a:gd name="T96" fmla="*/ 14 w 378"/>
                <a:gd name="T97" fmla="*/ 27 h 509"/>
                <a:gd name="T98" fmla="*/ 15 w 378"/>
                <a:gd name="T99" fmla="*/ 24 h 509"/>
                <a:gd name="T100" fmla="*/ 15 w 378"/>
                <a:gd name="T101" fmla="*/ 23 h 509"/>
                <a:gd name="T102" fmla="*/ 16 w 378"/>
                <a:gd name="T103" fmla="*/ 22 h 509"/>
                <a:gd name="T104" fmla="*/ 16 w 378"/>
                <a:gd name="T105" fmla="*/ 21 h 509"/>
                <a:gd name="T106" fmla="*/ 17 w 378"/>
                <a:gd name="T107" fmla="*/ 20 h 509"/>
                <a:gd name="T108" fmla="*/ 17 w 378"/>
                <a:gd name="T109" fmla="*/ 19 h 509"/>
                <a:gd name="T110" fmla="*/ 19 w 378"/>
                <a:gd name="T111" fmla="*/ 18 h 509"/>
                <a:gd name="T112" fmla="*/ 19 w 378"/>
                <a:gd name="T113" fmla="*/ 18 h 509"/>
                <a:gd name="T114" fmla="*/ 18 w 378"/>
                <a:gd name="T115" fmla="*/ 16 h 509"/>
                <a:gd name="T116" fmla="*/ 18 w 378"/>
                <a:gd name="T117" fmla="*/ 5 h 5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78"/>
                <a:gd name="T178" fmla="*/ 0 h 509"/>
                <a:gd name="T179" fmla="*/ 378 w 378"/>
                <a:gd name="T180" fmla="*/ 509 h 5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78" h="509">
                  <a:moveTo>
                    <a:pt x="337" y="100"/>
                  </a:moveTo>
                  <a:cubicBezTo>
                    <a:pt x="337" y="100"/>
                    <a:pt x="351" y="87"/>
                    <a:pt x="358" y="79"/>
                  </a:cubicBezTo>
                  <a:cubicBezTo>
                    <a:pt x="365" y="71"/>
                    <a:pt x="378" y="43"/>
                    <a:pt x="378" y="43"/>
                  </a:cubicBezTo>
                  <a:cubicBezTo>
                    <a:pt x="362" y="37"/>
                    <a:pt x="362" y="37"/>
                    <a:pt x="362" y="37"/>
                  </a:cubicBezTo>
                  <a:cubicBezTo>
                    <a:pt x="358" y="41"/>
                    <a:pt x="358" y="41"/>
                    <a:pt x="358" y="41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24" y="23"/>
                    <a:pt x="324" y="23"/>
                    <a:pt x="324" y="23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32"/>
                    <a:pt x="290" y="40"/>
                    <a:pt x="283" y="46"/>
                  </a:cubicBezTo>
                  <a:cubicBezTo>
                    <a:pt x="276" y="52"/>
                    <a:pt x="278" y="56"/>
                    <a:pt x="278" y="56"/>
                  </a:cubicBezTo>
                  <a:cubicBezTo>
                    <a:pt x="265" y="70"/>
                    <a:pt x="265" y="70"/>
                    <a:pt x="265" y="70"/>
                  </a:cubicBezTo>
                  <a:cubicBezTo>
                    <a:pt x="265" y="70"/>
                    <a:pt x="247" y="63"/>
                    <a:pt x="234" y="61"/>
                  </a:cubicBezTo>
                  <a:cubicBezTo>
                    <a:pt x="221" y="59"/>
                    <a:pt x="194" y="57"/>
                    <a:pt x="194" y="57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10" y="38"/>
                    <a:pt x="10" y="51"/>
                  </a:cubicBezTo>
                  <a:cubicBezTo>
                    <a:pt x="10" y="64"/>
                    <a:pt x="23" y="56"/>
                    <a:pt x="23" y="56"/>
                  </a:cubicBezTo>
                  <a:cubicBezTo>
                    <a:pt x="23" y="56"/>
                    <a:pt x="23" y="65"/>
                    <a:pt x="21" y="71"/>
                  </a:cubicBezTo>
                  <a:cubicBezTo>
                    <a:pt x="19" y="77"/>
                    <a:pt x="30" y="86"/>
                    <a:pt x="30" y="86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0" y="116"/>
                    <a:pt x="42" y="121"/>
                    <a:pt x="41" y="126"/>
                  </a:cubicBezTo>
                  <a:cubicBezTo>
                    <a:pt x="40" y="131"/>
                    <a:pt x="53" y="150"/>
                    <a:pt x="57" y="156"/>
                  </a:cubicBezTo>
                  <a:cubicBezTo>
                    <a:pt x="61" y="162"/>
                    <a:pt x="46" y="174"/>
                    <a:pt x="46" y="174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36" y="187"/>
                    <a:pt x="29" y="193"/>
                  </a:cubicBezTo>
                  <a:cubicBezTo>
                    <a:pt x="22" y="199"/>
                    <a:pt x="26" y="208"/>
                    <a:pt x="26" y="208"/>
                  </a:cubicBezTo>
                  <a:cubicBezTo>
                    <a:pt x="14" y="219"/>
                    <a:pt x="14" y="219"/>
                    <a:pt x="14" y="219"/>
                  </a:cubicBezTo>
                  <a:cubicBezTo>
                    <a:pt x="13" y="230"/>
                    <a:pt x="13" y="230"/>
                    <a:pt x="13" y="230"/>
                  </a:cubicBezTo>
                  <a:cubicBezTo>
                    <a:pt x="13" y="230"/>
                    <a:pt x="2" y="237"/>
                    <a:pt x="2" y="248"/>
                  </a:cubicBezTo>
                  <a:cubicBezTo>
                    <a:pt x="2" y="259"/>
                    <a:pt x="11" y="269"/>
                    <a:pt x="18" y="270"/>
                  </a:cubicBezTo>
                  <a:cubicBezTo>
                    <a:pt x="25" y="271"/>
                    <a:pt x="25" y="262"/>
                    <a:pt x="25" y="262"/>
                  </a:cubicBezTo>
                  <a:cubicBezTo>
                    <a:pt x="39" y="261"/>
                    <a:pt x="39" y="261"/>
                    <a:pt x="39" y="261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33" y="275"/>
                    <a:pt x="33" y="275"/>
                    <a:pt x="33" y="275"/>
                  </a:cubicBezTo>
                  <a:cubicBezTo>
                    <a:pt x="23" y="283"/>
                    <a:pt x="23" y="283"/>
                    <a:pt x="23" y="283"/>
                  </a:cubicBezTo>
                  <a:cubicBezTo>
                    <a:pt x="23" y="283"/>
                    <a:pt x="18" y="273"/>
                    <a:pt x="9" y="283"/>
                  </a:cubicBezTo>
                  <a:cubicBezTo>
                    <a:pt x="0" y="293"/>
                    <a:pt x="13" y="302"/>
                    <a:pt x="13" y="30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75" y="416"/>
                    <a:pt x="175" y="416"/>
                    <a:pt x="175" y="416"/>
                  </a:cubicBezTo>
                  <a:cubicBezTo>
                    <a:pt x="175" y="416"/>
                    <a:pt x="187" y="425"/>
                    <a:pt x="184" y="429"/>
                  </a:cubicBezTo>
                  <a:cubicBezTo>
                    <a:pt x="181" y="433"/>
                    <a:pt x="173" y="439"/>
                    <a:pt x="173" y="439"/>
                  </a:cubicBezTo>
                  <a:cubicBezTo>
                    <a:pt x="248" y="509"/>
                    <a:pt x="248" y="509"/>
                    <a:pt x="248" y="509"/>
                  </a:cubicBezTo>
                  <a:cubicBezTo>
                    <a:pt x="248" y="508"/>
                    <a:pt x="248" y="508"/>
                    <a:pt x="248" y="508"/>
                  </a:cubicBezTo>
                  <a:cubicBezTo>
                    <a:pt x="261" y="505"/>
                    <a:pt x="261" y="505"/>
                    <a:pt x="261" y="505"/>
                  </a:cubicBezTo>
                  <a:cubicBezTo>
                    <a:pt x="281" y="463"/>
                    <a:pt x="281" y="463"/>
                    <a:pt x="281" y="463"/>
                  </a:cubicBezTo>
                  <a:cubicBezTo>
                    <a:pt x="281" y="463"/>
                    <a:pt x="279" y="448"/>
                    <a:pt x="279" y="441"/>
                  </a:cubicBezTo>
                  <a:cubicBezTo>
                    <a:pt x="279" y="434"/>
                    <a:pt x="300" y="434"/>
                    <a:pt x="299" y="424"/>
                  </a:cubicBezTo>
                  <a:cubicBezTo>
                    <a:pt x="298" y="414"/>
                    <a:pt x="293" y="401"/>
                    <a:pt x="301" y="398"/>
                  </a:cubicBezTo>
                  <a:cubicBezTo>
                    <a:pt x="309" y="395"/>
                    <a:pt x="324" y="388"/>
                    <a:pt x="324" y="388"/>
                  </a:cubicBezTo>
                  <a:cubicBezTo>
                    <a:pt x="328" y="361"/>
                    <a:pt x="328" y="361"/>
                    <a:pt x="328" y="361"/>
                  </a:cubicBezTo>
                  <a:cubicBezTo>
                    <a:pt x="328" y="361"/>
                    <a:pt x="352" y="366"/>
                    <a:pt x="360" y="351"/>
                  </a:cubicBezTo>
                  <a:cubicBezTo>
                    <a:pt x="361" y="349"/>
                    <a:pt x="362" y="346"/>
                    <a:pt x="364" y="343"/>
                  </a:cubicBezTo>
                  <a:cubicBezTo>
                    <a:pt x="336" y="303"/>
                    <a:pt x="336" y="303"/>
                    <a:pt x="336" y="303"/>
                  </a:cubicBezTo>
                  <a:lnTo>
                    <a:pt x="337" y="10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0" name="Freeform 170">
              <a:extLst>
                <a:ext uri="{FF2B5EF4-FFF2-40B4-BE49-F238E27FC236}">
                  <a16:creationId xmlns:a16="http://schemas.microsoft.com/office/drawing/2014/main" id="{3D3D425E-EC4D-CBC4-DD77-6A6DE8A78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462" y="3013389"/>
              <a:ext cx="56401" cy="35060"/>
            </a:xfrm>
            <a:custGeom>
              <a:avLst/>
              <a:gdLst>
                <a:gd name="T0" fmla="*/ 0 w 98"/>
                <a:gd name="T1" fmla="*/ 2 h 60"/>
                <a:gd name="T2" fmla="*/ 2 w 98"/>
                <a:gd name="T3" fmla="*/ 3 h 60"/>
                <a:gd name="T4" fmla="*/ 3 w 98"/>
                <a:gd name="T5" fmla="*/ 2 h 60"/>
                <a:gd name="T6" fmla="*/ 4 w 98"/>
                <a:gd name="T7" fmla="*/ 2 h 60"/>
                <a:gd name="T8" fmla="*/ 4 w 98"/>
                <a:gd name="T9" fmla="*/ 1 h 60"/>
                <a:gd name="T10" fmla="*/ 5 w 98"/>
                <a:gd name="T11" fmla="*/ 0 h 60"/>
                <a:gd name="T12" fmla="*/ 4 w 98"/>
                <a:gd name="T13" fmla="*/ 1 h 60"/>
                <a:gd name="T14" fmla="*/ 2 w 98"/>
                <a:gd name="T15" fmla="*/ 1 h 60"/>
                <a:gd name="T16" fmla="*/ 2 w 98"/>
                <a:gd name="T17" fmla="*/ 2 h 60"/>
                <a:gd name="T18" fmla="*/ 0 w 98"/>
                <a:gd name="T19" fmla="*/ 2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8"/>
                <a:gd name="T31" fmla="*/ 0 h 60"/>
                <a:gd name="T32" fmla="*/ 98 w 98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8" h="60">
                  <a:moveTo>
                    <a:pt x="1" y="31"/>
                  </a:moveTo>
                  <a:cubicBezTo>
                    <a:pt x="2" y="45"/>
                    <a:pt x="29" y="60"/>
                    <a:pt x="36" y="57"/>
                  </a:cubicBezTo>
                  <a:cubicBezTo>
                    <a:pt x="43" y="54"/>
                    <a:pt x="61" y="38"/>
                    <a:pt x="61" y="38"/>
                  </a:cubicBezTo>
                  <a:cubicBezTo>
                    <a:pt x="61" y="38"/>
                    <a:pt x="77" y="45"/>
                    <a:pt x="80" y="39"/>
                  </a:cubicBezTo>
                  <a:cubicBezTo>
                    <a:pt x="84" y="33"/>
                    <a:pt x="77" y="24"/>
                    <a:pt x="77" y="24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47" y="13"/>
                    <a:pt x="38" y="15"/>
                  </a:cubicBezTo>
                  <a:cubicBezTo>
                    <a:pt x="29" y="17"/>
                    <a:pt x="32" y="26"/>
                    <a:pt x="32" y="26"/>
                  </a:cubicBezTo>
                  <a:cubicBezTo>
                    <a:pt x="32" y="26"/>
                    <a:pt x="0" y="20"/>
                    <a:pt x="1" y="31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1" name="Freeform 171">
              <a:extLst>
                <a:ext uri="{FF2B5EF4-FFF2-40B4-BE49-F238E27FC236}">
                  <a16:creationId xmlns:a16="http://schemas.microsoft.com/office/drawing/2014/main" id="{4477B651-8FDE-896E-158C-9B99823D9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452" y="3290816"/>
              <a:ext cx="126520" cy="121946"/>
            </a:xfrm>
            <a:custGeom>
              <a:avLst/>
              <a:gdLst>
                <a:gd name="T0" fmla="*/ 10 w 224"/>
                <a:gd name="T1" fmla="*/ 4 h 215"/>
                <a:gd name="T2" fmla="*/ 11 w 224"/>
                <a:gd name="T3" fmla="*/ 5 h 215"/>
                <a:gd name="T4" fmla="*/ 11 w 224"/>
                <a:gd name="T5" fmla="*/ 5 h 215"/>
                <a:gd name="T6" fmla="*/ 11 w 224"/>
                <a:gd name="T7" fmla="*/ 3 h 215"/>
                <a:gd name="T8" fmla="*/ 11 w 224"/>
                <a:gd name="T9" fmla="*/ 0 h 215"/>
                <a:gd name="T10" fmla="*/ 10 w 224"/>
                <a:gd name="T11" fmla="*/ 3 h 215"/>
                <a:gd name="T12" fmla="*/ 9 w 224"/>
                <a:gd name="T13" fmla="*/ 3 h 215"/>
                <a:gd name="T14" fmla="*/ 7 w 224"/>
                <a:gd name="T15" fmla="*/ 5 h 215"/>
                <a:gd name="T16" fmla="*/ 6 w 224"/>
                <a:gd name="T17" fmla="*/ 7 h 215"/>
                <a:gd name="T18" fmla="*/ 3 w 224"/>
                <a:gd name="T19" fmla="*/ 6 h 215"/>
                <a:gd name="T20" fmla="*/ 1 w 224"/>
                <a:gd name="T21" fmla="*/ 7 h 215"/>
                <a:gd name="T22" fmla="*/ 0 w 224"/>
                <a:gd name="T23" fmla="*/ 6 h 215"/>
                <a:gd name="T24" fmla="*/ 0 w 224"/>
                <a:gd name="T25" fmla="*/ 7 h 215"/>
                <a:gd name="T26" fmla="*/ 3 w 224"/>
                <a:gd name="T27" fmla="*/ 10 h 215"/>
                <a:gd name="T28" fmla="*/ 9 w 224"/>
                <a:gd name="T29" fmla="*/ 11 h 215"/>
                <a:gd name="T30" fmla="*/ 9 w 224"/>
                <a:gd name="T31" fmla="*/ 10 h 215"/>
                <a:gd name="T32" fmla="*/ 9 w 224"/>
                <a:gd name="T33" fmla="*/ 9 h 215"/>
                <a:gd name="T34" fmla="*/ 10 w 224"/>
                <a:gd name="T35" fmla="*/ 7 h 215"/>
                <a:gd name="T36" fmla="*/ 10 w 224"/>
                <a:gd name="T37" fmla="*/ 7 h 215"/>
                <a:gd name="T38" fmla="*/ 10 w 224"/>
                <a:gd name="T39" fmla="*/ 6 h 215"/>
                <a:gd name="T40" fmla="*/ 10 w 224"/>
                <a:gd name="T41" fmla="*/ 4 h 2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4"/>
                <a:gd name="T64" fmla="*/ 0 h 215"/>
                <a:gd name="T65" fmla="*/ 224 w 224"/>
                <a:gd name="T66" fmla="*/ 215 h 2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4" h="215">
                  <a:moveTo>
                    <a:pt x="198" y="84"/>
                  </a:moveTo>
                  <a:cubicBezTo>
                    <a:pt x="202" y="84"/>
                    <a:pt x="208" y="97"/>
                    <a:pt x="208" y="97"/>
                  </a:cubicBezTo>
                  <a:cubicBezTo>
                    <a:pt x="224" y="91"/>
                    <a:pt x="224" y="91"/>
                    <a:pt x="224" y="91"/>
                  </a:cubicBezTo>
                  <a:cubicBezTo>
                    <a:pt x="219" y="78"/>
                    <a:pt x="212" y="63"/>
                    <a:pt x="214" y="51"/>
                  </a:cubicBezTo>
                  <a:cubicBezTo>
                    <a:pt x="217" y="34"/>
                    <a:pt x="222" y="6"/>
                    <a:pt x="215" y="3"/>
                  </a:cubicBezTo>
                  <a:cubicBezTo>
                    <a:pt x="207" y="0"/>
                    <a:pt x="186" y="51"/>
                    <a:pt x="186" y="51"/>
                  </a:cubicBezTo>
                  <a:cubicBezTo>
                    <a:pt x="186" y="51"/>
                    <a:pt x="172" y="53"/>
                    <a:pt x="166" y="61"/>
                  </a:cubicBezTo>
                  <a:cubicBezTo>
                    <a:pt x="161" y="70"/>
                    <a:pt x="131" y="102"/>
                    <a:pt x="131" y="102"/>
                  </a:cubicBezTo>
                  <a:cubicBezTo>
                    <a:pt x="131" y="102"/>
                    <a:pt x="131" y="130"/>
                    <a:pt x="122" y="131"/>
                  </a:cubicBezTo>
                  <a:cubicBezTo>
                    <a:pt x="113" y="132"/>
                    <a:pt x="69" y="127"/>
                    <a:pt x="62" y="127"/>
                  </a:cubicBezTo>
                  <a:cubicBezTo>
                    <a:pt x="56" y="127"/>
                    <a:pt x="25" y="144"/>
                    <a:pt x="16" y="140"/>
                  </a:cubicBezTo>
                  <a:cubicBezTo>
                    <a:pt x="11" y="138"/>
                    <a:pt x="5" y="132"/>
                    <a:pt x="1" y="127"/>
                  </a:cubicBezTo>
                  <a:cubicBezTo>
                    <a:pt x="0" y="132"/>
                    <a:pt x="0" y="140"/>
                    <a:pt x="5" y="145"/>
                  </a:cubicBezTo>
                  <a:cubicBezTo>
                    <a:pt x="12" y="152"/>
                    <a:pt x="49" y="200"/>
                    <a:pt x="52" y="200"/>
                  </a:cubicBezTo>
                  <a:cubicBezTo>
                    <a:pt x="54" y="200"/>
                    <a:pt x="143" y="211"/>
                    <a:pt x="177" y="215"/>
                  </a:cubicBezTo>
                  <a:cubicBezTo>
                    <a:pt x="173" y="207"/>
                    <a:pt x="168" y="196"/>
                    <a:pt x="168" y="192"/>
                  </a:cubicBezTo>
                  <a:cubicBezTo>
                    <a:pt x="168" y="186"/>
                    <a:pt x="181" y="163"/>
                    <a:pt x="181" y="163"/>
                  </a:cubicBezTo>
                  <a:cubicBezTo>
                    <a:pt x="181" y="163"/>
                    <a:pt x="187" y="143"/>
                    <a:pt x="189" y="136"/>
                  </a:cubicBezTo>
                  <a:cubicBezTo>
                    <a:pt x="191" y="129"/>
                    <a:pt x="197" y="137"/>
                    <a:pt x="201" y="135"/>
                  </a:cubicBezTo>
                  <a:cubicBezTo>
                    <a:pt x="205" y="133"/>
                    <a:pt x="195" y="122"/>
                    <a:pt x="191" y="118"/>
                  </a:cubicBezTo>
                  <a:cubicBezTo>
                    <a:pt x="187" y="114"/>
                    <a:pt x="194" y="84"/>
                    <a:pt x="198" y="8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2" name="Freeform 172">
              <a:extLst>
                <a:ext uri="{FF2B5EF4-FFF2-40B4-BE49-F238E27FC236}">
                  <a16:creationId xmlns:a16="http://schemas.microsoft.com/office/drawing/2014/main" id="{C1F61044-A787-A67F-F260-6072DAF2C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7792" y="3338071"/>
              <a:ext cx="207309" cy="253038"/>
            </a:xfrm>
            <a:custGeom>
              <a:avLst/>
              <a:gdLst>
                <a:gd name="T0" fmla="*/ 9 w 364"/>
                <a:gd name="T1" fmla="*/ 19 h 445"/>
                <a:gd name="T2" fmla="*/ 12 w 364"/>
                <a:gd name="T3" fmla="*/ 19 h 445"/>
                <a:gd name="T4" fmla="*/ 12 w 364"/>
                <a:gd name="T5" fmla="*/ 17 h 445"/>
                <a:gd name="T6" fmla="*/ 14 w 364"/>
                <a:gd name="T7" fmla="*/ 16 h 445"/>
                <a:gd name="T8" fmla="*/ 15 w 364"/>
                <a:gd name="T9" fmla="*/ 13 h 445"/>
                <a:gd name="T10" fmla="*/ 16 w 364"/>
                <a:gd name="T11" fmla="*/ 13 h 445"/>
                <a:gd name="T12" fmla="*/ 16 w 364"/>
                <a:gd name="T13" fmla="*/ 11 h 445"/>
                <a:gd name="T14" fmla="*/ 19 w 364"/>
                <a:gd name="T15" fmla="*/ 10 h 445"/>
                <a:gd name="T16" fmla="*/ 19 w 364"/>
                <a:gd name="T17" fmla="*/ 7 h 445"/>
                <a:gd name="T18" fmla="*/ 18 w 364"/>
                <a:gd name="T19" fmla="*/ 7 h 445"/>
                <a:gd name="T20" fmla="*/ 16 w 364"/>
                <a:gd name="T21" fmla="*/ 4 h 445"/>
                <a:gd name="T22" fmla="*/ 12 w 364"/>
                <a:gd name="T23" fmla="*/ 3 h 445"/>
                <a:gd name="T24" fmla="*/ 10 w 364"/>
                <a:gd name="T25" fmla="*/ 1 h 445"/>
                <a:gd name="T26" fmla="*/ 10 w 364"/>
                <a:gd name="T27" fmla="*/ 0 h 445"/>
                <a:gd name="T28" fmla="*/ 9 w 364"/>
                <a:gd name="T29" fmla="*/ 1 h 445"/>
                <a:gd name="T30" fmla="*/ 8 w 364"/>
                <a:gd name="T31" fmla="*/ 0 h 445"/>
                <a:gd name="T32" fmla="*/ 8 w 364"/>
                <a:gd name="T33" fmla="*/ 2 h 445"/>
                <a:gd name="T34" fmla="*/ 8 w 364"/>
                <a:gd name="T35" fmla="*/ 3 h 445"/>
                <a:gd name="T36" fmla="*/ 8 w 364"/>
                <a:gd name="T37" fmla="*/ 3 h 445"/>
                <a:gd name="T38" fmla="*/ 7 w 364"/>
                <a:gd name="T39" fmla="*/ 4 h 445"/>
                <a:gd name="T40" fmla="*/ 7 w 364"/>
                <a:gd name="T41" fmla="*/ 6 h 445"/>
                <a:gd name="T42" fmla="*/ 7 w 364"/>
                <a:gd name="T43" fmla="*/ 7 h 445"/>
                <a:gd name="T44" fmla="*/ 8 w 364"/>
                <a:gd name="T45" fmla="*/ 8 h 445"/>
                <a:gd name="T46" fmla="*/ 7 w 364"/>
                <a:gd name="T47" fmla="*/ 14 h 445"/>
                <a:gd name="T48" fmla="*/ 0 w 364"/>
                <a:gd name="T49" fmla="*/ 17 h 445"/>
                <a:gd name="T50" fmla="*/ 3 w 364"/>
                <a:gd name="T51" fmla="*/ 23 h 445"/>
                <a:gd name="T52" fmla="*/ 9 w 364"/>
                <a:gd name="T53" fmla="*/ 21 h 445"/>
                <a:gd name="T54" fmla="*/ 9 w 364"/>
                <a:gd name="T55" fmla="*/ 19 h 44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64"/>
                <a:gd name="T85" fmla="*/ 0 h 445"/>
                <a:gd name="T86" fmla="*/ 364 w 364"/>
                <a:gd name="T87" fmla="*/ 445 h 44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64" h="445">
                  <a:moveTo>
                    <a:pt x="169" y="375"/>
                  </a:moveTo>
                  <a:cubicBezTo>
                    <a:pt x="169" y="375"/>
                    <a:pt x="211" y="369"/>
                    <a:pt x="220" y="358"/>
                  </a:cubicBezTo>
                  <a:cubicBezTo>
                    <a:pt x="228" y="348"/>
                    <a:pt x="228" y="330"/>
                    <a:pt x="228" y="330"/>
                  </a:cubicBezTo>
                  <a:cubicBezTo>
                    <a:pt x="228" y="330"/>
                    <a:pt x="260" y="319"/>
                    <a:pt x="269" y="304"/>
                  </a:cubicBezTo>
                  <a:cubicBezTo>
                    <a:pt x="279" y="288"/>
                    <a:pt x="274" y="250"/>
                    <a:pt x="283" y="249"/>
                  </a:cubicBezTo>
                  <a:cubicBezTo>
                    <a:pt x="292" y="248"/>
                    <a:pt x="302" y="260"/>
                    <a:pt x="312" y="249"/>
                  </a:cubicBezTo>
                  <a:cubicBezTo>
                    <a:pt x="323" y="238"/>
                    <a:pt x="318" y="218"/>
                    <a:pt x="318" y="218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5" y="184"/>
                    <a:pt x="364" y="144"/>
                    <a:pt x="359" y="134"/>
                  </a:cubicBezTo>
                  <a:cubicBezTo>
                    <a:pt x="355" y="124"/>
                    <a:pt x="339" y="127"/>
                    <a:pt x="339" y="127"/>
                  </a:cubicBezTo>
                  <a:cubicBezTo>
                    <a:pt x="339" y="127"/>
                    <a:pt x="317" y="87"/>
                    <a:pt x="302" y="74"/>
                  </a:cubicBezTo>
                  <a:cubicBezTo>
                    <a:pt x="287" y="61"/>
                    <a:pt x="237" y="52"/>
                    <a:pt x="237" y="52"/>
                  </a:cubicBezTo>
                  <a:cubicBezTo>
                    <a:pt x="237" y="52"/>
                    <a:pt x="194" y="38"/>
                    <a:pt x="191" y="23"/>
                  </a:cubicBezTo>
                  <a:cubicBezTo>
                    <a:pt x="190" y="18"/>
                    <a:pt x="187" y="13"/>
                    <a:pt x="184" y="7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2" y="0"/>
                    <a:pt x="158" y="0"/>
                  </a:cubicBezTo>
                  <a:cubicBezTo>
                    <a:pt x="154" y="0"/>
                    <a:pt x="147" y="30"/>
                    <a:pt x="151" y="34"/>
                  </a:cubicBezTo>
                  <a:cubicBezTo>
                    <a:pt x="155" y="38"/>
                    <a:pt x="165" y="49"/>
                    <a:pt x="161" y="51"/>
                  </a:cubicBezTo>
                  <a:cubicBezTo>
                    <a:pt x="157" y="53"/>
                    <a:pt x="151" y="45"/>
                    <a:pt x="149" y="52"/>
                  </a:cubicBezTo>
                  <a:cubicBezTo>
                    <a:pt x="147" y="59"/>
                    <a:pt x="141" y="79"/>
                    <a:pt x="141" y="79"/>
                  </a:cubicBezTo>
                  <a:cubicBezTo>
                    <a:pt x="141" y="79"/>
                    <a:pt x="128" y="102"/>
                    <a:pt x="128" y="108"/>
                  </a:cubicBezTo>
                  <a:cubicBezTo>
                    <a:pt x="128" y="114"/>
                    <a:pt x="141" y="138"/>
                    <a:pt x="141" y="142"/>
                  </a:cubicBezTo>
                  <a:cubicBezTo>
                    <a:pt x="141" y="146"/>
                    <a:pt x="159" y="161"/>
                    <a:pt x="159" y="161"/>
                  </a:cubicBezTo>
                  <a:cubicBezTo>
                    <a:pt x="133" y="276"/>
                    <a:pt x="133" y="276"/>
                    <a:pt x="133" y="276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4" y="445"/>
                    <a:pt x="54" y="445"/>
                    <a:pt x="54" y="445"/>
                  </a:cubicBezTo>
                  <a:cubicBezTo>
                    <a:pt x="81" y="434"/>
                    <a:pt x="159" y="415"/>
                    <a:pt x="162" y="410"/>
                  </a:cubicBezTo>
                  <a:cubicBezTo>
                    <a:pt x="167" y="404"/>
                    <a:pt x="169" y="375"/>
                    <a:pt x="169" y="37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3" name="Freeform 173">
              <a:extLst>
                <a:ext uri="{FF2B5EF4-FFF2-40B4-BE49-F238E27FC236}">
                  <a16:creationId xmlns:a16="http://schemas.microsoft.com/office/drawing/2014/main" id="{17CC5B36-2F18-C0A7-6DD2-7B9C57A61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111" y="3299962"/>
              <a:ext cx="27438" cy="56401"/>
            </a:xfrm>
            <a:custGeom>
              <a:avLst/>
              <a:gdLst>
                <a:gd name="T0" fmla="*/ 1 w 49"/>
                <a:gd name="T1" fmla="*/ 5 h 98"/>
                <a:gd name="T2" fmla="*/ 1 w 49"/>
                <a:gd name="T3" fmla="*/ 5 h 98"/>
                <a:gd name="T4" fmla="*/ 1 w 49"/>
                <a:gd name="T5" fmla="*/ 5 h 98"/>
                <a:gd name="T6" fmla="*/ 1 w 49"/>
                <a:gd name="T7" fmla="*/ 5 h 98"/>
                <a:gd name="T8" fmla="*/ 2 w 49"/>
                <a:gd name="T9" fmla="*/ 2 h 98"/>
                <a:gd name="T10" fmla="*/ 1 w 49"/>
                <a:gd name="T11" fmla="*/ 0 h 98"/>
                <a:gd name="T12" fmla="*/ 0 w 49"/>
                <a:gd name="T13" fmla="*/ 3 h 98"/>
                <a:gd name="T14" fmla="*/ 0 w 49"/>
                <a:gd name="T15" fmla="*/ 5 h 98"/>
                <a:gd name="T16" fmla="*/ 0 w 49"/>
                <a:gd name="T17" fmla="*/ 5 h 98"/>
                <a:gd name="T18" fmla="*/ 0 w 49"/>
                <a:gd name="T19" fmla="*/ 5 h 98"/>
                <a:gd name="T20" fmla="*/ 1 w 49"/>
                <a:gd name="T21" fmla="*/ 5 h 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98"/>
                <a:gd name="T35" fmla="*/ 49 w 49"/>
                <a:gd name="T36" fmla="*/ 98 h 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4" name="Freeform 174">
              <a:extLst>
                <a:ext uri="{FF2B5EF4-FFF2-40B4-BE49-F238E27FC236}">
                  <a16:creationId xmlns:a16="http://schemas.microsoft.com/office/drawing/2014/main" id="{DDBA4B6C-BB57-ADBE-3F8F-A82122D52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235" y="2961562"/>
              <a:ext cx="259136" cy="251515"/>
            </a:xfrm>
            <a:custGeom>
              <a:avLst/>
              <a:gdLst>
                <a:gd name="T0" fmla="*/ 24 w 454"/>
                <a:gd name="T1" fmla="*/ 20 h 442"/>
                <a:gd name="T2" fmla="*/ 23 w 454"/>
                <a:gd name="T3" fmla="*/ 19 h 442"/>
                <a:gd name="T4" fmla="*/ 22 w 454"/>
                <a:gd name="T5" fmla="*/ 18 h 442"/>
                <a:gd name="T6" fmla="*/ 22 w 454"/>
                <a:gd name="T7" fmla="*/ 18 h 442"/>
                <a:gd name="T8" fmla="*/ 22 w 454"/>
                <a:gd name="T9" fmla="*/ 15 h 442"/>
                <a:gd name="T10" fmla="*/ 21 w 454"/>
                <a:gd name="T11" fmla="*/ 14 h 442"/>
                <a:gd name="T12" fmla="*/ 20 w 454"/>
                <a:gd name="T13" fmla="*/ 13 h 442"/>
                <a:gd name="T14" fmla="*/ 18 w 454"/>
                <a:gd name="T15" fmla="*/ 13 h 442"/>
                <a:gd name="T16" fmla="*/ 18 w 454"/>
                <a:gd name="T17" fmla="*/ 12 h 442"/>
                <a:gd name="T18" fmla="*/ 18 w 454"/>
                <a:gd name="T19" fmla="*/ 11 h 442"/>
                <a:gd name="T20" fmla="*/ 15 w 454"/>
                <a:gd name="T21" fmla="*/ 9 h 442"/>
                <a:gd name="T22" fmla="*/ 16 w 454"/>
                <a:gd name="T23" fmla="*/ 9 h 442"/>
                <a:gd name="T24" fmla="*/ 15 w 454"/>
                <a:gd name="T25" fmla="*/ 8 h 442"/>
                <a:gd name="T26" fmla="*/ 16 w 454"/>
                <a:gd name="T27" fmla="*/ 8 h 442"/>
                <a:gd name="T28" fmla="*/ 16 w 454"/>
                <a:gd name="T29" fmla="*/ 7 h 442"/>
                <a:gd name="T30" fmla="*/ 16 w 454"/>
                <a:gd name="T31" fmla="*/ 7 h 442"/>
                <a:gd name="T32" fmla="*/ 17 w 454"/>
                <a:gd name="T33" fmla="*/ 6 h 442"/>
                <a:gd name="T34" fmla="*/ 16 w 454"/>
                <a:gd name="T35" fmla="*/ 5 h 442"/>
                <a:gd name="T36" fmla="*/ 17 w 454"/>
                <a:gd name="T37" fmla="*/ 4 h 442"/>
                <a:gd name="T38" fmla="*/ 16 w 454"/>
                <a:gd name="T39" fmla="*/ 4 h 442"/>
                <a:gd name="T40" fmla="*/ 15 w 454"/>
                <a:gd name="T41" fmla="*/ 4 h 442"/>
                <a:gd name="T42" fmla="*/ 15 w 454"/>
                <a:gd name="T43" fmla="*/ 4 h 442"/>
                <a:gd name="T44" fmla="*/ 14 w 454"/>
                <a:gd name="T45" fmla="*/ 3 h 442"/>
                <a:gd name="T46" fmla="*/ 13 w 454"/>
                <a:gd name="T47" fmla="*/ 0 h 442"/>
                <a:gd name="T48" fmla="*/ 12 w 454"/>
                <a:gd name="T49" fmla="*/ 1 h 442"/>
                <a:gd name="T50" fmla="*/ 11 w 454"/>
                <a:gd name="T51" fmla="*/ 0 h 442"/>
                <a:gd name="T52" fmla="*/ 10 w 454"/>
                <a:gd name="T53" fmla="*/ 0 h 442"/>
                <a:gd name="T54" fmla="*/ 9 w 454"/>
                <a:gd name="T55" fmla="*/ 0 h 442"/>
                <a:gd name="T56" fmla="*/ 8 w 454"/>
                <a:gd name="T57" fmla="*/ 0 h 442"/>
                <a:gd name="T58" fmla="*/ 7 w 454"/>
                <a:gd name="T59" fmla="*/ 1 h 442"/>
                <a:gd name="T60" fmla="*/ 7 w 454"/>
                <a:gd name="T61" fmla="*/ 1 h 442"/>
                <a:gd name="T62" fmla="*/ 6 w 454"/>
                <a:gd name="T63" fmla="*/ 2 h 442"/>
                <a:gd name="T64" fmla="*/ 5 w 454"/>
                <a:gd name="T65" fmla="*/ 3 h 442"/>
                <a:gd name="T66" fmla="*/ 6 w 454"/>
                <a:gd name="T67" fmla="*/ 4 h 442"/>
                <a:gd name="T68" fmla="*/ 6 w 454"/>
                <a:gd name="T69" fmla="*/ 6 h 442"/>
                <a:gd name="T70" fmla="*/ 5 w 454"/>
                <a:gd name="T71" fmla="*/ 7 h 442"/>
                <a:gd name="T72" fmla="*/ 6 w 454"/>
                <a:gd name="T73" fmla="*/ 8 h 442"/>
                <a:gd name="T74" fmla="*/ 2 w 454"/>
                <a:gd name="T75" fmla="*/ 9 h 442"/>
                <a:gd name="T76" fmla="*/ 0 w 454"/>
                <a:gd name="T77" fmla="*/ 11 h 442"/>
                <a:gd name="T78" fmla="*/ 0 w 454"/>
                <a:gd name="T79" fmla="*/ 11 h 442"/>
                <a:gd name="T80" fmla="*/ 0 w 454"/>
                <a:gd name="T81" fmla="*/ 13 h 442"/>
                <a:gd name="T82" fmla="*/ 0 w 454"/>
                <a:gd name="T83" fmla="*/ 13 h 442"/>
                <a:gd name="T84" fmla="*/ 1 w 454"/>
                <a:gd name="T85" fmla="*/ 14 h 442"/>
                <a:gd name="T86" fmla="*/ 1 w 454"/>
                <a:gd name="T87" fmla="*/ 15 h 442"/>
                <a:gd name="T88" fmla="*/ 2 w 454"/>
                <a:gd name="T89" fmla="*/ 15 h 442"/>
                <a:gd name="T90" fmla="*/ 4 w 454"/>
                <a:gd name="T91" fmla="*/ 15 h 442"/>
                <a:gd name="T92" fmla="*/ 7 w 454"/>
                <a:gd name="T93" fmla="*/ 17 h 442"/>
                <a:gd name="T94" fmla="*/ 8 w 454"/>
                <a:gd name="T95" fmla="*/ 18 h 442"/>
                <a:gd name="T96" fmla="*/ 15 w 454"/>
                <a:gd name="T97" fmla="*/ 23 h 442"/>
                <a:gd name="T98" fmla="*/ 20 w 454"/>
                <a:gd name="T99" fmla="*/ 23 h 442"/>
                <a:gd name="T100" fmla="*/ 20 w 454"/>
                <a:gd name="T101" fmla="*/ 23 h 442"/>
                <a:gd name="T102" fmla="*/ 20 w 454"/>
                <a:gd name="T103" fmla="*/ 22 h 442"/>
                <a:gd name="T104" fmla="*/ 21 w 454"/>
                <a:gd name="T105" fmla="*/ 21 h 442"/>
                <a:gd name="T106" fmla="*/ 22 w 454"/>
                <a:gd name="T107" fmla="*/ 21 h 442"/>
                <a:gd name="T108" fmla="*/ 22 w 454"/>
                <a:gd name="T109" fmla="*/ 21 h 442"/>
                <a:gd name="T110" fmla="*/ 23 w 454"/>
                <a:gd name="T111" fmla="*/ 21 h 442"/>
                <a:gd name="T112" fmla="*/ 24 w 454"/>
                <a:gd name="T113" fmla="*/ 21 h 442"/>
                <a:gd name="T114" fmla="*/ 24 w 454"/>
                <a:gd name="T115" fmla="*/ 20 h 442"/>
                <a:gd name="T116" fmla="*/ 24 w 454"/>
                <a:gd name="T117" fmla="*/ 20 h 44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4"/>
                <a:gd name="T178" fmla="*/ 0 h 442"/>
                <a:gd name="T179" fmla="*/ 454 w 454"/>
                <a:gd name="T180" fmla="*/ 442 h 44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4" h="442">
                  <a:moveTo>
                    <a:pt x="448" y="378"/>
                  </a:moveTo>
                  <a:cubicBezTo>
                    <a:pt x="447" y="369"/>
                    <a:pt x="432" y="365"/>
                    <a:pt x="432" y="365"/>
                  </a:cubicBezTo>
                  <a:cubicBezTo>
                    <a:pt x="428" y="346"/>
                    <a:pt x="428" y="346"/>
                    <a:pt x="428" y="346"/>
                  </a:cubicBezTo>
                  <a:cubicBezTo>
                    <a:pt x="428" y="346"/>
                    <a:pt x="423" y="346"/>
                    <a:pt x="415" y="340"/>
                  </a:cubicBezTo>
                  <a:cubicBezTo>
                    <a:pt x="407" y="334"/>
                    <a:pt x="415" y="295"/>
                    <a:pt x="415" y="295"/>
                  </a:cubicBezTo>
                  <a:cubicBezTo>
                    <a:pt x="393" y="270"/>
                    <a:pt x="393" y="270"/>
                    <a:pt x="393" y="270"/>
                  </a:cubicBezTo>
                  <a:cubicBezTo>
                    <a:pt x="393" y="270"/>
                    <a:pt x="391" y="258"/>
                    <a:pt x="380" y="258"/>
                  </a:cubicBezTo>
                  <a:cubicBezTo>
                    <a:pt x="369" y="258"/>
                    <a:pt x="348" y="240"/>
                    <a:pt x="348" y="240"/>
                  </a:cubicBezTo>
                  <a:cubicBezTo>
                    <a:pt x="335" y="239"/>
                    <a:pt x="335" y="239"/>
                    <a:pt x="335" y="239"/>
                  </a:cubicBezTo>
                  <a:cubicBezTo>
                    <a:pt x="335" y="212"/>
                    <a:pt x="335" y="212"/>
                    <a:pt x="335" y="212"/>
                  </a:cubicBezTo>
                  <a:cubicBezTo>
                    <a:pt x="335" y="212"/>
                    <a:pt x="293" y="191"/>
                    <a:pt x="291" y="182"/>
                  </a:cubicBezTo>
                  <a:cubicBezTo>
                    <a:pt x="289" y="173"/>
                    <a:pt x="299" y="168"/>
                    <a:pt x="299" y="168"/>
                  </a:cubicBezTo>
                  <a:cubicBezTo>
                    <a:pt x="299" y="168"/>
                    <a:pt x="290" y="161"/>
                    <a:pt x="291" y="154"/>
                  </a:cubicBezTo>
                  <a:cubicBezTo>
                    <a:pt x="292" y="147"/>
                    <a:pt x="305" y="148"/>
                    <a:pt x="305" y="148"/>
                  </a:cubicBezTo>
                  <a:cubicBezTo>
                    <a:pt x="304" y="135"/>
                    <a:pt x="304" y="135"/>
                    <a:pt x="304" y="135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5" y="126"/>
                    <a:pt x="315" y="126"/>
                    <a:pt x="318" y="118"/>
                  </a:cubicBezTo>
                  <a:cubicBezTo>
                    <a:pt x="321" y="110"/>
                    <a:pt x="307" y="101"/>
                    <a:pt x="307" y="97"/>
                  </a:cubicBezTo>
                  <a:cubicBezTo>
                    <a:pt x="307" y="93"/>
                    <a:pt x="323" y="84"/>
                    <a:pt x="318" y="80"/>
                  </a:cubicBezTo>
                  <a:cubicBezTo>
                    <a:pt x="313" y="76"/>
                    <a:pt x="299" y="85"/>
                    <a:pt x="299" y="85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74" y="71"/>
                    <a:pt x="274" y="71"/>
                    <a:pt x="274" y="71"/>
                  </a:cubicBezTo>
                  <a:cubicBezTo>
                    <a:pt x="274" y="71"/>
                    <a:pt x="277" y="61"/>
                    <a:pt x="265" y="50"/>
                  </a:cubicBezTo>
                  <a:cubicBezTo>
                    <a:pt x="256" y="42"/>
                    <a:pt x="251" y="19"/>
                    <a:pt x="249" y="8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222" y="19"/>
                    <a:pt x="224" y="2"/>
                    <a:pt x="210" y="1"/>
                  </a:cubicBezTo>
                  <a:cubicBezTo>
                    <a:pt x="196" y="0"/>
                    <a:pt x="204" y="8"/>
                    <a:pt x="196" y="10"/>
                  </a:cubicBezTo>
                  <a:cubicBezTo>
                    <a:pt x="188" y="12"/>
                    <a:pt x="179" y="1"/>
                    <a:pt x="179" y="1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3" y="1"/>
                    <a:pt x="154" y="14"/>
                    <a:pt x="142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38" y="24"/>
                    <a:pt x="133" y="33"/>
                    <a:pt x="124" y="37"/>
                  </a:cubicBezTo>
                  <a:cubicBezTo>
                    <a:pt x="108" y="44"/>
                    <a:pt x="96" y="39"/>
                    <a:pt x="92" y="53"/>
                  </a:cubicBezTo>
                  <a:cubicBezTo>
                    <a:pt x="88" y="67"/>
                    <a:pt x="103" y="75"/>
                    <a:pt x="103" y="75"/>
                  </a:cubicBezTo>
                  <a:cubicBezTo>
                    <a:pt x="103" y="75"/>
                    <a:pt x="111" y="105"/>
                    <a:pt x="107" y="110"/>
                  </a:cubicBezTo>
                  <a:cubicBezTo>
                    <a:pt x="103" y="115"/>
                    <a:pt x="97" y="122"/>
                    <a:pt x="98" y="129"/>
                  </a:cubicBezTo>
                  <a:cubicBezTo>
                    <a:pt x="99" y="136"/>
                    <a:pt x="116" y="145"/>
                    <a:pt x="104" y="154"/>
                  </a:cubicBezTo>
                  <a:cubicBezTo>
                    <a:pt x="92" y="163"/>
                    <a:pt x="43" y="181"/>
                    <a:pt x="43" y="18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12" y="260"/>
                    <a:pt x="12" y="260"/>
                    <a:pt x="12" y="260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35" y="288"/>
                    <a:pt x="44" y="287"/>
                  </a:cubicBezTo>
                  <a:cubicBezTo>
                    <a:pt x="53" y="286"/>
                    <a:pt x="78" y="287"/>
                    <a:pt x="78" y="287"/>
                  </a:cubicBezTo>
                  <a:cubicBezTo>
                    <a:pt x="78" y="287"/>
                    <a:pt x="115" y="315"/>
                    <a:pt x="127" y="321"/>
                  </a:cubicBezTo>
                  <a:cubicBezTo>
                    <a:pt x="139" y="327"/>
                    <a:pt x="160" y="341"/>
                    <a:pt x="160" y="341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88" y="438"/>
                    <a:pt x="339" y="439"/>
                    <a:pt x="376" y="442"/>
                  </a:cubicBezTo>
                  <a:cubicBezTo>
                    <a:pt x="376" y="442"/>
                    <a:pt x="376" y="442"/>
                    <a:pt x="376" y="442"/>
                  </a:cubicBezTo>
                  <a:cubicBezTo>
                    <a:pt x="379" y="438"/>
                    <a:pt x="386" y="431"/>
                    <a:pt x="387" y="422"/>
                  </a:cubicBezTo>
                  <a:cubicBezTo>
                    <a:pt x="389" y="410"/>
                    <a:pt x="396" y="395"/>
                    <a:pt x="396" y="395"/>
                  </a:cubicBezTo>
                  <a:cubicBezTo>
                    <a:pt x="411" y="393"/>
                    <a:pt x="411" y="393"/>
                    <a:pt x="411" y="393"/>
                  </a:cubicBezTo>
                  <a:cubicBezTo>
                    <a:pt x="431" y="393"/>
                    <a:pt x="431" y="393"/>
                    <a:pt x="431" y="393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51" y="392"/>
                    <a:pt x="451" y="392"/>
                    <a:pt x="451" y="392"/>
                  </a:cubicBezTo>
                  <a:cubicBezTo>
                    <a:pt x="454" y="387"/>
                    <a:pt x="454" y="387"/>
                    <a:pt x="454" y="387"/>
                  </a:cubicBezTo>
                  <a:cubicBezTo>
                    <a:pt x="451" y="384"/>
                    <a:pt x="448" y="381"/>
                    <a:pt x="448" y="378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5" name="Freeform 175">
              <a:extLst>
                <a:ext uri="{FF2B5EF4-FFF2-40B4-BE49-F238E27FC236}">
                  <a16:creationId xmlns:a16="http://schemas.microsoft.com/office/drawing/2014/main" id="{C4EB99EF-96E0-E921-34AB-4F36D256D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41" y="3185638"/>
              <a:ext cx="51827" cy="45730"/>
            </a:xfrm>
            <a:custGeom>
              <a:avLst/>
              <a:gdLst>
                <a:gd name="T0" fmla="*/ 2 w 89"/>
                <a:gd name="T1" fmla="*/ 0 h 81"/>
                <a:gd name="T2" fmla="*/ 1 w 89"/>
                <a:gd name="T3" fmla="*/ 0 h 81"/>
                <a:gd name="T4" fmla="*/ 1 w 89"/>
                <a:gd name="T5" fmla="*/ 1 h 81"/>
                <a:gd name="T6" fmla="*/ 0 w 89"/>
                <a:gd name="T7" fmla="*/ 3 h 81"/>
                <a:gd name="T8" fmla="*/ 2 w 89"/>
                <a:gd name="T9" fmla="*/ 3 h 81"/>
                <a:gd name="T10" fmla="*/ 3 w 89"/>
                <a:gd name="T11" fmla="*/ 4 h 81"/>
                <a:gd name="T12" fmla="*/ 5 w 89"/>
                <a:gd name="T13" fmla="*/ 4 h 81"/>
                <a:gd name="T14" fmla="*/ 3 w 89"/>
                <a:gd name="T15" fmla="*/ 2 h 81"/>
                <a:gd name="T16" fmla="*/ 3 w 89"/>
                <a:gd name="T17" fmla="*/ 2 h 81"/>
                <a:gd name="T18" fmla="*/ 3 w 89"/>
                <a:gd name="T19" fmla="*/ 2 h 81"/>
                <a:gd name="T20" fmla="*/ 3 w 89"/>
                <a:gd name="T21" fmla="*/ 1 h 81"/>
                <a:gd name="T22" fmla="*/ 4 w 89"/>
                <a:gd name="T23" fmla="*/ 1 h 81"/>
                <a:gd name="T24" fmla="*/ 4 w 89"/>
                <a:gd name="T25" fmla="*/ 1 h 81"/>
                <a:gd name="T26" fmla="*/ 4 w 89"/>
                <a:gd name="T27" fmla="*/ 0 h 81"/>
                <a:gd name="T28" fmla="*/ 3 w 89"/>
                <a:gd name="T29" fmla="*/ 1 h 81"/>
                <a:gd name="T30" fmla="*/ 3 w 89"/>
                <a:gd name="T31" fmla="*/ 0 h 81"/>
                <a:gd name="T32" fmla="*/ 2 w 89"/>
                <a:gd name="T33" fmla="*/ 0 h 8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9"/>
                <a:gd name="T52" fmla="*/ 0 h 81"/>
                <a:gd name="T53" fmla="*/ 89 w 89"/>
                <a:gd name="T54" fmla="*/ 81 h 8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9" h="81">
                  <a:moveTo>
                    <a:pt x="35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3" y="17"/>
                    <a:pt x="11" y="29"/>
                  </a:cubicBezTo>
                  <a:cubicBezTo>
                    <a:pt x="10" y="38"/>
                    <a:pt x="3" y="45"/>
                    <a:pt x="0" y="49"/>
                  </a:cubicBezTo>
                  <a:cubicBezTo>
                    <a:pt x="21" y="50"/>
                    <a:pt x="38" y="52"/>
                    <a:pt x="40" y="55"/>
                  </a:cubicBezTo>
                  <a:cubicBezTo>
                    <a:pt x="46" y="62"/>
                    <a:pt x="36" y="80"/>
                    <a:pt x="50" y="81"/>
                  </a:cubicBezTo>
                  <a:cubicBezTo>
                    <a:pt x="58" y="81"/>
                    <a:pt x="76" y="81"/>
                    <a:pt x="89" y="80"/>
                  </a:cubicBezTo>
                  <a:cubicBezTo>
                    <a:pt x="79" y="72"/>
                    <a:pt x="63" y="58"/>
                    <a:pt x="64" y="47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69" y="25"/>
                    <a:pt x="73" y="25"/>
                  </a:cubicBezTo>
                  <a:cubicBezTo>
                    <a:pt x="77" y="25"/>
                    <a:pt x="77" y="16"/>
                    <a:pt x="77" y="16"/>
                  </a:cubicBezTo>
                  <a:cubicBezTo>
                    <a:pt x="77" y="16"/>
                    <a:pt x="77" y="8"/>
                    <a:pt x="68" y="8"/>
                  </a:cubicBezTo>
                  <a:cubicBezTo>
                    <a:pt x="59" y="8"/>
                    <a:pt x="59" y="13"/>
                    <a:pt x="59" y="13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6" name="Freeform 176">
              <a:extLst>
                <a:ext uri="{FF2B5EF4-FFF2-40B4-BE49-F238E27FC236}">
                  <a16:creationId xmlns:a16="http://schemas.microsoft.com/office/drawing/2014/main" id="{32235C25-E838-30A2-E4EF-2ABAF0BC7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678" y="3118568"/>
              <a:ext cx="567050" cy="484736"/>
            </a:xfrm>
            <a:custGeom>
              <a:avLst/>
              <a:gdLst>
                <a:gd name="T0" fmla="*/ 51 w 998"/>
                <a:gd name="T1" fmla="*/ 27 h 851"/>
                <a:gd name="T2" fmla="*/ 42 w 998"/>
                <a:gd name="T3" fmla="*/ 23 h 851"/>
                <a:gd name="T4" fmla="*/ 41 w 998"/>
                <a:gd name="T5" fmla="*/ 22 h 851"/>
                <a:gd name="T6" fmla="*/ 40 w 998"/>
                <a:gd name="T7" fmla="*/ 21 h 851"/>
                <a:gd name="T8" fmla="*/ 40 w 998"/>
                <a:gd name="T9" fmla="*/ 21 h 851"/>
                <a:gd name="T10" fmla="*/ 37 w 998"/>
                <a:gd name="T11" fmla="*/ 17 h 851"/>
                <a:gd name="T12" fmla="*/ 35 w 998"/>
                <a:gd name="T13" fmla="*/ 14 h 851"/>
                <a:gd name="T14" fmla="*/ 34 w 998"/>
                <a:gd name="T15" fmla="*/ 11 h 851"/>
                <a:gd name="T16" fmla="*/ 33 w 998"/>
                <a:gd name="T17" fmla="*/ 10 h 851"/>
                <a:gd name="T18" fmla="*/ 31 w 998"/>
                <a:gd name="T19" fmla="*/ 9 h 851"/>
                <a:gd name="T20" fmla="*/ 17 w 998"/>
                <a:gd name="T21" fmla="*/ 3 h 851"/>
                <a:gd name="T22" fmla="*/ 13 w 998"/>
                <a:gd name="T23" fmla="*/ 0 h 851"/>
                <a:gd name="T24" fmla="*/ 10 w 998"/>
                <a:gd name="T25" fmla="*/ 0 h 851"/>
                <a:gd name="T26" fmla="*/ 8 w 998"/>
                <a:gd name="T27" fmla="*/ 1 h 851"/>
                <a:gd name="T28" fmla="*/ 6 w 998"/>
                <a:gd name="T29" fmla="*/ 1 h 851"/>
                <a:gd name="T30" fmla="*/ 6 w 998"/>
                <a:gd name="T31" fmla="*/ 2 h 851"/>
                <a:gd name="T32" fmla="*/ 6 w 998"/>
                <a:gd name="T33" fmla="*/ 6 h 851"/>
                <a:gd name="T34" fmla="*/ 4 w 998"/>
                <a:gd name="T35" fmla="*/ 9 h 851"/>
                <a:gd name="T36" fmla="*/ 0 w 998"/>
                <a:gd name="T37" fmla="*/ 8 h 851"/>
                <a:gd name="T38" fmla="*/ 0 w 998"/>
                <a:gd name="T39" fmla="*/ 13 h 851"/>
                <a:gd name="T40" fmla="*/ 4 w 998"/>
                <a:gd name="T41" fmla="*/ 18 h 851"/>
                <a:gd name="T42" fmla="*/ 7 w 998"/>
                <a:gd name="T43" fmla="*/ 23 h 851"/>
                <a:gd name="T44" fmla="*/ 12 w 998"/>
                <a:gd name="T45" fmla="*/ 29 h 851"/>
                <a:gd name="T46" fmla="*/ 16 w 998"/>
                <a:gd name="T47" fmla="*/ 33 h 851"/>
                <a:gd name="T48" fmla="*/ 22 w 998"/>
                <a:gd name="T49" fmla="*/ 43 h 851"/>
                <a:gd name="T50" fmla="*/ 22 w 998"/>
                <a:gd name="T51" fmla="*/ 44 h 851"/>
                <a:gd name="T52" fmla="*/ 23 w 998"/>
                <a:gd name="T53" fmla="*/ 41 h 851"/>
                <a:gd name="T54" fmla="*/ 24 w 998"/>
                <a:gd name="T55" fmla="*/ 41 h 851"/>
                <a:gd name="T56" fmla="*/ 27 w 998"/>
                <a:gd name="T57" fmla="*/ 41 h 851"/>
                <a:gd name="T58" fmla="*/ 31 w 998"/>
                <a:gd name="T59" fmla="*/ 42 h 851"/>
                <a:gd name="T60" fmla="*/ 32 w 998"/>
                <a:gd name="T61" fmla="*/ 42 h 851"/>
                <a:gd name="T62" fmla="*/ 34 w 998"/>
                <a:gd name="T63" fmla="*/ 39 h 851"/>
                <a:gd name="T64" fmla="*/ 44 w 998"/>
                <a:gd name="T65" fmla="*/ 37 h 851"/>
                <a:gd name="T66" fmla="*/ 52 w 998"/>
                <a:gd name="T67" fmla="*/ 28 h 8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98"/>
                <a:gd name="T103" fmla="*/ 0 h 851"/>
                <a:gd name="T104" fmla="*/ 998 w 998"/>
                <a:gd name="T105" fmla="*/ 851 h 8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98" h="851">
                  <a:moveTo>
                    <a:pt x="980" y="527"/>
                  </a:moveTo>
                  <a:cubicBezTo>
                    <a:pt x="980" y="525"/>
                    <a:pt x="978" y="521"/>
                    <a:pt x="976" y="516"/>
                  </a:cubicBezTo>
                  <a:cubicBezTo>
                    <a:pt x="942" y="512"/>
                    <a:pt x="853" y="501"/>
                    <a:pt x="851" y="501"/>
                  </a:cubicBezTo>
                  <a:cubicBezTo>
                    <a:pt x="848" y="501"/>
                    <a:pt x="811" y="453"/>
                    <a:pt x="804" y="446"/>
                  </a:cubicBezTo>
                  <a:cubicBezTo>
                    <a:pt x="799" y="441"/>
                    <a:pt x="799" y="433"/>
                    <a:pt x="800" y="428"/>
                  </a:cubicBezTo>
                  <a:cubicBezTo>
                    <a:pt x="796" y="423"/>
                    <a:pt x="793" y="417"/>
                    <a:pt x="794" y="413"/>
                  </a:cubicBezTo>
                  <a:cubicBezTo>
                    <a:pt x="788" y="415"/>
                    <a:pt x="788" y="415"/>
                    <a:pt x="788" y="415"/>
                  </a:cubicBezTo>
                  <a:cubicBezTo>
                    <a:pt x="780" y="407"/>
                    <a:pt x="780" y="407"/>
                    <a:pt x="780" y="407"/>
                  </a:cubicBezTo>
                  <a:cubicBezTo>
                    <a:pt x="770" y="410"/>
                    <a:pt x="770" y="410"/>
                    <a:pt x="770" y="410"/>
                  </a:cubicBezTo>
                  <a:cubicBezTo>
                    <a:pt x="764" y="400"/>
                    <a:pt x="764" y="400"/>
                    <a:pt x="764" y="400"/>
                  </a:cubicBezTo>
                  <a:cubicBezTo>
                    <a:pt x="757" y="398"/>
                    <a:pt x="750" y="359"/>
                    <a:pt x="744" y="354"/>
                  </a:cubicBezTo>
                  <a:cubicBezTo>
                    <a:pt x="738" y="349"/>
                    <a:pt x="722" y="346"/>
                    <a:pt x="719" y="332"/>
                  </a:cubicBezTo>
                  <a:cubicBezTo>
                    <a:pt x="715" y="318"/>
                    <a:pt x="720" y="296"/>
                    <a:pt x="707" y="286"/>
                  </a:cubicBezTo>
                  <a:cubicBezTo>
                    <a:pt x="693" y="275"/>
                    <a:pt x="675" y="277"/>
                    <a:pt x="669" y="265"/>
                  </a:cubicBezTo>
                  <a:cubicBezTo>
                    <a:pt x="663" y="252"/>
                    <a:pt x="670" y="239"/>
                    <a:pt x="664" y="235"/>
                  </a:cubicBezTo>
                  <a:cubicBezTo>
                    <a:pt x="658" y="231"/>
                    <a:pt x="646" y="218"/>
                    <a:pt x="646" y="218"/>
                  </a:cubicBezTo>
                  <a:cubicBezTo>
                    <a:pt x="645" y="201"/>
                    <a:pt x="645" y="201"/>
                    <a:pt x="645" y="201"/>
                  </a:cubicBezTo>
                  <a:cubicBezTo>
                    <a:pt x="645" y="201"/>
                    <a:pt x="642" y="198"/>
                    <a:pt x="637" y="195"/>
                  </a:cubicBezTo>
                  <a:cubicBezTo>
                    <a:pt x="624" y="196"/>
                    <a:pt x="606" y="196"/>
                    <a:pt x="598" y="196"/>
                  </a:cubicBezTo>
                  <a:cubicBezTo>
                    <a:pt x="584" y="195"/>
                    <a:pt x="594" y="177"/>
                    <a:pt x="588" y="170"/>
                  </a:cubicBezTo>
                  <a:cubicBezTo>
                    <a:pt x="582" y="163"/>
                    <a:pt x="460" y="160"/>
                    <a:pt x="460" y="160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2" y="63"/>
                    <a:pt x="311" y="49"/>
                    <a:pt x="299" y="43"/>
                  </a:cubicBezTo>
                  <a:cubicBezTo>
                    <a:pt x="287" y="37"/>
                    <a:pt x="250" y="9"/>
                    <a:pt x="250" y="9"/>
                  </a:cubicBezTo>
                  <a:cubicBezTo>
                    <a:pt x="250" y="9"/>
                    <a:pt x="225" y="8"/>
                    <a:pt x="216" y="9"/>
                  </a:cubicBezTo>
                  <a:cubicBezTo>
                    <a:pt x="207" y="10"/>
                    <a:pt x="200" y="0"/>
                    <a:pt x="200" y="0"/>
                  </a:cubicBezTo>
                  <a:cubicBezTo>
                    <a:pt x="200" y="0"/>
                    <a:pt x="187" y="8"/>
                    <a:pt x="181" y="14"/>
                  </a:cubicBezTo>
                  <a:cubicBezTo>
                    <a:pt x="175" y="20"/>
                    <a:pt x="147" y="18"/>
                    <a:pt x="147" y="18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86" y="31"/>
                    <a:pt x="79" y="38"/>
                  </a:cubicBezTo>
                  <a:cubicBezTo>
                    <a:pt x="72" y="45"/>
                    <a:pt x="104" y="42"/>
                    <a:pt x="111" y="46"/>
                  </a:cubicBezTo>
                  <a:cubicBezTo>
                    <a:pt x="118" y="50"/>
                    <a:pt x="137" y="85"/>
                    <a:pt x="137" y="85"/>
                  </a:cubicBezTo>
                  <a:cubicBezTo>
                    <a:pt x="137" y="85"/>
                    <a:pt x="131" y="111"/>
                    <a:pt x="123" y="118"/>
                  </a:cubicBezTo>
                  <a:cubicBezTo>
                    <a:pt x="115" y="125"/>
                    <a:pt x="98" y="121"/>
                    <a:pt x="92" y="123"/>
                  </a:cubicBezTo>
                  <a:cubicBezTo>
                    <a:pt x="86" y="125"/>
                    <a:pt x="84" y="152"/>
                    <a:pt x="70" y="163"/>
                  </a:cubicBezTo>
                  <a:cubicBezTo>
                    <a:pt x="56" y="174"/>
                    <a:pt x="25" y="154"/>
                    <a:pt x="18" y="155"/>
                  </a:cubicBezTo>
                  <a:cubicBezTo>
                    <a:pt x="12" y="156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2" y="170"/>
                    <a:pt x="0" y="237"/>
                    <a:pt x="12" y="249"/>
                  </a:cubicBezTo>
                  <a:cubicBezTo>
                    <a:pt x="24" y="260"/>
                    <a:pt x="49" y="260"/>
                    <a:pt x="54" y="274"/>
                  </a:cubicBezTo>
                  <a:cubicBezTo>
                    <a:pt x="60" y="288"/>
                    <a:pt x="76" y="325"/>
                    <a:pt x="85" y="334"/>
                  </a:cubicBezTo>
                  <a:cubicBezTo>
                    <a:pt x="94" y="343"/>
                    <a:pt x="113" y="358"/>
                    <a:pt x="120" y="370"/>
                  </a:cubicBezTo>
                  <a:cubicBezTo>
                    <a:pt x="128" y="383"/>
                    <a:pt x="132" y="421"/>
                    <a:pt x="145" y="433"/>
                  </a:cubicBezTo>
                  <a:cubicBezTo>
                    <a:pt x="157" y="445"/>
                    <a:pt x="184" y="434"/>
                    <a:pt x="201" y="453"/>
                  </a:cubicBezTo>
                  <a:cubicBezTo>
                    <a:pt x="218" y="472"/>
                    <a:pt x="232" y="531"/>
                    <a:pt x="232" y="560"/>
                  </a:cubicBezTo>
                  <a:cubicBezTo>
                    <a:pt x="232" y="590"/>
                    <a:pt x="267" y="626"/>
                    <a:pt x="267" y="626"/>
                  </a:cubicBezTo>
                  <a:cubicBezTo>
                    <a:pt x="267" y="626"/>
                    <a:pt x="291" y="623"/>
                    <a:pt x="300" y="631"/>
                  </a:cubicBezTo>
                  <a:cubicBezTo>
                    <a:pt x="308" y="639"/>
                    <a:pt x="344" y="704"/>
                    <a:pt x="358" y="728"/>
                  </a:cubicBezTo>
                  <a:cubicBezTo>
                    <a:pt x="372" y="752"/>
                    <a:pt x="420" y="810"/>
                    <a:pt x="419" y="826"/>
                  </a:cubicBezTo>
                  <a:cubicBezTo>
                    <a:pt x="419" y="833"/>
                    <a:pt x="417" y="842"/>
                    <a:pt x="414" y="851"/>
                  </a:cubicBezTo>
                  <a:cubicBezTo>
                    <a:pt x="418" y="848"/>
                    <a:pt x="423" y="844"/>
                    <a:pt x="427" y="837"/>
                  </a:cubicBezTo>
                  <a:cubicBezTo>
                    <a:pt x="434" y="826"/>
                    <a:pt x="428" y="824"/>
                    <a:pt x="428" y="824"/>
                  </a:cubicBezTo>
                  <a:cubicBezTo>
                    <a:pt x="428" y="824"/>
                    <a:pt x="427" y="795"/>
                    <a:pt x="437" y="790"/>
                  </a:cubicBezTo>
                  <a:cubicBezTo>
                    <a:pt x="447" y="785"/>
                    <a:pt x="452" y="799"/>
                    <a:pt x="452" y="799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70" y="798"/>
                    <a:pt x="477" y="792"/>
                    <a:pt x="482" y="792"/>
                  </a:cubicBezTo>
                  <a:cubicBezTo>
                    <a:pt x="487" y="792"/>
                    <a:pt x="506" y="791"/>
                    <a:pt x="522" y="791"/>
                  </a:cubicBezTo>
                  <a:cubicBezTo>
                    <a:pt x="538" y="791"/>
                    <a:pt x="549" y="799"/>
                    <a:pt x="549" y="799"/>
                  </a:cubicBezTo>
                  <a:cubicBezTo>
                    <a:pt x="549" y="799"/>
                    <a:pt x="589" y="797"/>
                    <a:pt x="593" y="799"/>
                  </a:cubicBezTo>
                  <a:cubicBezTo>
                    <a:pt x="597" y="801"/>
                    <a:pt x="611" y="816"/>
                    <a:pt x="616" y="816"/>
                  </a:cubicBezTo>
                  <a:cubicBezTo>
                    <a:pt x="621" y="816"/>
                    <a:pt x="628" y="804"/>
                    <a:pt x="628" y="804"/>
                  </a:cubicBezTo>
                  <a:cubicBezTo>
                    <a:pt x="628" y="792"/>
                    <a:pt x="628" y="792"/>
                    <a:pt x="628" y="792"/>
                  </a:cubicBezTo>
                  <a:cubicBezTo>
                    <a:pt x="628" y="792"/>
                    <a:pt x="643" y="768"/>
                    <a:pt x="653" y="755"/>
                  </a:cubicBezTo>
                  <a:cubicBezTo>
                    <a:pt x="663" y="742"/>
                    <a:pt x="705" y="723"/>
                    <a:pt x="717" y="723"/>
                  </a:cubicBezTo>
                  <a:cubicBezTo>
                    <a:pt x="729" y="723"/>
                    <a:pt x="839" y="710"/>
                    <a:pt x="839" y="710"/>
                  </a:cubicBezTo>
                  <a:cubicBezTo>
                    <a:pt x="972" y="661"/>
                    <a:pt x="972" y="661"/>
                    <a:pt x="972" y="661"/>
                  </a:cubicBezTo>
                  <a:cubicBezTo>
                    <a:pt x="998" y="546"/>
                    <a:pt x="998" y="546"/>
                    <a:pt x="998" y="546"/>
                  </a:cubicBezTo>
                  <a:cubicBezTo>
                    <a:pt x="998" y="546"/>
                    <a:pt x="980" y="531"/>
                    <a:pt x="980" y="52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7" name="Freeform 177">
              <a:extLst>
                <a:ext uri="{FF2B5EF4-FFF2-40B4-BE49-F238E27FC236}">
                  <a16:creationId xmlns:a16="http://schemas.microsoft.com/office/drawing/2014/main" id="{A2154B43-F366-D4D0-B9AC-3FD9463F5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7629" y="3043875"/>
              <a:ext cx="42681" cy="59449"/>
            </a:xfrm>
            <a:custGeom>
              <a:avLst/>
              <a:gdLst>
                <a:gd name="T0" fmla="*/ 2 w 76"/>
                <a:gd name="T1" fmla="*/ 3 h 105"/>
                <a:gd name="T2" fmla="*/ 3 w 76"/>
                <a:gd name="T3" fmla="*/ 2 h 105"/>
                <a:gd name="T4" fmla="*/ 4 w 76"/>
                <a:gd name="T5" fmla="*/ 2 h 105"/>
                <a:gd name="T6" fmla="*/ 3 w 76"/>
                <a:gd name="T7" fmla="*/ 0 h 105"/>
                <a:gd name="T8" fmla="*/ 3 w 76"/>
                <a:gd name="T9" fmla="*/ 0 h 105"/>
                <a:gd name="T10" fmla="*/ 2 w 76"/>
                <a:gd name="T11" fmla="*/ 0 h 105"/>
                <a:gd name="T12" fmla="*/ 2 w 76"/>
                <a:gd name="T13" fmla="*/ 0 h 105"/>
                <a:gd name="T14" fmla="*/ 2 w 76"/>
                <a:gd name="T15" fmla="*/ 0 h 105"/>
                <a:gd name="T16" fmla="*/ 1 w 76"/>
                <a:gd name="T17" fmla="*/ 1 h 105"/>
                <a:gd name="T18" fmla="*/ 0 w 76"/>
                <a:gd name="T19" fmla="*/ 2 h 105"/>
                <a:gd name="T20" fmla="*/ 0 w 76"/>
                <a:gd name="T21" fmla="*/ 4 h 105"/>
                <a:gd name="T22" fmla="*/ 0 w 76"/>
                <a:gd name="T23" fmla="*/ 5 h 105"/>
                <a:gd name="T24" fmla="*/ 0 w 76"/>
                <a:gd name="T25" fmla="*/ 5 h 105"/>
                <a:gd name="T26" fmla="*/ 1 w 76"/>
                <a:gd name="T27" fmla="*/ 4 h 105"/>
                <a:gd name="T28" fmla="*/ 1 w 76"/>
                <a:gd name="T29" fmla="*/ 4 h 105"/>
                <a:gd name="T30" fmla="*/ 1 w 76"/>
                <a:gd name="T31" fmla="*/ 4 h 105"/>
                <a:gd name="T32" fmla="*/ 2 w 76"/>
                <a:gd name="T33" fmla="*/ 3 h 10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"/>
                <a:gd name="T52" fmla="*/ 0 h 105"/>
                <a:gd name="T53" fmla="*/ 76 w 76"/>
                <a:gd name="T54" fmla="*/ 105 h 10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" h="105">
                  <a:moveTo>
                    <a:pt x="46" y="66"/>
                  </a:moveTo>
                  <a:cubicBezTo>
                    <a:pt x="46" y="66"/>
                    <a:pt x="41" y="49"/>
                    <a:pt x="50" y="46"/>
                  </a:cubicBezTo>
                  <a:cubicBezTo>
                    <a:pt x="59" y="43"/>
                    <a:pt x="66" y="46"/>
                    <a:pt x="71" y="34"/>
                  </a:cubicBezTo>
                  <a:cubicBezTo>
                    <a:pt x="76" y="22"/>
                    <a:pt x="64" y="10"/>
                    <a:pt x="64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"/>
                    <a:pt x="37" y="4"/>
                    <a:pt x="36" y="5"/>
                  </a:cubicBezTo>
                  <a:cubicBezTo>
                    <a:pt x="29" y="15"/>
                    <a:pt x="20" y="21"/>
                    <a:pt x="20" y="2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" y="69"/>
                    <a:pt x="0" y="89"/>
                  </a:cubicBezTo>
                  <a:cubicBezTo>
                    <a:pt x="0" y="94"/>
                    <a:pt x="0" y="100"/>
                    <a:pt x="1" y="105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22" y="93"/>
                    <a:pt x="27" y="86"/>
                  </a:cubicBezTo>
                  <a:cubicBezTo>
                    <a:pt x="32" y="79"/>
                    <a:pt x="31" y="69"/>
                    <a:pt x="31" y="69"/>
                  </a:cubicBezTo>
                  <a:cubicBezTo>
                    <a:pt x="46" y="66"/>
                    <a:pt x="46" y="66"/>
                    <a:pt x="46" y="6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8" name="Freeform 178">
              <a:extLst>
                <a:ext uri="{FF2B5EF4-FFF2-40B4-BE49-F238E27FC236}">
                  <a16:creationId xmlns:a16="http://schemas.microsoft.com/office/drawing/2014/main" id="{9AC9887E-500C-0902-57D6-EE1521EE0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8299" y="2960038"/>
              <a:ext cx="169201" cy="155481"/>
            </a:xfrm>
            <a:custGeom>
              <a:avLst/>
              <a:gdLst>
                <a:gd name="T0" fmla="*/ 15 w 297"/>
                <a:gd name="T1" fmla="*/ 2 h 275"/>
                <a:gd name="T2" fmla="*/ 15 w 297"/>
                <a:gd name="T3" fmla="*/ 1 h 275"/>
                <a:gd name="T4" fmla="*/ 15 w 297"/>
                <a:gd name="T5" fmla="*/ 0 h 275"/>
                <a:gd name="T6" fmla="*/ 15 w 297"/>
                <a:gd name="T7" fmla="*/ 0 h 275"/>
                <a:gd name="T8" fmla="*/ 14 w 297"/>
                <a:gd name="T9" fmla="*/ 1 h 275"/>
                <a:gd name="T10" fmla="*/ 13 w 297"/>
                <a:gd name="T11" fmla="*/ 1 h 275"/>
                <a:gd name="T12" fmla="*/ 13 w 297"/>
                <a:gd name="T13" fmla="*/ 1 h 275"/>
                <a:gd name="T14" fmla="*/ 11 w 297"/>
                <a:gd name="T15" fmla="*/ 1 h 275"/>
                <a:gd name="T16" fmla="*/ 10 w 297"/>
                <a:gd name="T17" fmla="*/ 1 h 275"/>
                <a:gd name="T18" fmla="*/ 9 w 297"/>
                <a:gd name="T19" fmla="*/ 2 h 275"/>
                <a:gd name="T20" fmla="*/ 7 w 297"/>
                <a:gd name="T21" fmla="*/ 2 h 275"/>
                <a:gd name="T22" fmla="*/ 6 w 297"/>
                <a:gd name="T23" fmla="*/ 1 h 275"/>
                <a:gd name="T24" fmla="*/ 5 w 297"/>
                <a:gd name="T25" fmla="*/ 1 h 275"/>
                <a:gd name="T26" fmla="*/ 3 w 297"/>
                <a:gd name="T27" fmla="*/ 2 h 275"/>
                <a:gd name="T28" fmla="*/ 3 w 297"/>
                <a:gd name="T29" fmla="*/ 1 h 275"/>
                <a:gd name="T30" fmla="*/ 2 w 297"/>
                <a:gd name="T31" fmla="*/ 1 h 275"/>
                <a:gd name="T32" fmla="*/ 2 w 297"/>
                <a:gd name="T33" fmla="*/ 3 h 275"/>
                <a:gd name="T34" fmla="*/ 3 w 297"/>
                <a:gd name="T35" fmla="*/ 3 h 275"/>
                <a:gd name="T36" fmla="*/ 1 w 297"/>
                <a:gd name="T37" fmla="*/ 3 h 275"/>
                <a:gd name="T38" fmla="*/ 1 w 297"/>
                <a:gd name="T39" fmla="*/ 4 h 275"/>
                <a:gd name="T40" fmla="*/ 1 w 297"/>
                <a:gd name="T41" fmla="*/ 4 h 275"/>
                <a:gd name="T42" fmla="*/ 1 w 297"/>
                <a:gd name="T43" fmla="*/ 4 h 275"/>
                <a:gd name="T44" fmla="*/ 0 w 297"/>
                <a:gd name="T45" fmla="*/ 5 h 275"/>
                <a:gd name="T46" fmla="*/ 0 w 297"/>
                <a:gd name="T47" fmla="*/ 5 h 275"/>
                <a:gd name="T48" fmla="*/ 0 w 297"/>
                <a:gd name="T49" fmla="*/ 7 h 275"/>
                <a:gd name="T50" fmla="*/ 1 w 297"/>
                <a:gd name="T51" fmla="*/ 7 h 275"/>
                <a:gd name="T52" fmla="*/ 1 w 297"/>
                <a:gd name="T53" fmla="*/ 7 h 275"/>
                <a:gd name="T54" fmla="*/ 2 w 297"/>
                <a:gd name="T55" fmla="*/ 7 h 275"/>
                <a:gd name="T56" fmla="*/ 2 w 297"/>
                <a:gd name="T57" fmla="*/ 8 h 275"/>
                <a:gd name="T58" fmla="*/ 3 w 297"/>
                <a:gd name="T59" fmla="*/ 9 h 275"/>
                <a:gd name="T60" fmla="*/ 1 w 297"/>
                <a:gd name="T61" fmla="*/ 10 h 275"/>
                <a:gd name="T62" fmla="*/ 1 w 297"/>
                <a:gd name="T63" fmla="*/ 11 h 275"/>
                <a:gd name="T64" fmla="*/ 1 w 297"/>
                <a:gd name="T65" fmla="*/ 11 h 275"/>
                <a:gd name="T66" fmla="*/ 1 w 297"/>
                <a:gd name="T67" fmla="*/ 13 h 275"/>
                <a:gd name="T68" fmla="*/ 1 w 297"/>
                <a:gd name="T69" fmla="*/ 13 h 275"/>
                <a:gd name="T70" fmla="*/ 2 w 297"/>
                <a:gd name="T71" fmla="*/ 13 h 275"/>
                <a:gd name="T72" fmla="*/ 4 w 297"/>
                <a:gd name="T73" fmla="*/ 14 h 275"/>
                <a:gd name="T74" fmla="*/ 8 w 297"/>
                <a:gd name="T75" fmla="*/ 11 h 275"/>
                <a:gd name="T76" fmla="*/ 10 w 297"/>
                <a:gd name="T77" fmla="*/ 9 h 275"/>
                <a:gd name="T78" fmla="*/ 14 w 297"/>
                <a:gd name="T79" fmla="*/ 8 h 275"/>
                <a:gd name="T80" fmla="*/ 13 w 297"/>
                <a:gd name="T81" fmla="*/ 7 h 275"/>
                <a:gd name="T82" fmla="*/ 14 w 297"/>
                <a:gd name="T83" fmla="*/ 6 h 275"/>
                <a:gd name="T84" fmla="*/ 13 w 297"/>
                <a:gd name="T85" fmla="*/ 4 h 275"/>
                <a:gd name="T86" fmla="*/ 13 w 297"/>
                <a:gd name="T87" fmla="*/ 3 h 275"/>
                <a:gd name="T88" fmla="*/ 15 w 297"/>
                <a:gd name="T89" fmla="*/ 2 h 2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7"/>
                <a:gd name="T136" fmla="*/ 0 h 275"/>
                <a:gd name="T137" fmla="*/ 297 w 297"/>
                <a:gd name="T138" fmla="*/ 275 h 2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7" h="275">
                  <a:moveTo>
                    <a:pt x="281" y="39"/>
                  </a:moveTo>
                  <a:cubicBezTo>
                    <a:pt x="290" y="35"/>
                    <a:pt x="295" y="26"/>
                    <a:pt x="297" y="19"/>
                  </a:cubicBezTo>
                  <a:cubicBezTo>
                    <a:pt x="288" y="20"/>
                    <a:pt x="293" y="4"/>
                    <a:pt x="290" y="2"/>
                  </a:cubicBezTo>
                  <a:cubicBezTo>
                    <a:pt x="287" y="0"/>
                    <a:pt x="285" y="11"/>
                    <a:pt x="277" y="12"/>
                  </a:cubicBezTo>
                  <a:cubicBezTo>
                    <a:pt x="269" y="13"/>
                    <a:pt x="264" y="15"/>
                    <a:pt x="264" y="15"/>
                  </a:cubicBezTo>
                  <a:cubicBezTo>
                    <a:pt x="264" y="15"/>
                    <a:pt x="259" y="21"/>
                    <a:pt x="250" y="22"/>
                  </a:cubicBezTo>
                  <a:cubicBezTo>
                    <a:pt x="241" y="23"/>
                    <a:pt x="246" y="18"/>
                    <a:pt x="241" y="16"/>
                  </a:cubicBezTo>
                  <a:cubicBezTo>
                    <a:pt x="236" y="14"/>
                    <a:pt x="230" y="15"/>
                    <a:pt x="217" y="16"/>
                  </a:cubicBezTo>
                  <a:cubicBezTo>
                    <a:pt x="204" y="17"/>
                    <a:pt x="197" y="29"/>
                    <a:pt x="188" y="32"/>
                  </a:cubicBezTo>
                  <a:cubicBezTo>
                    <a:pt x="179" y="35"/>
                    <a:pt x="174" y="38"/>
                    <a:pt x="163" y="39"/>
                  </a:cubicBezTo>
                  <a:cubicBezTo>
                    <a:pt x="152" y="40"/>
                    <a:pt x="140" y="35"/>
                    <a:pt x="140" y="35"/>
                  </a:cubicBezTo>
                  <a:cubicBezTo>
                    <a:pt x="140" y="35"/>
                    <a:pt x="117" y="23"/>
                    <a:pt x="114" y="22"/>
                  </a:cubicBezTo>
                  <a:cubicBezTo>
                    <a:pt x="111" y="21"/>
                    <a:pt x="100" y="33"/>
                    <a:pt x="100" y="33"/>
                  </a:cubicBezTo>
                  <a:cubicBezTo>
                    <a:pt x="100" y="33"/>
                    <a:pt x="85" y="41"/>
                    <a:pt x="64" y="41"/>
                  </a:cubicBezTo>
                  <a:cubicBezTo>
                    <a:pt x="43" y="41"/>
                    <a:pt x="60" y="35"/>
                    <a:pt x="58" y="31"/>
                  </a:cubicBezTo>
                  <a:cubicBezTo>
                    <a:pt x="56" y="27"/>
                    <a:pt x="42" y="32"/>
                    <a:pt x="42" y="3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50" y="51"/>
                    <a:pt x="48" y="64"/>
                  </a:cubicBezTo>
                  <a:cubicBezTo>
                    <a:pt x="47" y="72"/>
                    <a:pt x="33" y="66"/>
                    <a:pt x="33" y="66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1" y="83"/>
                    <a:pt x="27" y="84"/>
                  </a:cubicBezTo>
                  <a:cubicBezTo>
                    <a:pt x="24" y="85"/>
                    <a:pt x="17" y="80"/>
                    <a:pt x="14" y="78"/>
                  </a:cubicBezTo>
                  <a:cubicBezTo>
                    <a:pt x="12" y="83"/>
                    <a:pt x="2" y="91"/>
                    <a:pt x="5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14" y="139"/>
                    <a:pt x="17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44" y="157"/>
                    <a:pt x="56" y="169"/>
                    <a:pt x="51" y="181"/>
                  </a:cubicBezTo>
                  <a:cubicBezTo>
                    <a:pt x="46" y="193"/>
                    <a:pt x="39" y="190"/>
                    <a:pt x="30" y="193"/>
                  </a:cubicBezTo>
                  <a:cubicBezTo>
                    <a:pt x="21" y="196"/>
                    <a:pt x="26" y="213"/>
                    <a:pt x="26" y="213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3" y="251"/>
                    <a:pt x="23" y="251"/>
                    <a:pt x="23" y="251"/>
                  </a:cubicBezTo>
                  <a:cubicBezTo>
                    <a:pt x="45" y="263"/>
                    <a:pt x="45" y="263"/>
                    <a:pt x="45" y="263"/>
                  </a:cubicBezTo>
                  <a:cubicBezTo>
                    <a:pt x="45" y="263"/>
                    <a:pt x="52" y="275"/>
                    <a:pt x="73" y="275"/>
                  </a:cubicBezTo>
                  <a:cubicBezTo>
                    <a:pt x="94" y="275"/>
                    <a:pt x="157" y="218"/>
                    <a:pt x="157" y="218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0" y="183"/>
                    <a:pt x="249" y="165"/>
                    <a:pt x="261" y="156"/>
                  </a:cubicBezTo>
                  <a:cubicBezTo>
                    <a:pt x="273" y="147"/>
                    <a:pt x="256" y="138"/>
                    <a:pt x="255" y="131"/>
                  </a:cubicBezTo>
                  <a:cubicBezTo>
                    <a:pt x="254" y="124"/>
                    <a:pt x="260" y="117"/>
                    <a:pt x="264" y="112"/>
                  </a:cubicBezTo>
                  <a:cubicBezTo>
                    <a:pt x="268" y="107"/>
                    <a:pt x="260" y="77"/>
                    <a:pt x="260" y="77"/>
                  </a:cubicBezTo>
                  <a:cubicBezTo>
                    <a:pt x="260" y="77"/>
                    <a:pt x="245" y="69"/>
                    <a:pt x="249" y="55"/>
                  </a:cubicBezTo>
                  <a:cubicBezTo>
                    <a:pt x="253" y="41"/>
                    <a:pt x="265" y="46"/>
                    <a:pt x="281" y="3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69" name="Freeform 179">
              <a:extLst>
                <a:ext uri="{FF2B5EF4-FFF2-40B4-BE49-F238E27FC236}">
                  <a16:creationId xmlns:a16="http://schemas.microsoft.com/office/drawing/2014/main" id="{0B7E4BD0-6B25-D375-026F-C8E3490CE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678" y="3109422"/>
              <a:ext cx="18292" cy="41157"/>
            </a:xfrm>
            <a:custGeom>
              <a:avLst/>
              <a:gdLst>
                <a:gd name="T0" fmla="*/ 1 w 32"/>
                <a:gd name="T1" fmla="*/ 3 h 70"/>
                <a:gd name="T2" fmla="*/ 2 w 32"/>
                <a:gd name="T3" fmla="*/ 3 h 70"/>
                <a:gd name="T4" fmla="*/ 2 w 32"/>
                <a:gd name="T5" fmla="*/ 3 h 70"/>
                <a:gd name="T6" fmla="*/ 2 w 32"/>
                <a:gd name="T7" fmla="*/ 0 h 70"/>
                <a:gd name="T8" fmla="*/ 1 w 32"/>
                <a:gd name="T9" fmla="*/ 0 h 70"/>
                <a:gd name="T10" fmla="*/ 0 w 32"/>
                <a:gd name="T11" fmla="*/ 1 h 70"/>
                <a:gd name="T12" fmla="*/ 0 w 32"/>
                <a:gd name="T13" fmla="*/ 2 h 70"/>
                <a:gd name="T14" fmla="*/ 0 w 32"/>
                <a:gd name="T15" fmla="*/ 3 h 70"/>
                <a:gd name="T16" fmla="*/ 1 w 32"/>
                <a:gd name="T17" fmla="*/ 3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70"/>
                <a:gd name="T29" fmla="*/ 32 w 32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70">
                  <a:moveTo>
                    <a:pt x="21" y="54"/>
                  </a:moveTo>
                  <a:cubicBezTo>
                    <a:pt x="22" y="53"/>
                    <a:pt x="24" y="54"/>
                    <a:pt x="27" y="56"/>
                  </a:cubicBezTo>
                  <a:cubicBezTo>
                    <a:pt x="29" y="51"/>
                    <a:pt x="32" y="47"/>
                    <a:pt x="32" y="4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0"/>
                    <a:pt x="17" y="0"/>
                    <a:pt x="13" y="2"/>
                  </a:cubicBezTo>
                  <a:cubicBezTo>
                    <a:pt x="7" y="6"/>
                    <a:pt x="6" y="21"/>
                    <a:pt x="6" y="21"/>
                  </a:cubicBezTo>
                  <a:cubicBezTo>
                    <a:pt x="6" y="21"/>
                    <a:pt x="7" y="34"/>
                    <a:pt x="6" y="40"/>
                  </a:cubicBezTo>
                  <a:cubicBezTo>
                    <a:pt x="5" y="46"/>
                    <a:pt x="0" y="54"/>
                    <a:pt x="7" y="62"/>
                  </a:cubicBezTo>
                  <a:cubicBezTo>
                    <a:pt x="13" y="70"/>
                    <a:pt x="18" y="55"/>
                    <a:pt x="21" y="54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0" name="Freeform 180">
              <a:extLst>
                <a:ext uri="{FF2B5EF4-FFF2-40B4-BE49-F238E27FC236}">
                  <a16:creationId xmlns:a16="http://schemas.microsoft.com/office/drawing/2014/main" id="{E57198B7-F43F-C0C0-C166-BD998AF06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8299" y="3085033"/>
              <a:ext cx="106703" cy="132617"/>
            </a:xfrm>
            <a:custGeom>
              <a:avLst/>
              <a:gdLst>
                <a:gd name="T0" fmla="*/ 9 w 186"/>
                <a:gd name="T1" fmla="*/ 2 h 236"/>
                <a:gd name="T2" fmla="*/ 9 w 186"/>
                <a:gd name="T3" fmla="*/ 1 h 236"/>
                <a:gd name="T4" fmla="*/ 8 w 186"/>
                <a:gd name="T5" fmla="*/ 0 h 236"/>
                <a:gd name="T6" fmla="*/ 4 w 186"/>
                <a:gd name="T7" fmla="*/ 3 h 236"/>
                <a:gd name="T8" fmla="*/ 2 w 186"/>
                <a:gd name="T9" fmla="*/ 2 h 236"/>
                <a:gd name="T10" fmla="*/ 1 w 186"/>
                <a:gd name="T11" fmla="*/ 1 h 236"/>
                <a:gd name="T12" fmla="*/ 1 w 186"/>
                <a:gd name="T13" fmla="*/ 2 h 236"/>
                <a:gd name="T14" fmla="*/ 1 w 186"/>
                <a:gd name="T15" fmla="*/ 2 h 236"/>
                <a:gd name="T16" fmla="*/ 1 w 186"/>
                <a:gd name="T17" fmla="*/ 5 h 236"/>
                <a:gd name="T18" fmla="*/ 1 w 186"/>
                <a:gd name="T19" fmla="*/ 5 h 236"/>
                <a:gd name="T20" fmla="*/ 1 w 186"/>
                <a:gd name="T21" fmla="*/ 6 h 236"/>
                <a:gd name="T22" fmla="*/ 1 w 186"/>
                <a:gd name="T23" fmla="*/ 7 h 236"/>
                <a:gd name="T24" fmla="*/ 0 w 186"/>
                <a:gd name="T25" fmla="*/ 8 h 236"/>
                <a:gd name="T26" fmla="*/ 0 w 186"/>
                <a:gd name="T27" fmla="*/ 11 h 236"/>
                <a:gd name="T28" fmla="*/ 0 w 186"/>
                <a:gd name="T29" fmla="*/ 11 h 236"/>
                <a:gd name="T30" fmla="*/ 0 w 186"/>
                <a:gd name="T31" fmla="*/ 11 h 236"/>
                <a:gd name="T32" fmla="*/ 3 w 186"/>
                <a:gd name="T33" fmla="*/ 11 h 236"/>
                <a:gd name="T34" fmla="*/ 4 w 186"/>
                <a:gd name="T35" fmla="*/ 9 h 236"/>
                <a:gd name="T36" fmla="*/ 6 w 186"/>
                <a:gd name="T37" fmla="*/ 9 h 236"/>
                <a:gd name="T38" fmla="*/ 6 w 186"/>
                <a:gd name="T39" fmla="*/ 7 h 236"/>
                <a:gd name="T40" fmla="*/ 5 w 186"/>
                <a:gd name="T41" fmla="*/ 6 h 236"/>
                <a:gd name="T42" fmla="*/ 3 w 186"/>
                <a:gd name="T43" fmla="*/ 5 h 236"/>
                <a:gd name="T44" fmla="*/ 5 w 186"/>
                <a:gd name="T45" fmla="*/ 5 h 236"/>
                <a:gd name="T46" fmla="*/ 7 w 186"/>
                <a:gd name="T47" fmla="*/ 5 h 236"/>
                <a:gd name="T48" fmla="*/ 7 w 186"/>
                <a:gd name="T49" fmla="*/ 4 h 236"/>
                <a:gd name="T50" fmla="*/ 9 w 186"/>
                <a:gd name="T51" fmla="*/ 4 h 236"/>
                <a:gd name="T52" fmla="*/ 10 w 186"/>
                <a:gd name="T53" fmla="*/ 3 h 236"/>
                <a:gd name="T54" fmla="*/ 10 w 186"/>
                <a:gd name="T55" fmla="*/ 3 h 236"/>
                <a:gd name="T56" fmla="*/ 9 w 186"/>
                <a:gd name="T57" fmla="*/ 2 h 2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6"/>
                <a:gd name="T88" fmla="*/ 0 h 236"/>
                <a:gd name="T89" fmla="*/ 186 w 186"/>
                <a:gd name="T90" fmla="*/ 236 h 2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6" h="236">
                  <a:moveTo>
                    <a:pt x="169" y="44"/>
                  </a:moveTo>
                  <a:cubicBezTo>
                    <a:pt x="169" y="30"/>
                    <a:pt x="169" y="30"/>
                    <a:pt x="169" y="3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4" y="2"/>
                    <a:pt x="94" y="57"/>
                    <a:pt x="73" y="57"/>
                  </a:cubicBezTo>
                  <a:cubicBezTo>
                    <a:pt x="52" y="57"/>
                    <a:pt x="45" y="45"/>
                    <a:pt x="45" y="45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0" y="103"/>
                    <a:pt x="10" y="107"/>
                  </a:cubicBezTo>
                  <a:cubicBezTo>
                    <a:pt x="10" y="111"/>
                    <a:pt x="12" y="111"/>
                    <a:pt x="16" y="115"/>
                  </a:cubicBezTo>
                  <a:cubicBezTo>
                    <a:pt x="20" y="119"/>
                    <a:pt x="18" y="127"/>
                    <a:pt x="15" y="134"/>
                  </a:cubicBezTo>
                  <a:cubicBezTo>
                    <a:pt x="12" y="141"/>
                    <a:pt x="4" y="146"/>
                    <a:pt x="4" y="158"/>
                  </a:cubicBezTo>
                  <a:cubicBezTo>
                    <a:pt x="4" y="170"/>
                    <a:pt x="0" y="211"/>
                    <a:pt x="0" y="211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2" y="217"/>
                    <a:pt x="3" y="217"/>
                    <a:pt x="3" y="217"/>
                  </a:cubicBezTo>
                  <a:cubicBezTo>
                    <a:pt x="10" y="216"/>
                    <a:pt x="41" y="236"/>
                    <a:pt x="55" y="225"/>
                  </a:cubicBezTo>
                  <a:cubicBezTo>
                    <a:pt x="69" y="214"/>
                    <a:pt x="71" y="187"/>
                    <a:pt x="77" y="185"/>
                  </a:cubicBezTo>
                  <a:cubicBezTo>
                    <a:pt x="83" y="183"/>
                    <a:pt x="100" y="187"/>
                    <a:pt x="108" y="180"/>
                  </a:cubicBezTo>
                  <a:cubicBezTo>
                    <a:pt x="116" y="173"/>
                    <a:pt x="122" y="147"/>
                    <a:pt x="122" y="147"/>
                  </a:cubicBezTo>
                  <a:cubicBezTo>
                    <a:pt x="122" y="147"/>
                    <a:pt x="103" y="112"/>
                    <a:pt x="96" y="108"/>
                  </a:cubicBezTo>
                  <a:cubicBezTo>
                    <a:pt x="89" y="104"/>
                    <a:pt x="57" y="107"/>
                    <a:pt x="64" y="100"/>
                  </a:cubicBezTo>
                  <a:cubicBezTo>
                    <a:pt x="71" y="93"/>
                    <a:pt x="96" y="94"/>
                    <a:pt x="96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60" y="82"/>
                    <a:pt x="166" y="76"/>
                  </a:cubicBezTo>
                  <a:cubicBezTo>
                    <a:pt x="172" y="70"/>
                    <a:pt x="185" y="62"/>
                    <a:pt x="185" y="62"/>
                  </a:cubicBezTo>
                  <a:cubicBezTo>
                    <a:pt x="186" y="53"/>
                    <a:pt x="186" y="53"/>
                    <a:pt x="186" y="53"/>
                  </a:cubicBezTo>
                  <a:lnTo>
                    <a:pt x="169" y="44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1" name="Freeform 181">
              <a:extLst>
                <a:ext uri="{FF2B5EF4-FFF2-40B4-BE49-F238E27FC236}">
                  <a16:creationId xmlns:a16="http://schemas.microsoft.com/office/drawing/2014/main" id="{EFAA56A6-3126-CE2A-EA08-283919A7E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958" y="3081984"/>
              <a:ext cx="36584" cy="121946"/>
            </a:xfrm>
            <a:custGeom>
              <a:avLst/>
              <a:gdLst>
                <a:gd name="T0" fmla="*/ 0 w 67"/>
                <a:gd name="T1" fmla="*/ 6 h 216"/>
                <a:gd name="T2" fmla="*/ 2 w 67"/>
                <a:gd name="T3" fmla="*/ 10 h 216"/>
                <a:gd name="T4" fmla="*/ 2 w 67"/>
                <a:gd name="T5" fmla="*/ 11 h 216"/>
                <a:gd name="T6" fmla="*/ 2 w 67"/>
                <a:gd name="T7" fmla="*/ 8 h 216"/>
                <a:gd name="T8" fmla="*/ 3 w 67"/>
                <a:gd name="T9" fmla="*/ 7 h 216"/>
                <a:gd name="T10" fmla="*/ 3 w 67"/>
                <a:gd name="T11" fmla="*/ 6 h 216"/>
                <a:gd name="T12" fmla="*/ 2 w 67"/>
                <a:gd name="T13" fmla="*/ 6 h 216"/>
                <a:gd name="T14" fmla="*/ 3 w 67"/>
                <a:gd name="T15" fmla="*/ 6 h 216"/>
                <a:gd name="T16" fmla="*/ 2 w 67"/>
                <a:gd name="T17" fmla="*/ 5 h 216"/>
                <a:gd name="T18" fmla="*/ 1 w 67"/>
                <a:gd name="T19" fmla="*/ 6 h 216"/>
                <a:gd name="T20" fmla="*/ 1 w 67"/>
                <a:gd name="T21" fmla="*/ 5 h 216"/>
                <a:gd name="T22" fmla="*/ 1 w 67"/>
                <a:gd name="T23" fmla="*/ 4 h 216"/>
                <a:gd name="T24" fmla="*/ 2 w 67"/>
                <a:gd name="T25" fmla="*/ 3 h 216"/>
                <a:gd name="T26" fmla="*/ 3 w 67"/>
                <a:gd name="T27" fmla="*/ 3 h 216"/>
                <a:gd name="T28" fmla="*/ 3 w 67"/>
                <a:gd name="T29" fmla="*/ 3 h 216"/>
                <a:gd name="T30" fmla="*/ 3 w 67"/>
                <a:gd name="T31" fmla="*/ 2 h 216"/>
                <a:gd name="T32" fmla="*/ 3 w 67"/>
                <a:gd name="T33" fmla="*/ 0 h 216"/>
                <a:gd name="T34" fmla="*/ 3 w 67"/>
                <a:gd name="T35" fmla="*/ 0 h 216"/>
                <a:gd name="T36" fmla="*/ 3 w 67"/>
                <a:gd name="T37" fmla="*/ 0 h 216"/>
                <a:gd name="T38" fmla="*/ 2 w 67"/>
                <a:gd name="T39" fmla="*/ 1 h 216"/>
                <a:gd name="T40" fmla="*/ 1 w 67"/>
                <a:gd name="T41" fmla="*/ 1 h 216"/>
                <a:gd name="T42" fmla="*/ 1 w 67"/>
                <a:gd name="T43" fmla="*/ 2 h 216"/>
                <a:gd name="T44" fmla="*/ 1 w 67"/>
                <a:gd name="T45" fmla="*/ 2 h 216"/>
                <a:gd name="T46" fmla="*/ 1 w 67"/>
                <a:gd name="T47" fmla="*/ 3 h 216"/>
                <a:gd name="T48" fmla="*/ 1 w 67"/>
                <a:gd name="T49" fmla="*/ 4 h 216"/>
                <a:gd name="T50" fmla="*/ 0 w 67"/>
                <a:gd name="T51" fmla="*/ 5 h 216"/>
                <a:gd name="T52" fmla="*/ 0 w 67"/>
                <a:gd name="T53" fmla="*/ 6 h 21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216"/>
                <a:gd name="T83" fmla="*/ 67 w 67"/>
                <a:gd name="T84" fmla="*/ 216 h 21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216">
                  <a:moveTo>
                    <a:pt x="0" y="113"/>
                  </a:moveTo>
                  <a:cubicBezTo>
                    <a:pt x="36" y="206"/>
                    <a:pt x="36" y="206"/>
                    <a:pt x="36" y="206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1" y="216"/>
                    <a:pt x="45" y="175"/>
                    <a:pt x="45" y="163"/>
                  </a:cubicBezTo>
                  <a:cubicBezTo>
                    <a:pt x="45" y="151"/>
                    <a:pt x="53" y="146"/>
                    <a:pt x="56" y="139"/>
                  </a:cubicBezTo>
                  <a:cubicBezTo>
                    <a:pt x="59" y="132"/>
                    <a:pt x="61" y="124"/>
                    <a:pt x="57" y="120"/>
                  </a:cubicBezTo>
                  <a:cubicBezTo>
                    <a:pt x="53" y="116"/>
                    <a:pt x="51" y="116"/>
                    <a:pt x="51" y="112"/>
                  </a:cubicBezTo>
                  <a:cubicBezTo>
                    <a:pt x="51" y="111"/>
                    <a:pt x="52" y="109"/>
                    <a:pt x="53" y="107"/>
                  </a:cubicBezTo>
                  <a:cubicBezTo>
                    <a:pt x="50" y="105"/>
                    <a:pt x="48" y="104"/>
                    <a:pt x="47" y="105"/>
                  </a:cubicBezTo>
                  <a:cubicBezTo>
                    <a:pt x="44" y="106"/>
                    <a:pt x="39" y="121"/>
                    <a:pt x="33" y="113"/>
                  </a:cubicBezTo>
                  <a:cubicBezTo>
                    <a:pt x="26" y="105"/>
                    <a:pt x="31" y="97"/>
                    <a:pt x="32" y="91"/>
                  </a:cubicBezTo>
                  <a:cubicBezTo>
                    <a:pt x="33" y="85"/>
                    <a:pt x="32" y="72"/>
                    <a:pt x="32" y="72"/>
                  </a:cubicBezTo>
                  <a:cubicBezTo>
                    <a:pt x="32" y="72"/>
                    <a:pt x="33" y="57"/>
                    <a:pt x="39" y="53"/>
                  </a:cubicBezTo>
                  <a:cubicBezTo>
                    <a:pt x="43" y="51"/>
                    <a:pt x="52" y="51"/>
                    <a:pt x="57" y="52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3" y="13"/>
                    <a:pt x="48" y="20"/>
                  </a:cubicBezTo>
                  <a:cubicBezTo>
                    <a:pt x="43" y="27"/>
                    <a:pt x="34" y="21"/>
                    <a:pt x="34" y="2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52"/>
                    <a:pt x="27" y="63"/>
                    <a:pt x="27" y="6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1" y="105"/>
                    <a:pt x="11" y="105"/>
                    <a:pt x="11" y="105"/>
                  </a:cubicBezTo>
                  <a:lnTo>
                    <a:pt x="0" y="113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2" name="Freeform 182">
              <a:extLst>
                <a:ext uri="{FF2B5EF4-FFF2-40B4-BE49-F238E27FC236}">
                  <a16:creationId xmlns:a16="http://schemas.microsoft.com/office/drawing/2014/main" id="{DB3CA7A6-6670-3357-A46B-064CC6300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550" y="3258806"/>
              <a:ext cx="227125" cy="195114"/>
            </a:xfrm>
            <a:custGeom>
              <a:avLst/>
              <a:gdLst>
                <a:gd name="T0" fmla="*/ 19 w 401"/>
                <a:gd name="T1" fmla="*/ 0 h 343"/>
                <a:gd name="T2" fmla="*/ 10 w 401"/>
                <a:gd name="T3" fmla="*/ 0 h 343"/>
                <a:gd name="T4" fmla="*/ 10 w 401"/>
                <a:gd name="T5" fmla="*/ 0 h 343"/>
                <a:gd name="T6" fmla="*/ 9 w 401"/>
                <a:gd name="T7" fmla="*/ 3 h 343"/>
                <a:gd name="T8" fmla="*/ 8 w 401"/>
                <a:gd name="T9" fmla="*/ 3 h 343"/>
                <a:gd name="T10" fmla="*/ 7 w 401"/>
                <a:gd name="T11" fmla="*/ 3 h 343"/>
                <a:gd name="T12" fmla="*/ 6 w 401"/>
                <a:gd name="T13" fmla="*/ 4 h 343"/>
                <a:gd name="T14" fmla="*/ 6 w 401"/>
                <a:gd name="T15" fmla="*/ 5 h 343"/>
                <a:gd name="T16" fmla="*/ 5 w 401"/>
                <a:gd name="T17" fmla="*/ 6 h 343"/>
                <a:gd name="T18" fmla="*/ 6 w 401"/>
                <a:gd name="T19" fmla="*/ 8 h 343"/>
                <a:gd name="T20" fmla="*/ 5 w 401"/>
                <a:gd name="T21" fmla="*/ 9 h 343"/>
                <a:gd name="T22" fmla="*/ 4 w 401"/>
                <a:gd name="T23" fmla="*/ 10 h 343"/>
                <a:gd name="T24" fmla="*/ 3 w 401"/>
                <a:gd name="T25" fmla="*/ 10 h 343"/>
                <a:gd name="T26" fmla="*/ 3 w 401"/>
                <a:gd name="T27" fmla="*/ 11 h 343"/>
                <a:gd name="T28" fmla="*/ 3 w 401"/>
                <a:gd name="T29" fmla="*/ 11 h 343"/>
                <a:gd name="T30" fmla="*/ 2 w 401"/>
                <a:gd name="T31" fmla="*/ 12 h 343"/>
                <a:gd name="T32" fmla="*/ 2 w 401"/>
                <a:gd name="T33" fmla="*/ 13 h 343"/>
                <a:gd name="T34" fmla="*/ 1 w 401"/>
                <a:gd name="T35" fmla="*/ 13 h 343"/>
                <a:gd name="T36" fmla="*/ 1 w 401"/>
                <a:gd name="T37" fmla="*/ 15 h 343"/>
                <a:gd name="T38" fmla="*/ 1 w 401"/>
                <a:gd name="T39" fmla="*/ 15 h 343"/>
                <a:gd name="T40" fmla="*/ 0 w 401"/>
                <a:gd name="T41" fmla="*/ 16 h 343"/>
                <a:gd name="T42" fmla="*/ 0 w 401"/>
                <a:gd name="T43" fmla="*/ 18 h 343"/>
                <a:gd name="T44" fmla="*/ 10 w 401"/>
                <a:gd name="T45" fmla="*/ 18 h 343"/>
                <a:gd name="T46" fmla="*/ 10 w 401"/>
                <a:gd name="T47" fmla="*/ 14 h 343"/>
                <a:gd name="T48" fmla="*/ 10 w 401"/>
                <a:gd name="T49" fmla="*/ 13 h 343"/>
                <a:gd name="T50" fmla="*/ 11 w 401"/>
                <a:gd name="T51" fmla="*/ 12 h 343"/>
                <a:gd name="T52" fmla="*/ 12 w 401"/>
                <a:gd name="T53" fmla="*/ 12 h 343"/>
                <a:gd name="T54" fmla="*/ 12 w 401"/>
                <a:gd name="T55" fmla="*/ 5 h 343"/>
                <a:gd name="T56" fmla="*/ 12 w 401"/>
                <a:gd name="T57" fmla="*/ 5 h 343"/>
                <a:gd name="T58" fmla="*/ 12 w 401"/>
                <a:gd name="T59" fmla="*/ 4 h 343"/>
                <a:gd name="T60" fmla="*/ 20 w 401"/>
                <a:gd name="T61" fmla="*/ 4 h 343"/>
                <a:gd name="T62" fmla="*/ 20 w 401"/>
                <a:gd name="T63" fmla="*/ 3 h 343"/>
                <a:gd name="T64" fmla="*/ 20 w 401"/>
                <a:gd name="T65" fmla="*/ 3 h 343"/>
                <a:gd name="T66" fmla="*/ 20 w 401"/>
                <a:gd name="T67" fmla="*/ 0 h 343"/>
                <a:gd name="T68" fmla="*/ 19 w 401"/>
                <a:gd name="T69" fmla="*/ 0 h 3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01"/>
                <a:gd name="T106" fmla="*/ 0 h 343"/>
                <a:gd name="T107" fmla="*/ 401 w 401"/>
                <a:gd name="T108" fmla="*/ 343 h 3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01" h="343">
                  <a:moveTo>
                    <a:pt x="364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190" y="3"/>
                    <a:pt x="188" y="8"/>
                    <a:pt x="186" y="12"/>
                  </a:cubicBezTo>
                  <a:cubicBezTo>
                    <a:pt x="181" y="25"/>
                    <a:pt x="176" y="47"/>
                    <a:pt x="176" y="47"/>
                  </a:cubicBezTo>
                  <a:cubicBezTo>
                    <a:pt x="176" y="47"/>
                    <a:pt x="164" y="57"/>
                    <a:pt x="160" y="61"/>
                  </a:cubicBezTo>
                  <a:cubicBezTo>
                    <a:pt x="156" y="65"/>
                    <a:pt x="140" y="66"/>
                    <a:pt x="140" y="66"/>
                  </a:cubicBezTo>
                  <a:cubicBezTo>
                    <a:pt x="140" y="66"/>
                    <a:pt x="129" y="63"/>
                    <a:pt x="125" y="72"/>
                  </a:cubicBezTo>
                  <a:cubicBezTo>
                    <a:pt x="121" y="81"/>
                    <a:pt x="123" y="97"/>
                    <a:pt x="123" y="97"/>
                  </a:cubicBezTo>
                  <a:cubicBezTo>
                    <a:pt x="123" y="97"/>
                    <a:pt x="104" y="116"/>
                    <a:pt x="104" y="122"/>
                  </a:cubicBezTo>
                  <a:cubicBezTo>
                    <a:pt x="104" y="128"/>
                    <a:pt x="115" y="145"/>
                    <a:pt x="108" y="158"/>
                  </a:cubicBezTo>
                  <a:cubicBezTo>
                    <a:pt x="101" y="171"/>
                    <a:pt x="92" y="171"/>
                    <a:pt x="92" y="171"/>
                  </a:cubicBezTo>
                  <a:cubicBezTo>
                    <a:pt x="92" y="171"/>
                    <a:pt x="83" y="185"/>
                    <a:pt x="78" y="190"/>
                  </a:cubicBezTo>
                  <a:cubicBezTo>
                    <a:pt x="73" y="195"/>
                    <a:pt x="62" y="197"/>
                    <a:pt x="58" y="201"/>
                  </a:cubicBezTo>
                  <a:cubicBezTo>
                    <a:pt x="54" y="205"/>
                    <a:pt x="52" y="212"/>
                    <a:pt x="52" y="212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49" y="227"/>
                    <a:pt x="45" y="237"/>
                  </a:cubicBezTo>
                  <a:cubicBezTo>
                    <a:pt x="41" y="247"/>
                    <a:pt x="41" y="259"/>
                    <a:pt x="41" y="259"/>
                  </a:cubicBezTo>
                  <a:cubicBezTo>
                    <a:pt x="32" y="259"/>
                    <a:pt x="32" y="259"/>
                    <a:pt x="32" y="259"/>
                  </a:cubicBezTo>
                  <a:cubicBezTo>
                    <a:pt x="32" y="259"/>
                    <a:pt x="42" y="271"/>
                    <a:pt x="31" y="281"/>
                  </a:cubicBezTo>
                  <a:cubicBezTo>
                    <a:pt x="20" y="291"/>
                    <a:pt x="18" y="286"/>
                    <a:pt x="18" y="286"/>
                  </a:cubicBezTo>
                  <a:cubicBezTo>
                    <a:pt x="18" y="286"/>
                    <a:pt x="1" y="304"/>
                    <a:pt x="1" y="318"/>
                  </a:cubicBezTo>
                  <a:cubicBezTo>
                    <a:pt x="1" y="325"/>
                    <a:pt x="1" y="335"/>
                    <a:pt x="0" y="343"/>
                  </a:cubicBezTo>
                  <a:cubicBezTo>
                    <a:pt x="186" y="341"/>
                    <a:pt x="186" y="341"/>
                    <a:pt x="186" y="341"/>
                  </a:cubicBezTo>
                  <a:cubicBezTo>
                    <a:pt x="187" y="272"/>
                    <a:pt x="187" y="272"/>
                    <a:pt x="187" y="272"/>
                  </a:cubicBezTo>
                  <a:cubicBezTo>
                    <a:pt x="187" y="272"/>
                    <a:pt x="178" y="257"/>
                    <a:pt x="189" y="247"/>
                  </a:cubicBezTo>
                  <a:cubicBezTo>
                    <a:pt x="200" y="237"/>
                    <a:pt x="208" y="236"/>
                    <a:pt x="208" y="236"/>
                  </a:cubicBezTo>
                  <a:cubicBezTo>
                    <a:pt x="208" y="236"/>
                    <a:pt x="233" y="237"/>
                    <a:pt x="235" y="231"/>
                  </a:cubicBezTo>
                  <a:cubicBezTo>
                    <a:pt x="237" y="225"/>
                    <a:pt x="238" y="101"/>
                    <a:pt x="238" y="101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88"/>
                    <a:pt x="243" y="88"/>
                    <a:pt x="243" y="88"/>
                  </a:cubicBezTo>
                  <a:cubicBezTo>
                    <a:pt x="391" y="87"/>
                    <a:pt x="391" y="87"/>
                    <a:pt x="391" y="87"/>
                  </a:cubicBezTo>
                  <a:cubicBezTo>
                    <a:pt x="392" y="62"/>
                    <a:pt x="392" y="62"/>
                    <a:pt x="392" y="62"/>
                  </a:cubicBezTo>
                  <a:cubicBezTo>
                    <a:pt x="397" y="58"/>
                    <a:pt x="397" y="58"/>
                    <a:pt x="397" y="58"/>
                  </a:cubicBezTo>
                  <a:cubicBezTo>
                    <a:pt x="401" y="2"/>
                    <a:pt x="401" y="2"/>
                    <a:pt x="401" y="2"/>
                  </a:cubicBezTo>
                  <a:lnTo>
                    <a:pt x="364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3" name="Freeform 183">
              <a:extLst>
                <a:ext uri="{FF2B5EF4-FFF2-40B4-BE49-F238E27FC236}">
                  <a16:creationId xmlns:a16="http://schemas.microsoft.com/office/drawing/2014/main" id="{37D97A11-F7F7-FDD9-DC71-56F3A74A1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7316" y="3735920"/>
              <a:ext cx="272855" cy="419191"/>
            </a:xfrm>
            <a:custGeom>
              <a:avLst/>
              <a:gdLst>
                <a:gd name="T0" fmla="*/ 4 w 480"/>
                <a:gd name="T1" fmla="*/ 4 h 739"/>
                <a:gd name="T2" fmla="*/ 4 w 480"/>
                <a:gd name="T3" fmla="*/ 4 h 739"/>
                <a:gd name="T4" fmla="*/ 4 w 480"/>
                <a:gd name="T5" fmla="*/ 5 h 739"/>
                <a:gd name="T6" fmla="*/ 5 w 480"/>
                <a:gd name="T7" fmla="*/ 6 h 739"/>
                <a:gd name="T8" fmla="*/ 6 w 480"/>
                <a:gd name="T9" fmla="*/ 7 h 739"/>
                <a:gd name="T10" fmla="*/ 6 w 480"/>
                <a:gd name="T11" fmla="*/ 7 h 739"/>
                <a:gd name="T12" fmla="*/ 7 w 480"/>
                <a:gd name="T13" fmla="*/ 9 h 739"/>
                <a:gd name="T14" fmla="*/ 12 w 480"/>
                <a:gd name="T15" fmla="*/ 10 h 739"/>
                <a:gd name="T16" fmla="*/ 14 w 480"/>
                <a:gd name="T17" fmla="*/ 12 h 739"/>
                <a:gd name="T18" fmla="*/ 17 w 480"/>
                <a:gd name="T19" fmla="*/ 11 h 739"/>
                <a:gd name="T20" fmla="*/ 10 w 480"/>
                <a:gd name="T21" fmla="*/ 20 h 739"/>
                <a:gd name="T22" fmla="*/ 7 w 480"/>
                <a:gd name="T23" fmla="*/ 20 h 739"/>
                <a:gd name="T24" fmla="*/ 5 w 480"/>
                <a:gd name="T25" fmla="*/ 20 h 739"/>
                <a:gd name="T26" fmla="*/ 4 w 480"/>
                <a:gd name="T27" fmla="*/ 21 h 739"/>
                <a:gd name="T28" fmla="*/ 3 w 480"/>
                <a:gd name="T29" fmla="*/ 22 h 739"/>
                <a:gd name="T30" fmla="*/ 2 w 480"/>
                <a:gd name="T31" fmla="*/ 22 h 739"/>
                <a:gd name="T32" fmla="*/ 1 w 480"/>
                <a:gd name="T33" fmla="*/ 24 h 739"/>
                <a:gd name="T34" fmla="*/ 0 w 480"/>
                <a:gd name="T35" fmla="*/ 25 h 739"/>
                <a:gd name="T36" fmla="*/ 0 w 480"/>
                <a:gd name="T37" fmla="*/ 36 h 739"/>
                <a:gd name="T38" fmla="*/ 1 w 480"/>
                <a:gd name="T39" fmla="*/ 38 h 739"/>
                <a:gd name="T40" fmla="*/ 1 w 480"/>
                <a:gd name="T41" fmla="*/ 38 h 739"/>
                <a:gd name="T42" fmla="*/ 1 w 480"/>
                <a:gd name="T43" fmla="*/ 38 h 739"/>
                <a:gd name="T44" fmla="*/ 3 w 480"/>
                <a:gd name="T45" fmla="*/ 35 h 739"/>
                <a:gd name="T46" fmla="*/ 5 w 480"/>
                <a:gd name="T47" fmla="*/ 33 h 739"/>
                <a:gd name="T48" fmla="*/ 8 w 480"/>
                <a:gd name="T49" fmla="*/ 29 h 739"/>
                <a:gd name="T50" fmla="*/ 11 w 480"/>
                <a:gd name="T51" fmla="*/ 28 h 739"/>
                <a:gd name="T52" fmla="*/ 15 w 480"/>
                <a:gd name="T53" fmla="*/ 24 h 739"/>
                <a:gd name="T54" fmla="*/ 18 w 480"/>
                <a:gd name="T55" fmla="*/ 20 h 739"/>
                <a:gd name="T56" fmla="*/ 19 w 480"/>
                <a:gd name="T57" fmla="*/ 17 h 739"/>
                <a:gd name="T58" fmla="*/ 20 w 480"/>
                <a:gd name="T59" fmla="*/ 16 h 739"/>
                <a:gd name="T60" fmla="*/ 21 w 480"/>
                <a:gd name="T61" fmla="*/ 13 h 739"/>
                <a:gd name="T62" fmla="*/ 22 w 480"/>
                <a:gd name="T63" fmla="*/ 12 h 739"/>
                <a:gd name="T64" fmla="*/ 22 w 480"/>
                <a:gd name="T65" fmla="*/ 10 h 739"/>
                <a:gd name="T66" fmla="*/ 23 w 480"/>
                <a:gd name="T67" fmla="*/ 9 h 739"/>
                <a:gd name="T68" fmla="*/ 23 w 480"/>
                <a:gd name="T69" fmla="*/ 7 h 739"/>
                <a:gd name="T70" fmla="*/ 23 w 480"/>
                <a:gd name="T71" fmla="*/ 5 h 739"/>
                <a:gd name="T72" fmla="*/ 25 w 480"/>
                <a:gd name="T73" fmla="*/ 4 h 739"/>
                <a:gd name="T74" fmla="*/ 24 w 480"/>
                <a:gd name="T75" fmla="*/ 2 h 739"/>
                <a:gd name="T76" fmla="*/ 25 w 480"/>
                <a:gd name="T77" fmla="*/ 0 h 739"/>
                <a:gd name="T78" fmla="*/ 23 w 480"/>
                <a:gd name="T79" fmla="*/ 0 h 739"/>
                <a:gd name="T80" fmla="*/ 22 w 480"/>
                <a:gd name="T81" fmla="*/ 1 h 739"/>
                <a:gd name="T82" fmla="*/ 20 w 480"/>
                <a:gd name="T83" fmla="*/ 2 h 739"/>
                <a:gd name="T84" fmla="*/ 18 w 480"/>
                <a:gd name="T85" fmla="*/ 2 h 739"/>
                <a:gd name="T86" fmla="*/ 16 w 480"/>
                <a:gd name="T87" fmla="*/ 3 h 739"/>
                <a:gd name="T88" fmla="*/ 15 w 480"/>
                <a:gd name="T89" fmla="*/ 2 h 739"/>
                <a:gd name="T90" fmla="*/ 13 w 480"/>
                <a:gd name="T91" fmla="*/ 4 h 739"/>
                <a:gd name="T92" fmla="*/ 12 w 480"/>
                <a:gd name="T93" fmla="*/ 3 h 739"/>
                <a:gd name="T94" fmla="*/ 9 w 480"/>
                <a:gd name="T95" fmla="*/ 4 h 739"/>
                <a:gd name="T96" fmla="*/ 7 w 480"/>
                <a:gd name="T97" fmla="*/ 4 h 739"/>
                <a:gd name="T98" fmla="*/ 6 w 480"/>
                <a:gd name="T99" fmla="*/ 3 h 739"/>
                <a:gd name="T100" fmla="*/ 5 w 480"/>
                <a:gd name="T101" fmla="*/ 2 h 739"/>
                <a:gd name="T102" fmla="*/ 4 w 480"/>
                <a:gd name="T103" fmla="*/ 3 h 739"/>
                <a:gd name="T104" fmla="*/ 4 w 480"/>
                <a:gd name="T105" fmla="*/ 4 h 73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80"/>
                <a:gd name="T160" fmla="*/ 0 h 739"/>
                <a:gd name="T161" fmla="*/ 480 w 480"/>
                <a:gd name="T162" fmla="*/ 739 h 73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80" h="739">
                  <a:moveTo>
                    <a:pt x="70" y="77"/>
                  </a:moveTo>
                  <a:cubicBezTo>
                    <a:pt x="79" y="85"/>
                    <a:pt x="79" y="85"/>
                    <a:pt x="79" y="8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91" y="109"/>
                    <a:pt x="97" y="117"/>
                  </a:cubicBezTo>
                  <a:cubicBezTo>
                    <a:pt x="103" y="125"/>
                    <a:pt x="107" y="142"/>
                    <a:pt x="107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32" y="159"/>
                    <a:pt x="143" y="167"/>
                  </a:cubicBezTo>
                  <a:cubicBezTo>
                    <a:pt x="154" y="175"/>
                    <a:pt x="206" y="188"/>
                    <a:pt x="225" y="194"/>
                  </a:cubicBezTo>
                  <a:cubicBezTo>
                    <a:pt x="244" y="200"/>
                    <a:pt x="277" y="220"/>
                    <a:pt x="277" y="220"/>
                  </a:cubicBezTo>
                  <a:cubicBezTo>
                    <a:pt x="325" y="217"/>
                    <a:pt x="325" y="217"/>
                    <a:pt x="325" y="217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185" y="382"/>
                    <a:pt x="137" y="380"/>
                    <a:pt x="129" y="382"/>
                  </a:cubicBezTo>
                  <a:cubicBezTo>
                    <a:pt x="121" y="384"/>
                    <a:pt x="96" y="396"/>
                    <a:pt x="96" y="396"/>
                  </a:cubicBezTo>
                  <a:cubicBezTo>
                    <a:pt x="96" y="396"/>
                    <a:pt x="95" y="408"/>
                    <a:pt x="89" y="414"/>
                  </a:cubicBezTo>
                  <a:cubicBezTo>
                    <a:pt x="83" y="420"/>
                    <a:pt x="58" y="418"/>
                    <a:pt x="50" y="421"/>
                  </a:cubicBezTo>
                  <a:cubicBezTo>
                    <a:pt x="42" y="424"/>
                    <a:pt x="42" y="435"/>
                    <a:pt x="42" y="435"/>
                  </a:cubicBezTo>
                  <a:cubicBezTo>
                    <a:pt x="42" y="435"/>
                    <a:pt x="29" y="463"/>
                    <a:pt x="22" y="471"/>
                  </a:cubicBezTo>
                  <a:cubicBezTo>
                    <a:pt x="15" y="479"/>
                    <a:pt x="1" y="492"/>
                    <a:pt x="1" y="492"/>
                  </a:cubicBezTo>
                  <a:cubicBezTo>
                    <a:pt x="0" y="695"/>
                    <a:pt x="0" y="695"/>
                    <a:pt x="0" y="695"/>
                  </a:cubicBezTo>
                  <a:cubicBezTo>
                    <a:pt x="28" y="735"/>
                    <a:pt x="28" y="735"/>
                    <a:pt x="28" y="735"/>
                  </a:cubicBezTo>
                  <a:cubicBezTo>
                    <a:pt x="27" y="737"/>
                    <a:pt x="27" y="738"/>
                    <a:pt x="26" y="739"/>
                  </a:cubicBezTo>
                  <a:cubicBezTo>
                    <a:pt x="26" y="739"/>
                    <a:pt x="26" y="739"/>
                    <a:pt x="26" y="739"/>
                  </a:cubicBezTo>
                  <a:cubicBezTo>
                    <a:pt x="35" y="722"/>
                    <a:pt x="52" y="690"/>
                    <a:pt x="58" y="680"/>
                  </a:cubicBezTo>
                  <a:cubicBezTo>
                    <a:pt x="65" y="669"/>
                    <a:pt x="97" y="654"/>
                    <a:pt x="100" y="639"/>
                  </a:cubicBezTo>
                  <a:cubicBezTo>
                    <a:pt x="103" y="624"/>
                    <a:pt x="146" y="586"/>
                    <a:pt x="157" y="573"/>
                  </a:cubicBezTo>
                  <a:cubicBezTo>
                    <a:pt x="168" y="560"/>
                    <a:pt x="202" y="541"/>
                    <a:pt x="210" y="536"/>
                  </a:cubicBezTo>
                  <a:cubicBezTo>
                    <a:pt x="218" y="531"/>
                    <a:pt x="275" y="484"/>
                    <a:pt x="281" y="473"/>
                  </a:cubicBezTo>
                  <a:cubicBezTo>
                    <a:pt x="287" y="462"/>
                    <a:pt x="331" y="413"/>
                    <a:pt x="335" y="399"/>
                  </a:cubicBezTo>
                  <a:cubicBezTo>
                    <a:pt x="339" y="385"/>
                    <a:pt x="364" y="339"/>
                    <a:pt x="370" y="334"/>
                  </a:cubicBezTo>
                  <a:cubicBezTo>
                    <a:pt x="376" y="329"/>
                    <a:pt x="384" y="316"/>
                    <a:pt x="384" y="308"/>
                  </a:cubicBezTo>
                  <a:cubicBezTo>
                    <a:pt x="384" y="300"/>
                    <a:pt x="390" y="271"/>
                    <a:pt x="397" y="262"/>
                  </a:cubicBezTo>
                  <a:cubicBezTo>
                    <a:pt x="404" y="253"/>
                    <a:pt x="417" y="241"/>
                    <a:pt x="417" y="228"/>
                  </a:cubicBezTo>
                  <a:cubicBezTo>
                    <a:pt x="417" y="215"/>
                    <a:pt x="427" y="205"/>
                    <a:pt x="427" y="20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0" y="169"/>
                    <a:pt x="457" y="173"/>
                    <a:pt x="457" y="147"/>
                  </a:cubicBezTo>
                  <a:cubicBezTo>
                    <a:pt x="457" y="121"/>
                    <a:pt x="457" y="93"/>
                    <a:pt x="457" y="93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67" y="38"/>
                    <a:pt x="467" y="38"/>
                    <a:pt x="467" y="38"/>
                  </a:cubicBezTo>
                  <a:cubicBezTo>
                    <a:pt x="467" y="38"/>
                    <a:pt x="480" y="14"/>
                    <a:pt x="474" y="8"/>
                  </a:cubicBezTo>
                  <a:cubicBezTo>
                    <a:pt x="468" y="2"/>
                    <a:pt x="447" y="0"/>
                    <a:pt x="447" y="0"/>
                  </a:cubicBezTo>
                  <a:cubicBezTo>
                    <a:pt x="447" y="0"/>
                    <a:pt x="439" y="14"/>
                    <a:pt x="432" y="21"/>
                  </a:cubicBezTo>
                  <a:cubicBezTo>
                    <a:pt x="425" y="28"/>
                    <a:pt x="388" y="37"/>
                    <a:pt x="382" y="37"/>
                  </a:cubicBezTo>
                  <a:cubicBezTo>
                    <a:pt x="376" y="37"/>
                    <a:pt x="355" y="31"/>
                    <a:pt x="345" y="35"/>
                  </a:cubicBezTo>
                  <a:cubicBezTo>
                    <a:pt x="335" y="39"/>
                    <a:pt x="322" y="54"/>
                    <a:pt x="318" y="54"/>
                  </a:cubicBezTo>
                  <a:cubicBezTo>
                    <a:pt x="314" y="54"/>
                    <a:pt x="304" y="42"/>
                    <a:pt x="296" y="43"/>
                  </a:cubicBezTo>
                  <a:cubicBezTo>
                    <a:pt x="288" y="44"/>
                    <a:pt x="261" y="72"/>
                    <a:pt x="252" y="73"/>
                  </a:cubicBezTo>
                  <a:cubicBezTo>
                    <a:pt x="243" y="74"/>
                    <a:pt x="235" y="58"/>
                    <a:pt x="221" y="62"/>
                  </a:cubicBezTo>
                  <a:cubicBezTo>
                    <a:pt x="207" y="66"/>
                    <a:pt x="189" y="83"/>
                    <a:pt x="181" y="84"/>
                  </a:cubicBezTo>
                  <a:cubicBezTo>
                    <a:pt x="173" y="85"/>
                    <a:pt x="141" y="85"/>
                    <a:pt x="141" y="85"/>
                  </a:cubicBezTo>
                  <a:cubicBezTo>
                    <a:pt x="141" y="85"/>
                    <a:pt x="111" y="58"/>
                    <a:pt x="111" y="48"/>
                  </a:cubicBezTo>
                  <a:cubicBezTo>
                    <a:pt x="111" y="40"/>
                    <a:pt x="102" y="36"/>
                    <a:pt x="99" y="35"/>
                  </a:cubicBezTo>
                  <a:cubicBezTo>
                    <a:pt x="84" y="55"/>
                    <a:pt x="84" y="55"/>
                    <a:pt x="84" y="55"/>
                  </a:cubicBezTo>
                  <a:lnTo>
                    <a:pt x="70" y="77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4" name="Freeform 184">
              <a:extLst>
                <a:ext uri="{FF2B5EF4-FFF2-40B4-BE49-F238E27FC236}">
                  <a16:creationId xmlns:a16="http://schemas.microsoft.com/office/drawing/2014/main" id="{7BA2A64F-2EE3-3E93-9755-8089ECB0D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035" y="3714580"/>
              <a:ext cx="48779" cy="53352"/>
            </a:xfrm>
            <a:custGeom>
              <a:avLst/>
              <a:gdLst>
                <a:gd name="T0" fmla="*/ 3 w 85"/>
                <a:gd name="T1" fmla="*/ 1 h 95"/>
                <a:gd name="T2" fmla="*/ 2 w 85"/>
                <a:gd name="T3" fmla="*/ 0 h 95"/>
                <a:gd name="T4" fmla="*/ 1 w 85"/>
                <a:gd name="T5" fmla="*/ 2 h 95"/>
                <a:gd name="T6" fmla="*/ 0 w 85"/>
                <a:gd name="T7" fmla="*/ 3 h 95"/>
                <a:gd name="T8" fmla="*/ 1 w 85"/>
                <a:gd name="T9" fmla="*/ 5 h 95"/>
                <a:gd name="T10" fmla="*/ 2 w 85"/>
                <a:gd name="T11" fmla="*/ 5 h 95"/>
                <a:gd name="T12" fmla="*/ 2 w 85"/>
                <a:gd name="T13" fmla="*/ 4 h 95"/>
                <a:gd name="T14" fmla="*/ 3 w 85"/>
                <a:gd name="T15" fmla="*/ 5 h 95"/>
                <a:gd name="T16" fmla="*/ 3 w 85"/>
                <a:gd name="T17" fmla="*/ 5 h 95"/>
                <a:gd name="T18" fmla="*/ 4 w 85"/>
                <a:gd name="T19" fmla="*/ 4 h 95"/>
                <a:gd name="T20" fmla="*/ 4 w 85"/>
                <a:gd name="T21" fmla="*/ 4 h 95"/>
                <a:gd name="T22" fmla="*/ 3 w 85"/>
                <a:gd name="T23" fmla="*/ 3 h 95"/>
                <a:gd name="T24" fmla="*/ 2 w 85"/>
                <a:gd name="T25" fmla="*/ 3 h 95"/>
                <a:gd name="T26" fmla="*/ 4 w 85"/>
                <a:gd name="T27" fmla="*/ 1 h 95"/>
                <a:gd name="T28" fmla="*/ 3 w 85"/>
                <a:gd name="T29" fmla="*/ 0 h 95"/>
                <a:gd name="T30" fmla="*/ 3 w 85"/>
                <a:gd name="T31" fmla="*/ 0 h 95"/>
                <a:gd name="T32" fmla="*/ 3 w 85"/>
                <a:gd name="T33" fmla="*/ 1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5"/>
                <a:gd name="T52" fmla="*/ 0 h 95"/>
                <a:gd name="T53" fmla="*/ 85 w 85"/>
                <a:gd name="T54" fmla="*/ 95 h 9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5" h="95">
                  <a:moveTo>
                    <a:pt x="47" y="1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3" y="93"/>
                    <a:pt x="11" y="94"/>
                  </a:cubicBezTo>
                  <a:cubicBezTo>
                    <a:pt x="19" y="95"/>
                    <a:pt x="36" y="91"/>
                    <a:pt x="36" y="91"/>
                  </a:cubicBezTo>
                  <a:cubicBezTo>
                    <a:pt x="36" y="91"/>
                    <a:pt x="39" y="83"/>
                    <a:pt x="46" y="84"/>
                  </a:cubicBezTo>
                  <a:cubicBezTo>
                    <a:pt x="50" y="85"/>
                    <a:pt x="55" y="89"/>
                    <a:pt x="59" y="93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3"/>
                    <a:pt x="85" y="30"/>
                    <a:pt x="76" y="17"/>
                  </a:cubicBezTo>
                  <a:cubicBezTo>
                    <a:pt x="73" y="12"/>
                    <a:pt x="68" y="6"/>
                    <a:pt x="63" y="0"/>
                  </a:cubicBezTo>
                  <a:cubicBezTo>
                    <a:pt x="54" y="6"/>
                    <a:pt x="54" y="6"/>
                    <a:pt x="54" y="6"/>
                  </a:cubicBezTo>
                  <a:lnTo>
                    <a:pt x="47" y="1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5" name="Freeform 185">
              <a:extLst>
                <a:ext uri="{FF2B5EF4-FFF2-40B4-BE49-F238E27FC236}">
                  <a16:creationId xmlns:a16="http://schemas.microsoft.com/office/drawing/2014/main" id="{91BC6E76-D229-13B1-E95F-61642C55C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700" y="3553001"/>
              <a:ext cx="182919" cy="172250"/>
            </a:xfrm>
            <a:custGeom>
              <a:avLst/>
              <a:gdLst>
                <a:gd name="T0" fmla="*/ 3 w 320"/>
                <a:gd name="T1" fmla="*/ 2 h 305"/>
                <a:gd name="T2" fmla="*/ 3 w 320"/>
                <a:gd name="T3" fmla="*/ 3 h 305"/>
                <a:gd name="T4" fmla="*/ 2 w 320"/>
                <a:gd name="T5" fmla="*/ 3 h 305"/>
                <a:gd name="T6" fmla="*/ 2 w 320"/>
                <a:gd name="T7" fmla="*/ 3 h 305"/>
                <a:gd name="T8" fmla="*/ 1 w 320"/>
                <a:gd name="T9" fmla="*/ 4 h 305"/>
                <a:gd name="T10" fmla="*/ 2 w 320"/>
                <a:gd name="T11" fmla="*/ 5 h 305"/>
                <a:gd name="T12" fmla="*/ 1 w 320"/>
                <a:gd name="T13" fmla="*/ 6 h 305"/>
                <a:gd name="T14" fmla="*/ 1 w 320"/>
                <a:gd name="T15" fmla="*/ 7 h 305"/>
                <a:gd name="T16" fmla="*/ 0 w 320"/>
                <a:gd name="T17" fmla="*/ 8 h 305"/>
                <a:gd name="T18" fmla="*/ 0 w 320"/>
                <a:gd name="T19" fmla="*/ 9 h 305"/>
                <a:gd name="T20" fmla="*/ 0 w 320"/>
                <a:gd name="T21" fmla="*/ 10 h 305"/>
                <a:gd name="T22" fmla="*/ 2 w 320"/>
                <a:gd name="T23" fmla="*/ 10 h 305"/>
                <a:gd name="T24" fmla="*/ 2 w 320"/>
                <a:gd name="T25" fmla="*/ 10 h 305"/>
                <a:gd name="T26" fmla="*/ 3 w 320"/>
                <a:gd name="T27" fmla="*/ 11 h 305"/>
                <a:gd name="T28" fmla="*/ 4 w 320"/>
                <a:gd name="T29" fmla="*/ 9 h 305"/>
                <a:gd name="T30" fmla="*/ 4 w 320"/>
                <a:gd name="T31" fmla="*/ 9 h 305"/>
                <a:gd name="T32" fmla="*/ 5 w 320"/>
                <a:gd name="T33" fmla="*/ 10 h 305"/>
                <a:gd name="T34" fmla="*/ 6 w 320"/>
                <a:gd name="T35" fmla="*/ 10 h 305"/>
                <a:gd name="T36" fmla="*/ 7 w 320"/>
                <a:gd name="T37" fmla="*/ 9 h 305"/>
                <a:gd name="T38" fmla="*/ 7 w 320"/>
                <a:gd name="T39" fmla="*/ 10 h 305"/>
                <a:gd name="T40" fmla="*/ 8 w 320"/>
                <a:gd name="T41" fmla="*/ 10 h 305"/>
                <a:gd name="T42" fmla="*/ 9 w 320"/>
                <a:gd name="T43" fmla="*/ 10 h 305"/>
                <a:gd name="T44" fmla="*/ 10 w 320"/>
                <a:gd name="T45" fmla="*/ 10 h 305"/>
                <a:gd name="T46" fmla="*/ 10 w 320"/>
                <a:gd name="T47" fmla="*/ 11 h 305"/>
                <a:gd name="T48" fmla="*/ 11 w 320"/>
                <a:gd name="T49" fmla="*/ 11 h 305"/>
                <a:gd name="T50" fmla="*/ 12 w 320"/>
                <a:gd name="T51" fmla="*/ 12 h 305"/>
                <a:gd name="T52" fmla="*/ 14 w 320"/>
                <a:gd name="T53" fmla="*/ 13 h 305"/>
                <a:gd name="T54" fmla="*/ 14 w 320"/>
                <a:gd name="T55" fmla="*/ 14 h 305"/>
                <a:gd name="T56" fmla="*/ 15 w 320"/>
                <a:gd name="T57" fmla="*/ 14 h 305"/>
                <a:gd name="T58" fmla="*/ 15 w 320"/>
                <a:gd name="T59" fmla="*/ 15 h 305"/>
                <a:gd name="T60" fmla="*/ 16 w 320"/>
                <a:gd name="T61" fmla="*/ 16 h 305"/>
                <a:gd name="T62" fmla="*/ 16 w 320"/>
                <a:gd name="T63" fmla="*/ 15 h 305"/>
                <a:gd name="T64" fmla="*/ 17 w 320"/>
                <a:gd name="T65" fmla="*/ 14 h 305"/>
                <a:gd name="T66" fmla="*/ 16 w 320"/>
                <a:gd name="T67" fmla="*/ 14 h 305"/>
                <a:gd name="T68" fmla="*/ 15 w 320"/>
                <a:gd name="T69" fmla="*/ 13 h 305"/>
                <a:gd name="T70" fmla="*/ 15 w 320"/>
                <a:gd name="T71" fmla="*/ 12 h 305"/>
                <a:gd name="T72" fmla="*/ 13 w 320"/>
                <a:gd name="T73" fmla="*/ 11 h 305"/>
                <a:gd name="T74" fmla="*/ 12 w 320"/>
                <a:gd name="T75" fmla="*/ 9 h 305"/>
                <a:gd name="T76" fmla="*/ 11 w 320"/>
                <a:gd name="T77" fmla="*/ 9 h 305"/>
                <a:gd name="T78" fmla="*/ 10 w 320"/>
                <a:gd name="T79" fmla="*/ 8 h 305"/>
                <a:gd name="T80" fmla="*/ 9 w 320"/>
                <a:gd name="T81" fmla="*/ 9 h 305"/>
                <a:gd name="T82" fmla="*/ 9 w 320"/>
                <a:gd name="T83" fmla="*/ 8 h 305"/>
                <a:gd name="T84" fmla="*/ 8 w 320"/>
                <a:gd name="T85" fmla="*/ 7 h 305"/>
                <a:gd name="T86" fmla="*/ 7 w 320"/>
                <a:gd name="T87" fmla="*/ 6 h 305"/>
                <a:gd name="T88" fmla="*/ 7 w 320"/>
                <a:gd name="T89" fmla="*/ 3 h 305"/>
                <a:gd name="T90" fmla="*/ 5 w 320"/>
                <a:gd name="T91" fmla="*/ 0 h 305"/>
                <a:gd name="T92" fmla="*/ 5 w 320"/>
                <a:gd name="T93" fmla="*/ 0 h 305"/>
                <a:gd name="T94" fmla="*/ 4 w 320"/>
                <a:gd name="T95" fmla="*/ 1 h 305"/>
                <a:gd name="T96" fmla="*/ 3 w 320"/>
                <a:gd name="T97" fmla="*/ 2 h 30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0"/>
                <a:gd name="T148" fmla="*/ 0 h 305"/>
                <a:gd name="T149" fmla="*/ 320 w 320"/>
                <a:gd name="T150" fmla="*/ 305 h 30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0" h="305">
                  <a:moveTo>
                    <a:pt x="51" y="35"/>
                  </a:moveTo>
                  <a:cubicBezTo>
                    <a:pt x="51" y="35"/>
                    <a:pt x="51" y="43"/>
                    <a:pt x="50" y="50"/>
                  </a:cubicBezTo>
                  <a:cubicBezTo>
                    <a:pt x="49" y="57"/>
                    <a:pt x="31" y="57"/>
                    <a:pt x="31" y="5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20" y="72"/>
                    <a:pt x="20" y="75"/>
                  </a:cubicBezTo>
                  <a:cubicBezTo>
                    <a:pt x="20" y="78"/>
                    <a:pt x="26" y="88"/>
                    <a:pt x="26" y="106"/>
                  </a:cubicBezTo>
                  <a:cubicBezTo>
                    <a:pt x="26" y="124"/>
                    <a:pt x="14" y="126"/>
                    <a:pt x="14" y="126"/>
                  </a:cubicBezTo>
                  <a:cubicBezTo>
                    <a:pt x="14" y="126"/>
                    <a:pt x="13" y="136"/>
                    <a:pt x="13" y="143"/>
                  </a:cubicBezTo>
                  <a:cubicBezTo>
                    <a:pt x="13" y="150"/>
                    <a:pt x="2" y="149"/>
                    <a:pt x="1" y="157"/>
                  </a:cubicBezTo>
                  <a:cubicBezTo>
                    <a:pt x="0" y="165"/>
                    <a:pt x="6" y="167"/>
                    <a:pt x="6" y="16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36" y="191"/>
                    <a:pt x="41" y="191"/>
                  </a:cubicBezTo>
                  <a:cubicBezTo>
                    <a:pt x="46" y="191"/>
                    <a:pt x="49" y="211"/>
                    <a:pt x="57" y="211"/>
                  </a:cubicBezTo>
                  <a:cubicBezTo>
                    <a:pt x="65" y="211"/>
                    <a:pt x="73" y="170"/>
                    <a:pt x="73" y="170"/>
                  </a:cubicBezTo>
                  <a:cubicBezTo>
                    <a:pt x="73" y="170"/>
                    <a:pt x="85" y="177"/>
                    <a:pt x="89" y="179"/>
                  </a:cubicBezTo>
                  <a:cubicBezTo>
                    <a:pt x="93" y="181"/>
                    <a:pt x="99" y="194"/>
                    <a:pt x="99" y="194"/>
                  </a:cubicBezTo>
                  <a:cubicBezTo>
                    <a:pt x="99" y="194"/>
                    <a:pt x="113" y="194"/>
                    <a:pt x="116" y="194"/>
                  </a:cubicBezTo>
                  <a:cubicBezTo>
                    <a:pt x="119" y="194"/>
                    <a:pt x="128" y="181"/>
                    <a:pt x="128" y="181"/>
                  </a:cubicBezTo>
                  <a:cubicBezTo>
                    <a:pt x="128" y="181"/>
                    <a:pt x="134" y="194"/>
                    <a:pt x="137" y="194"/>
                  </a:cubicBezTo>
                  <a:cubicBezTo>
                    <a:pt x="140" y="194"/>
                    <a:pt x="151" y="187"/>
                    <a:pt x="155" y="187"/>
                  </a:cubicBezTo>
                  <a:cubicBezTo>
                    <a:pt x="159" y="187"/>
                    <a:pt x="165" y="192"/>
                    <a:pt x="165" y="192"/>
                  </a:cubicBezTo>
                  <a:cubicBezTo>
                    <a:pt x="185" y="193"/>
                    <a:pt x="185" y="193"/>
                    <a:pt x="185" y="193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6" y="207"/>
                    <a:pt x="208" y="208"/>
                    <a:pt x="216" y="216"/>
                  </a:cubicBezTo>
                  <a:cubicBezTo>
                    <a:pt x="224" y="224"/>
                    <a:pt x="227" y="234"/>
                    <a:pt x="231" y="242"/>
                  </a:cubicBezTo>
                  <a:cubicBezTo>
                    <a:pt x="235" y="250"/>
                    <a:pt x="253" y="252"/>
                    <a:pt x="257" y="257"/>
                  </a:cubicBezTo>
                  <a:cubicBezTo>
                    <a:pt x="261" y="262"/>
                    <a:pt x="261" y="271"/>
                    <a:pt x="262" y="277"/>
                  </a:cubicBezTo>
                  <a:cubicBezTo>
                    <a:pt x="263" y="283"/>
                    <a:pt x="280" y="283"/>
                    <a:pt x="280" y="283"/>
                  </a:cubicBezTo>
                  <a:cubicBezTo>
                    <a:pt x="288" y="295"/>
                    <a:pt x="288" y="295"/>
                    <a:pt x="288" y="295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311" y="293"/>
                    <a:pt x="311" y="293"/>
                    <a:pt x="311" y="293"/>
                  </a:cubicBezTo>
                  <a:cubicBezTo>
                    <a:pt x="320" y="287"/>
                    <a:pt x="320" y="287"/>
                    <a:pt x="320" y="287"/>
                  </a:cubicBezTo>
                  <a:cubicBezTo>
                    <a:pt x="312" y="277"/>
                    <a:pt x="304" y="268"/>
                    <a:pt x="304" y="268"/>
                  </a:cubicBezTo>
                  <a:cubicBezTo>
                    <a:pt x="304" y="268"/>
                    <a:pt x="287" y="271"/>
                    <a:pt x="285" y="264"/>
                  </a:cubicBezTo>
                  <a:cubicBezTo>
                    <a:pt x="283" y="257"/>
                    <a:pt x="283" y="239"/>
                    <a:pt x="283" y="239"/>
                  </a:cubicBezTo>
                  <a:cubicBezTo>
                    <a:pt x="283" y="239"/>
                    <a:pt x="244" y="225"/>
                    <a:pt x="241" y="216"/>
                  </a:cubicBezTo>
                  <a:cubicBezTo>
                    <a:pt x="238" y="207"/>
                    <a:pt x="238" y="185"/>
                    <a:pt x="231" y="181"/>
                  </a:cubicBezTo>
                  <a:cubicBezTo>
                    <a:pt x="224" y="177"/>
                    <a:pt x="207" y="181"/>
                    <a:pt x="204" y="177"/>
                  </a:cubicBezTo>
                  <a:cubicBezTo>
                    <a:pt x="201" y="173"/>
                    <a:pt x="190" y="159"/>
                    <a:pt x="190" y="159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49"/>
                    <a:pt x="137" y="129"/>
                    <a:pt x="134" y="117"/>
                  </a:cubicBezTo>
                  <a:cubicBezTo>
                    <a:pt x="131" y="105"/>
                    <a:pt x="135" y="85"/>
                    <a:pt x="128" y="62"/>
                  </a:cubicBezTo>
                  <a:cubicBezTo>
                    <a:pt x="121" y="39"/>
                    <a:pt x="100" y="1"/>
                    <a:pt x="100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9"/>
                    <a:pt x="92" y="21"/>
                    <a:pt x="87" y="25"/>
                  </a:cubicBezTo>
                  <a:cubicBezTo>
                    <a:pt x="78" y="33"/>
                    <a:pt x="51" y="35"/>
                    <a:pt x="51" y="3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6" name="Freeform 186">
              <a:extLst>
                <a:ext uri="{FF2B5EF4-FFF2-40B4-BE49-F238E27FC236}">
                  <a16:creationId xmlns:a16="http://schemas.microsoft.com/office/drawing/2014/main" id="{B8BCC592-CDF5-5E7D-E2F8-0C7219D32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337" y="3649034"/>
              <a:ext cx="402423" cy="349072"/>
            </a:xfrm>
            <a:custGeom>
              <a:avLst/>
              <a:gdLst>
                <a:gd name="T0" fmla="*/ 4 w 709"/>
                <a:gd name="T1" fmla="*/ 22 h 615"/>
                <a:gd name="T2" fmla="*/ 4 w 709"/>
                <a:gd name="T3" fmla="*/ 23 h 615"/>
                <a:gd name="T4" fmla="*/ 5 w 709"/>
                <a:gd name="T5" fmla="*/ 24 h 615"/>
                <a:gd name="T6" fmla="*/ 7 w 709"/>
                <a:gd name="T7" fmla="*/ 26 h 615"/>
                <a:gd name="T8" fmla="*/ 7 w 709"/>
                <a:gd name="T9" fmla="*/ 28 h 615"/>
                <a:gd name="T10" fmla="*/ 10 w 709"/>
                <a:gd name="T11" fmla="*/ 29 h 615"/>
                <a:gd name="T12" fmla="*/ 15 w 709"/>
                <a:gd name="T13" fmla="*/ 31 h 615"/>
                <a:gd name="T14" fmla="*/ 17 w 709"/>
                <a:gd name="T15" fmla="*/ 31 h 615"/>
                <a:gd name="T16" fmla="*/ 19 w 709"/>
                <a:gd name="T17" fmla="*/ 30 h 615"/>
                <a:gd name="T18" fmla="*/ 20 w 709"/>
                <a:gd name="T19" fmla="*/ 30 h 615"/>
                <a:gd name="T20" fmla="*/ 21 w 709"/>
                <a:gd name="T21" fmla="*/ 30 h 615"/>
                <a:gd name="T22" fmla="*/ 22 w 709"/>
                <a:gd name="T23" fmla="*/ 30 h 615"/>
                <a:gd name="T24" fmla="*/ 25 w 709"/>
                <a:gd name="T25" fmla="*/ 28 h 615"/>
                <a:gd name="T26" fmla="*/ 29 w 709"/>
                <a:gd name="T27" fmla="*/ 28 h 615"/>
                <a:gd name="T28" fmla="*/ 34 w 709"/>
                <a:gd name="T29" fmla="*/ 19 h 615"/>
                <a:gd name="T30" fmla="*/ 27 w 709"/>
                <a:gd name="T31" fmla="*/ 16 h 615"/>
                <a:gd name="T32" fmla="*/ 25 w 709"/>
                <a:gd name="T33" fmla="*/ 15 h 615"/>
                <a:gd name="T34" fmla="*/ 24 w 709"/>
                <a:gd name="T35" fmla="*/ 13 h 615"/>
                <a:gd name="T36" fmla="*/ 23 w 709"/>
                <a:gd name="T37" fmla="*/ 12 h 615"/>
                <a:gd name="T38" fmla="*/ 23 w 709"/>
                <a:gd name="T39" fmla="*/ 10 h 615"/>
                <a:gd name="T40" fmla="*/ 22 w 709"/>
                <a:gd name="T41" fmla="*/ 11 h 615"/>
                <a:gd name="T42" fmla="*/ 22 w 709"/>
                <a:gd name="T43" fmla="*/ 9 h 615"/>
                <a:gd name="T44" fmla="*/ 22 w 709"/>
                <a:gd name="T45" fmla="*/ 6 h 615"/>
                <a:gd name="T46" fmla="*/ 21 w 709"/>
                <a:gd name="T47" fmla="*/ 4 h 615"/>
                <a:gd name="T48" fmla="*/ 19 w 709"/>
                <a:gd name="T49" fmla="*/ 2 h 615"/>
                <a:gd name="T50" fmla="*/ 18 w 709"/>
                <a:gd name="T51" fmla="*/ 1 h 615"/>
                <a:gd name="T52" fmla="*/ 16 w 709"/>
                <a:gd name="T53" fmla="*/ 1 h 615"/>
                <a:gd name="T54" fmla="*/ 15 w 709"/>
                <a:gd name="T55" fmla="*/ 0 h 615"/>
                <a:gd name="T56" fmla="*/ 13 w 709"/>
                <a:gd name="T57" fmla="*/ 1 h 615"/>
                <a:gd name="T58" fmla="*/ 12 w 709"/>
                <a:gd name="T59" fmla="*/ 0 h 615"/>
                <a:gd name="T60" fmla="*/ 10 w 709"/>
                <a:gd name="T61" fmla="*/ 1 h 615"/>
                <a:gd name="T62" fmla="*/ 8 w 709"/>
                <a:gd name="T63" fmla="*/ 1 h 615"/>
                <a:gd name="T64" fmla="*/ 7 w 709"/>
                <a:gd name="T65" fmla="*/ 4 h 615"/>
                <a:gd name="T66" fmla="*/ 6 w 709"/>
                <a:gd name="T67" fmla="*/ 6 h 615"/>
                <a:gd name="T68" fmla="*/ 6 w 709"/>
                <a:gd name="T69" fmla="*/ 8 h 615"/>
                <a:gd name="T70" fmla="*/ 5 w 709"/>
                <a:gd name="T71" fmla="*/ 9 h 615"/>
                <a:gd name="T72" fmla="*/ 5 w 709"/>
                <a:gd name="T73" fmla="*/ 12 h 615"/>
                <a:gd name="T74" fmla="*/ 4 w 709"/>
                <a:gd name="T75" fmla="*/ 11 h 615"/>
                <a:gd name="T76" fmla="*/ 3 w 709"/>
                <a:gd name="T77" fmla="*/ 13 h 615"/>
                <a:gd name="T78" fmla="*/ 3 w 709"/>
                <a:gd name="T79" fmla="*/ 16 h 615"/>
                <a:gd name="T80" fmla="*/ 2 w 709"/>
                <a:gd name="T81" fmla="*/ 18 h 615"/>
                <a:gd name="T82" fmla="*/ 0 w 709"/>
                <a:gd name="T83" fmla="*/ 18 h 615"/>
                <a:gd name="T84" fmla="*/ 0 w 709"/>
                <a:gd name="T85" fmla="*/ 20 h 615"/>
                <a:gd name="T86" fmla="*/ 3 w 709"/>
                <a:gd name="T87" fmla="*/ 21 h 6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9"/>
                <a:gd name="T133" fmla="*/ 0 h 615"/>
                <a:gd name="T134" fmla="*/ 709 w 709"/>
                <a:gd name="T135" fmla="*/ 615 h 6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9" h="615">
                  <a:moveTo>
                    <a:pt x="60" y="425"/>
                  </a:moveTo>
                  <a:cubicBezTo>
                    <a:pt x="64" y="430"/>
                    <a:pt x="75" y="428"/>
                    <a:pt x="75" y="428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9" y="467"/>
                    <a:pt x="89" y="467"/>
                    <a:pt x="89" y="467"/>
                  </a:cubicBezTo>
                  <a:cubicBezTo>
                    <a:pt x="96" y="471"/>
                    <a:pt x="96" y="471"/>
                    <a:pt x="96" y="471"/>
                  </a:cubicBezTo>
                  <a:cubicBezTo>
                    <a:pt x="96" y="471"/>
                    <a:pt x="98" y="498"/>
                    <a:pt x="108" y="506"/>
                  </a:cubicBezTo>
                  <a:cubicBezTo>
                    <a:pt x="118" y="514"/>
                    <a:pt x="128" y="505"/>
                    <a:pt x="133" y="513"/>
                  </a:cubicBezTo>
                  <a:cubicBezTo>
                    <a:pt x="138" y="521"/>
                    <a:pt x="137" y="535"/>
                    <a:pt x="137" y="535"/>
                  </a:cubicBezTo>
                  <a:cubicBezTo>
                    <a:pt x="138" y="545"/>
                    <a:pt x="138" y="545"/>
                    <a:pt x="138" y="545"/>
                  </a:cubicBezTo>
                  <a:cubicBezTo>
                    <a:pt x="144" y="560"/>
                    <a:pt x="144" y="560"/>
                    <a:pt x="144" y="560"/>
                  </a:cubicBezTo>
                  <a:cubicBezTo>
                    <a:pt x="191" y="562"/>
                    <a:pt x="191" y="562"/>
                    <a:pt x="191" y="562"/>
                  </a:cubicBezTo>
                  <a:cubicBezTo>
                    <a:pt x="242" y="602"/>
                    <a:pt x="242" y="602"/>
                    <a:pt x="242" y="602"/>
                  </a:cubicBezTo>
                  <a:cubicBezTo>
                    <a:pt x="242" y="602"/>
                    <a:pt x="269" y="604"/>
                    <a:pt x="282" y="606"/>
                  </a:cubicBezTo>
                  <a:cubicBezTo>
                    <a:pt x="295" y="608"/>
                    <a:pt x="313" y="615"/>
                    <a:pt x="313" y="615"/>
                  </a:cubicBezTo>
                  <a:cubicBezTo>
                    <a:pt x="326" y="601"/>
                    <a:pt x="326" y="601"/>
                    <a:pt x="326" y="601"/>
                  </a:cubicBezTo>
                  <a:cubicBezTo>
                    <a:pt x="326" y="601"/>
                    <a:pt x="324" y="597"/>
                    <a:pt x="331" y="591"/>
                  </a:cubicBezTo>
                  <a:cubicBezTo>
                    <a:pt x="338" y="585"/>
                    <a:pt x="360" y="577"/>
                    <a:pt x="360" y="577"/>
                  </a:cubicBezTo>
                  <a:cubicBezTo>
                    <a:pt x="372" y="568"/>
                    <a:pt x="372" y="568"/>
                    <a:pt x="372" y="568"/>
                  </a:cubicBezTo>
                  <a:cubicBezTo>
                    <a:pt x="388" y="585"/>
                    <a:pt x="388" y="585"/>
                    <a:pt x="388" y="585"/>
                  </a:cubicBezTo>
                  <a:cubicBezTo>
                    <a:pt x="406" y="586"/>
                    <a:pt x="406" y="586"/>
                    <a:pt x="406" y="586"/>
                  </a:cubicBezTo>
                  <a:cubicBezTo>
                    <a:pt x="410" y="582"/>
                    <a:pt x="410" y="582"/>
                    <a:pt x="410" y="582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6" y="588"/>
                    <a:pt x="426" y="577"/>
                    <a:pt x="434" y="574"/>
                  </a:cubicBezTo>
                  <a:cubicBezTo>
                    <a:pt x="442" y="571"/>
                    <a:pt x="467" y="573"/>
                    <a:pt x="473" y="567"/>
                  </a:cubicBezTo>
                  <a:cubicBezTo>
                    <a:pt x="479" y="561"/>
                    <a:pt x="480" y="549"/>
                    <a:pt x="480" y="549"/>
                  </a:cubicBezTo>
                  <a:cubicBezTo>
                    <a:pt x="480" y="549"/>
                    <a:pt x="505" y="537"/>
                    <a:pt x="513" y="535"/>
                  </a:cubicBezTo>
                  <a:cubicBezTo>
                    <a:pt x="521" y="533"/>
                    <a:pt x="569" y="535"/>
                    <a:pt x="569" y="535"/>
                  </a:cubicBezTo>
                  <a:cubicBezTo>
                    <a:pt x="709" y="370"/>
                    <a:pt x="709" y="370"/>
                    <a:pt x="709" y="370"/>
                  </a:cubicBezTo>
                  <a:cubicBezTo>
                    <a:pt x="661" y="373"/>
                    <a:pt x="661" y="373"/>
                    <a:pt x="661" y="373"/>
                  </a:cubicBezTo>
                  <a:cubicBezTo>
                    <a:pt x="661" y="373"/>
                    <a:pt x="628" y="353"/>
                    <a:pt x="609" y="347"/>
                  </a:cubicBezTo>
                  <a:cubicBezTo>
                    <a:pt x="590" y="341"/>
                    <a:pt x="538" y="328"/>
                    <a:pt x="527" y="320"/>
                  </a:cubicBezTo>
                  <a:cubicBezTo>
                    <a:pt x="516" y="312"/>
                    <a:pt x="506" y="295"/>
                    <a:pt x="506" y="295"/>
                  </a:cubicBezTo>
                  <a:cubicBezTo>
                    <a:pt x="491" y="295"/>
                    <a:pt x="491" y="295"/>
                    <a:pt x="491" y="295"/>
                  </a:cubicBezTo>
                  <a:cubicBezTo>
                    <a:pt x="491" y="295"/>
                    <a:pt x="487" y="278"/>
                    <a:pt x="481" y="270"/>
                  </a:cubicBezTo>
                  <a:cubicBezTo>
                    <a:pt x="475" y="262"/>
                    <a:pt x="462" y="246"/>
                    <a:pt x="462" y="246"/>
                  </a:cubicBezTo>
                  <a:cubicBezTo>
                    <a:pt x="463" y="238"/>
                    <a:pt x="463" y="238"/>
                    <a:pt x="463" y="238"/>
                  </a:cubicBezTo>
                  <a:cubicBezTo>
                    <a:pt x="454" y="230"/>
                    <a:pt x="454" y="230"/>
                    <a:pt x="454" y="230"/>
                  </a:cubicBezTo>
                  <a:cubicBezTo>
                    <a:pt x="467" y="210"/>
                    <a:pt x="467" y="210"/>
                    <a:pt x="467" y="210"/>
                  </a:cubicBezTo>
                  <a:cubicBezTo>
                    <a:pt x="463" y="206"/>
                    <a:pt x="458" y="202"/>
                    <a:pt x="454" y="201"/>
                  </a:cubicBezTo>
                  <a:cubicBezTo>
                    <a:pt x="447" y="200"/>
                    <a:pt x="444" y="208"/>
                    <a:pt x="444" y="208"/>
                  </a:cubicBezTo>
                  <a:cubicBezTo>
                    <a:pt x="444" y="208"/>
                    <a:pt x="427" y="212"/>
                    <a:pt x="419" y="211"/>
                  </a:cubicBezTo>
                  <a:cubicBezTo>
                    <a:pt x="411" y="210"/>
                    <a:pt x="408" y="173"/>
                    <a:pt x="408" y="173"/>
                  </a:cubicBezTo>
                  <a:cubicBezTo>
                    <a:pt x="421" y="164"/>
                    <a:pt x="421" y="164"/>
                    <a:pt x="421" y="164"/>
                  </a:cubicBezTo>
                  <a:cubicBezTo>
                    <a:pt x="439" y="125"/>
                    <a:pt x="439" y="125"/>
                    <a:pt x="439" y="125"/>
                  </a:cubicBezTo>
                  <a:cubicBezTo>
                    <a:pt x="431" y="113"/>
                    <a:pt x="431" y="113"/>
                    <a:pt x="431" y="113"/>
                  </a:cubicBezTo>
                  <a:cubicBezTo>
                    <a:pt x="431" y="113"/>
                    <a:pt x="414" y="113"/>
                    <a:pt x="413" y="107"/>
                  </a:cubicBezTo>
                  <a:cubicBezTo>
                    <a:pt x="412" y="101"/>
                    <a:pt x="412" y="92"/>
                    <a:pt x="408" y="87"/>
                  </a:cubicBezTo>
                  <a:cubicBezTo>
                    <a:pt x="404" y="82"/>
                    <a:pt x="386" y="80"/>
                    <a:pt x="382" y="72"/>
                  </a:cubicBezTo>
                  <a:cubicBezTo>
                    <a:pt x="378" y="64"/>
                    <a:pt x="375" y="54"/>
                    <a:pt x="367" y="46"/>
                  </a:cubicBezTo>
                  <a:cubicBezTo>
                    <a:pt x="359" y="38"/>
                    <a:pt x="347" y="37"/>
                    <a:pt x="347" y="37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0" y="17"/>
                    <a:pt x="306" y="17"/>
                  </a:cubicBezTo>
                  <a:cubicBezTo>
                    <a:pt x="302" y="17"/>
                    <a:pt x="291" y="24"/>
                    <a:pt x="288" y="24"/>
                  </a:cubicBezTo>
                  <a:cubicBezTo>
                    <a:pt x="285" y="24"/>
                    <a:pt x="279" y="11"/>
                    <a:pt x="279" y="11"/>
                  </a:cubicBezTo>
                  <a:cubicBezTo>
                    <a:pt x="279" y="11"/>
                    <a:pt x="270" y="24"/>
                    <a:pt x="267" y="24"/>
                  </a:cubicBezTo>
                  <a:cubicBezTo>
                    <a:pt x="264" y="24"/>
                    <a:pt x="250" y="24"/>
                    <a:pt x="250" y="24"/>
                  </a:cubicBezTo>
                  <a:cubicBezTo>
                    <a:pt x="250" y="24"/>
                    <a:pt x="244" y="11"/>
                    <a:pt x="240" y="9"/>
                  </a:cubicBezTo>
                  <a:cubicBezTo>
                    <a:pt x="236" y="7"/>
                    <a:pt x="224" y="0"/>
                    <a:pt x="224" y="0"/>
                  </a:cubicBezTo>
                  <a:cubicBezTo>
                    <a:pt x="224" y="0"/>
                    <a:pt x="216" y="41"/>
                    <a:pt x="208" y="41"/>
                  </a:cubicBezTo>
                  <a:cubicBezTo>
                    <a:pt x="200" y="41"/>
                    <a:pt x="197" y="21"/>
                    <a:pt x="192" y="21"/>
                  </a:cubicBezTo>
                  <a:cubicBezTo>
                    <a:pt x="187" y="21"/>
                    <a:pt x="182" y="31"/>
                    <a:pt x="182" y="31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0"/>
                    <a:pt x="143" y="80"/>
                    <a:pt x="143" y="88"/>
                  </a:cubicBezTo>
                  <a:cubicBezTo>
                    <a:pt x="143" y="96"/>
                    <a:pt x="145" y="114"/>
                    <a:pt x="145" y="114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23" y="116"/>
                    <a:pt x="112" y="130"/>
                    <a:pt x="111" y="135"/>
                  </a:cubicBezTo>
                  <a:cubicBezTo>
                    <a:pt x="110" y="140"/>
                    <a:pt x="115" y="150"/>
                    <a:pt x="110" y="155"/>
                  </a:cubicBezTo>
                  <a:cubicBezTo>
                    <a:pt x="105" y="160"/>
                    <a:pt x="94" y="164"/>
                    <a:pt x="94" y="164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89" y="190"/>
                    <a:pt x="96" y="213"/>
                    <a:pt x="90" y="221"/>
                  </a:cubicBezTo>
                  <a:cubicBezTo>
                    <a:pt x="84" y="229"/>
                    <a:pt x="78" y="226"/>
                    <a:pt x="78" y="226"/>
                  </a:cubicBezTo>
                  <a:cubicBezTo>
                    <a:pt x="78" y="226"/>
                    <a:pt x="76" y="215"/>
                    <a:pt x="71" y="215"/>
                  </a:cubicBezTo>
                  <a:cubicBezTo>
                    <a:pt x="66" y="215"/>
                    <a:pt x="60" y="228"/>
                    <a:pt x="60" y="235"/>
                  </a:cubicBezTo>
                  <a:cubicBezTo>
                    <a:pt x="60" y="242"/>
                    <a:pt x="66" y="253"/>
                    <a:pt x="65" y="256"/>
                  </a:cubicBezTo>
                  <a:cubicBezTo>
                    <a:pt x="64" y="259"/>
                    <a:pt x="49" y="270"/>
                    <a:pt x="48" y="278"/>
                  </a:cubicBezTo>
                  <a:cubicBezTo>
                    <a:pt x="47" y="286"/>
                    <a:pt x="54" y="305"/>
                    <a:pt x="54" y="305"/>
                  </a:cubicBezTo>
                  <a:cubicBezTo>
                    <a:pt x="54" y="305"/>
                    <a:pt x="57" y="336"/>
                    <a:pt x="50" y="341"/>
                  </a:cubicBezTo>
                  <a:cubicBezTo>
                    <a:pt x="43" y="346"/>
                    <a:pt x="36" y="351"/>
                    <a:pt x="36" y="351"/>
                  </a:cubicBezTo>
                  <a:cubicBezTo>
                    <a:pt x="31" y="346"/>
                    <a:pt x="31" y="346"/>
                    <a:pt x="31" y="346"/>
                  </a:cubicBezTo>
                  <a:cubicBezTo>
                    <a:pt x="8" y="345"/>
                    <a:pt x="8" y="345"/>
                    <a:pt x="8" y="345"/>
                  </a:cubicBezTo>
                  <a:cubicBezTo>
                    <a:pt x="10" y="361"/>
                    <a:pt x="10" y="361"/>
                    <a:pt x="10" y="361"/>
                  </a:cubicBezTo>
                  <a:cubicBezTo>
                    <a:pt x="10" y="361"/>
                    <a:pt x="0" y="378"/>
                    <a:pt x="3" y="383"/>
                  </a:cubicBezTo>
                  <a:cubicBezTo>
                    <a:pt x="6" y="388"/>
                    <a:pt x="22" y="382"/>
                    <a:pt x="30" y="386"/>
                  </a:cubicBezTo>
                  <a:cubicBezTo>
                    <a:pt x="38" y="390"/>
                    <a:pt x="55" y="405"/>
                    <a:pt x="55" y="405"/>
                  </a:cubicBezTo>
                  <a:cubicBezTo>
                    <a:pt x="55" y="405"/>
                    <a:pt x="56" y="420"/>
                    <a:pt x="60" y="425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7" name="Freeform 187">
              <a:extLst>
                <a:ext uri="{FF2B5EF4-FFF2-40B4-BE49-F238E27FC236}">
                  <a16:creationId xmlns:a16="http://schemas.microsoft.com/office/drawing/2014/main" id="{5401F592-98A8-E3B7-B9F7-CB4D33FE7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8493" y="3135335"/>
              <a:ext cx="301817" cy="310963"/>
            </a:xfrm>
            <a:custGeom>
              <a:avLst/>
              <a:gdLst>
                <a:gd name="T0" fmla="*/ 0 w 530"/>
                <a:gd name="T1" fmla="*/ 1 h 546"/>
                <a:gd name="T2" fmla="*/ 0 w 530"/>
                <a:gd name="T3" fmla="*/ 2 h 546"/>
                <a:gd name="T4" fmla="*/ 1 w 530"/>
                <a:gd name="T5" fmla="*/ 3 h 546"/>
                <a:gd name="T6" fmla="*/ 0 w 530"/>
                <a:gd name="T7" fmla="*/ 4 h 546"/>
                <a:gd name="T8" fmla="*/ 1 w 530"/>
                <a:gd name="T9" fmla="*/ 6 h 546"/>
                <a:gd name="T10" fmla="*/ 2 w 530"/>
                <a:gd name="T11" fmla="*/ 27 h 546"/>
                <a:gd name="T12" fmla="*/ 17 w 530"/>
                <a:gd name="T13" fmla="*/ 27 h 546"/>
                <a:gd name="T14" fmla="*/ 17 w 530"/>
                <a:gd name="T15" fmla="*/ 27 h 546"/>
                <a:gd name="T16" fmla="*/ 18 w 530"/>
                <a:gd name="T17" fmla="*/ 27 h 546"/>
                <a:gd name="T18" fmla="*/ 22 w 530"/>
                <a:gd name="T19" fmla="*/ 27 h 546"/>
                <a:gd name="T20" fmla="*/ 23 w 530"/>
                <a:gd name="T21" fmla="*/ 28 h 546"/>
                <a:gd name="T22" fmla="*/ 24 w 530"/>
                <a:gd name="T23" fmla="*/ 27 h 546"/>
                <a:gd name="T24" fmla="*/ 25 w 530"/>
                <a:gd name="T25" fmla="*/ 27 h 546"/>
                <a:gd name="T26" fmla="*/ 26 w 530"/>
                <a:gd name="T27" fmla="*/ 25 h 546"/>
                <a:gd name="T28" fmla="*/ 27 w 530"/>
                <a:gd name="T29" fmla="*/ 25 h 546"/>
                <a:gd name="T30" fmla="*/ 27 w 530"/>
                <a:gd name="T31" fmla="*/ 24 h 546"/>
                <a:gd name="T32" fmla="*/ 27 w 530"/>
                <a:gd name="T33" fmla="*/ 23 h 546"/>
                <a:gd name="T34" fmla="*/ 27 w 530"/>
                <a:gd name="T35" fmla="*/ 22 h 546"/>
                <a:gd name="T36" fmla="*/ 28 w 530"/>
                <a:gd name="T37" fmla="*/ 22 h 546"/>
                <a:gd name="T38" fmla="*/ 25 w 530"/>
                <a:gd name="T39" fmla="*/ 19 h 546"/>
                <a:gd name="T40" fmla="*/ 24 w 530"/>
                <a:gd name="T41" fmla="*/ 16 h 546"/>
                <a:gd name="T42" fmla="*/ 23 w 530"/>
                <a:gd name="T43" fmla="*/ 15 h 546"/>
                <a:gd name="T44" fmla="*/ 23 w 530"/>
                <a:gd name="T45" fmla="*/ 13 h 546"/>
                <a:gd name="T46" fmla="*/ 22 w 530"/>
                <a:gd name="T47" fmla="*/ 12 h 546"/>
                <a:gd name="T48" fmla="*/ 22 w 530"/>
                <a:gd name="T49" fmla="*/ 10 h 546"/>
                <a:gd name="T50" fmla="*/ 20 w 530"/>
                <a:gd name="T51" fmla="*/ 8 h 546"/>
                <a:gd name="T52" fmla="*/ 19 w 530"/>
                <a:gd name="T53" fmla="*/ 8 h 546"/>
                <a:gd name="T54" fmla="*/ 19 w 530"/>
                <a:gd name="T55" fmla="*/ 7 h 546"/>
                <a:gd name="T56" fmla="*/ 18 w 530"/>
                <a:gd name="T57" fmla="*/ 6 h 546"/>
                <a:gd name="T58" fmla="*/ 19 w 530"/>
                <a:gd name="T59" fmla="*/ 5 h 546"/>
                <a:gd name="T60" fmla="*/ 19 w 530"/>
                <a:gd name="T61" fmla="*/ 6 h 546"/>
                <a:gd name="T62" fmla="*/ 20 w 530"/>
                <a:gd name="T63" fmla="*/ 7 h 546"/>
                <a:gd name="T64" fmla="*/ 21 w 530"/>
                <a:gd name="T65" fmla="*/ 7 h 546"/>
                <a:gd name="T66" fmla="*/ 21 w 530"/>
                <a:gd name="T67" fmla="*/ 9 h 546"/>
                <a:gd name="T68" fmla="*/ 23 w 530"/>
                <a:gd name="T69" fmla="*/ 11 h 546"/>
                <a:gd name="T70" fmla="*/ 24 w 530"/>
                <a:gd name="T71" fmla="*/ 10 h 546"/>
                <a:gd name="T72" fmla="*/ 24 w 530"/>
                <a:gd name="T73" fmla="*/ 9 h 546"/>
                <a:gd name="T74" fmla="*/ 24 w 530"/>
                <a:gd name="T75" fmla="*/ 7 h 546"/>
                <a:gd name="T76" fmla="*/ 25 w 530"/>
                <a:gd name="T77" fmla="*/ 6 h 546"/>
                <a:gd name="T78" fmla="*/ 23 w 530"/>
                <a:gd name="T79" fmla="*/ 1 h 546"/>
                <a:gd name="T80" fmla="*/ 20 w 530"/>
                <a:gd name="T81" fmla="*/ 1 h 546"/>
                <a:gd name="T82" fmla="*/ 19 w 530"/>
                <a:gd name="T83" fmla="*/ 1 h 546"/>
                <a:gd name="T84" fmla="*/ 18 w 530"/>
                <a:gd name="T85" fmla="*/ 1 h 546"/>
                <a:gd name="T86" fmla="*/ 17 w 530"/>
                <a:gd name="T87" fmla="*/ 0 h 546"/>
                <a:gd name="T88" fmla="*/ 15 w 530"/>
                <a:gd name="T89" fmla="*/ 1 h 546"/>
                <a:gd name="T90" fmla="*/ 14 w 530"/>
                <a:gd name="T91" fmla="*/ 0 h 546"/>
                <a:gd name="T92" fmla="*/ 13 w 530"/>
                <a:gd name="T93" fmla="*/ 1 h 546"/>
                <a:gd name="T94" fmla="*/ 12 w 530"/>
                <a:gd name="T95" fmla="*/ 1 h 546"/>
                <a:gd name="T96" fmla="*/ 11 w 530"/>
                <a:gd name="T97" fmla="*/ 2 h 546"/>
                <a:gd name="T98" fmla="*/ 9 w 530"/>
                <a:gd name="T99" fmla="*/ 1 h 546"/>
                <a:gd name="T100" fmla="*/ 7 w 530"/>
                <a:gd name="T101" fmla="*/ 1 h 546"/>
                <a:gd name="T102" fmla="*/ 6 w 530"/>
                <a:gd name="T103" fmla="*/ 1 h 546"/>
                <a:gd name="T104" fmla="*/ 4 w 530"/>
                <a:gd name="T105" fmla="*/ 0 h 546"/>
                <a:gd name="T106" fmla="*/ 3 w 530"/>
                <a:gd name="T107" fmla="*/ 0 h 546"/>
                <a:gd name="T108" fmla="*/ 1 w 530"/>
                <a:gd name="T109" fmla="*/ 0 h 546"/>
                <a:gd name="T110" fmla="*/ 1 w 530"/>
                <a:gd name="T111" fmla="*/ 0 h 546"/>
                <a:gd name="T112" fmla="*/ 0 w 530"/>
                <a:gd name="T113" fmla="*/ 1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30"/>
                <a:gd name="T172" fmla="*/ 0 h 546"/>
                <a:gd name="T173" fmla="*/ 530 w 530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30" h="546">
                  <a:moveTo>
                    <a:pt x="11" y="13"/>
                  </a:moveTo>
                  <a:cubicBezTo>
                    <a:pt x="6" y="16"/>
                    <a:pt x="6" y="30"/>
                    <a:pt x="7" y="34"/>
                  </a:cubicBezTo>
                  <a:cubicBezTo>
                    <a:pt x="8" y="38"/>
                    <a:pt x="20" y="45"/>
                    <a:pt x="17" y="54"/>
                  </a:cubicBezTo>
                  <a:cubicBezTo>
                    <a:pt x="14" y="63"/>
                    <a:pt x="0" y="75"/>
                    <a:pt x="3" y="82"/>
                  </a:cubicBezTo>
                  <a:cubicBezTo>
                    <a:pt x="6" y="89"/>
                    <a:pt x="21" y="107"/>
                    <a:pt x="21" y="120"/>
                  </a:cubicBezTo>
                  <a:cubicBezTo>
                    <a:pt x="21" y="133"/>
                    <a:pt x="34" y="518"/>
                    <a:pt x="34" y="518"/>
                  </a:cubicBezTo>
                  <a:cubicBezTo>
                    <a:pt x="320" y="522"/>
                    <a:pt x="320" y="522"/>
                    <a:pt x="320" y="522"/>
                  </a:cubicBezTo>
                  <a:cubicBezTo>
                    <a:pt x="320" y="522"/>
                    <a:pt x="322" y="512"/>
                    <a:pt x="329" y="510"/>
                  </a:cubicBezTo>
                  <a:cubicBezTo>
                    <a:pt x="336" y="508"/>
                    <a:pt x="334" y="518"/>
                    <a:pt x="334" y="518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25" y="546"/>
                    <a:pt x="438" y="539"/>
                  </a:cubicBezTo>
                  <a:cubicBezTo>
                    <a:pt x="451" y="532"/>
                    <a:pt x="450" y="511"/>
                    <a:pt x="460" y="508"/>
                  </a:cubicBezTo>
                  <a:cubicBezTo>
                    <a:pt x="470" y="505"/>
                    <a:pt x="472" y="509"/>
                    <a:pt x="482" y="505"/>
                  </a:cubicBezTo>
                  <a:cubicBezTo>
                    <a:pt x="492" y="501"/>
                    <a:pt x="492" y="478"/>
                    <a:pt x="492" y="478"/>
                  </a:cubicBezTo>
                  <a:cubicBezTo>
                    <a:pt x="509" y="477"/>
                    <a:pt x="509" y="477"/>
                    <a:pt x="509" y="477"/>
                  </a:cubicBezTo>
                  <a:cubicBezTo>
                    <a:pt x="525" y="462"/>
                    <a:pt x="525" y="462"/>
                    <a:pt x="525" y="462"/>
                  </a:cubicBezTo>
                  <a:cubicBezTo>
                    <a:pt x="522" y="456"/>
                    <a:pt x="520" y="450"/>
                    <a:pt x="520" y="445"/>
                  </a:cubicBezTo>
                  <a:cubicBezTo>
                    <a:pt x="519" y="430"/>
                    <a:pt x="518" y="416"/>
                    <a:pt x="518" y="416"/>
                  </a:cubicBezTo>
                  <a:cubicBezTo>
                    <a:pt x="530" y="415"/>
                    <a:pt x="530" y="415"/>
                    <a:pt x="530" y="415"/>
                  </a:cubicBezTo>
                  <a:cubicBezTo>
                    <a:pt x="530" y="415"/>
                    <a:pt x="503" y="397"/>
                    <a:pt x="490" y="369"/>
                  </a:cubicBezTo>
                  <a:cubicBezTo>
                    <a:pt x="477" y="341"/>
                    <a:pt x="478" y="326"/>
                    <a:pt x="469" y="315"/>
                  </a:cubicBezTo>
                  <a:cubicBezTo>
                    <a:pt x="460" y="304"/>
                    <a:pt x="456" y="302"/>
                    <a:pt x="448" y="288"/>
                  </a:cubicBezTo>
                  <a:cubicBezTo>
                    <a:pt x="440" y="274"/>
                    <a:pt x="440" y="252"/>
                    <a:pt x="440" y="252"/>
                  </a:cubicBezTo>
                  <a:cubicBezTo>
                    <a:pt x="415" y="225"/>
                    <a:pt x="415" y="225"/>
                    <a:pt x="415" y="225"/>
                  </a:cubicBezTo>
                  <a:cubicBezTo>
                    <a:pt x="415" y="225"/>
                    <a:pt x="418" y="216"/>
                    <a:pt x="412" y="204"/>
                  </a:cubicBezTo>
                  <a:cubicBezTo>
                    <a:pt x="406" y="192"/>
                    <a:pt x="380" y="170"/>
                    <a:pt x="378" y="161"/>
                  </a:cubicBezTo>
                  <a:cubicBezTo>
                    <a:pt x="376" y="152"/>
                    <a:pt x="368" y="147"/>
                    <a:pt x="368" y="147"/>
                  </a:cubicBezTo>
                  <a:cubicBezTo>
                    <a:pt x="368" y="147"/>
                    <a:pt x="376" y="137"/>
                    <a:pt x="368" y="126"/>
                  </a:cubicBezTo>
                  <a:cubicBezTo>
                    <a:pt x="360" y="115"/>
                    <a:pt x="350" y="112"/>
                    <a:pt x="350" y="112"/>
                  </a:cubicBezTo>
                  <a:cubicBezTo>
                    <a:pt x="361" y="99"/>
                    <a:pt x="361" y="99"/>
                    <a:pt x="361" y="99"/>
                  </a:cubicBezTo>
                  <a:cubicBezTo>
                    <a:pt x="373" y="107"/>
                    <a:pt x="373" y="107"/>
                    <a:pt x="373" y="107"/>
                  </a:cubicBezTo>
                  <a:cubicBezTo>
                    <a:pt x="373" y="107"/>
                    <a:pt x="372" y="124"/>
                    <a:pt x="381" y="130"/>
                  </a:cubicBezTo>
                  <a:cubicBezTo>
                    <a:pt x="390" y="136"/>
                    <a:pt x="395" y="145"/>
                    <a:pt x="395" y="145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4" y="162"/>
                    <a:pt x="426" y="214"/>
                    <a:pt x="438" y="207"/>
                  </a:cubicBezTo>
                  <a:cubicBezTo>
                    <a:pt x="450" y="200"/>
                    <a:pt x="456" y="195"/>
                    <a:pt x="456" y="195"/>
                  </a:cubicBezTo>
                  <a:cubicBezTo>
                    <a:pt x="449" y="183"/>
                    <a:pt x="449" y="183"/>
                    <a:pt x="449" y="183"/>
                  </a:cubicBezTo>
                  <a:cubicBezTo>
                    <a:pt x="449" y="183"/>
                    <a:pt x="462" y="157"/>
                    <a:pt x="462" y="143"/>
                  </a:cubicBezTo>
                  <a:cubicBezTo>
                    <a:pt x="462" y="129"/>
                    <a:pt x="471" y="112"/>
                    <a:pt x="471" y="112"/>
                  </a:cubicBezTo>
                  <a:cubicBezTo>
                    <a:pt x="435" y="19"/>
                    <a:pt x="435" y="19"/>
                    <a:pt x="435" y="19"/>
                  </a:cubicBezTo>
                  <a:cubicBezTo>
                    <a:pt x="435" y="19"/>
                    <a:pt x="397" y="34"/>
                    <a:pt x="388" y="30"/>
                  </a:cubicBezTo>
                  <a:cubicBezTo>
                    <a:pt x="379" y="26"/>
                    <a:pt x="373" y="22"/>
                    <a:pt x="373" y="22"/>
                  </a:cubicBezTo>
                  <a:cubicBezTo>
                    <a:pt x="373" y="22"/>
                    <a:pt x="364" y="33"/>
                    <a:pt x="350" y="26"/>
                  </a:cubicBezTo>
                  <a:cubicBezTo>
                    <a:pt x="336" y="19"/>
                    <a:pt x="341" y="10"/>
                    <a:pt x="325" y="7"/>
                  </a:cubicBezTo>
                  <a:cubicBezTo>
                    <a:pt x="309" y="4"/>
                    <a:pt x="288" y="14"/>
                    <a:pt x="288" y="14"/>
                  </a:cubicBezTo>
                  <a:cubicBezTo>
                    <a:pt x="288" y="14"/>
                    <a:pt x="273" y="7"/>
                    <a:pt x="262" y="11"/>
                  </a:cubicBezTo>
                  <a:cubicBezTo>
                    <a:pt x="251" y="15"/>
                    <a:pt x="243" y="30"/>
                    <a:pt x="243" y="30"/>
                  </a:cubicBezTo>
                  <a:cubicBezTo>
                    <a:pt x="243" y="30"/>
                    <a:pt x="231" y="28"/>
                    <a:pt x="227" y="30"/>
                  </a:cubicBezTo>
                  <a:cubicBezTo>
                    <a:pt x="223" y="32"/>
                    <a:pt x="210" y="43"/>
                    <a:pt x="210" y="43"/>
                  </a:cubicBezTo>
                  <a:cubicBezTo>
                    <a:pt x="210" y="43"/>
                    <a:pt x="176" y="29"/>
                    <a:pt x="170" y="29"/>
                  </a:cubicBezTo>
                  <a:cubicBezTo>
                    <a:pt x="164" y="29"/>
                    <a:pt x="153" y="32"/>
                    <a:pt x="140" y="29"/>
                  </a:cubicBezTo>
                  <a:cubicBezTo>
                    <a:pt x="127" y="26"/>
                    <a:pt x="125" y="14"/>
                    <a:pt x="112" y="13"/>
                  </a:cubicBezTo>
                  <a:cubicBezTo>
                    <a:pt x="99" y="12"/>
                    <a:pt x="89" y="12"/>
                    <a:pt x="89" y="12"/>
                  </a:cubicBezTo>
                  <a:cubicBezTo>
                    <a:pt x="89" y="12"/>
                    <a:pt x="69" y="1"/>
                    <a:pt x="60" y="1"/>
                  </a:cubicBezTo>
                  <a:cubicBezTo>
                    <a:pt x="51" y="1"/>
                    <a:pt x="46" y="15"/>
                    <a:pt x="31" y="6"/>
                  </a:cubicBezTo>
                  <a:cubicBezTo>
                    <a:pt x="28" y="4"/>
                    <a:pt x="26" y="2"/>
                    <a:pt x="24" y="0"/>
                  </a:cubicBezTo>
                  <a:cubicBezTo>
                    <a:pt x="21" y="4"/>
                    <a:pt x="15" y="11"/>
                    <a:pt x="11" y="1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8" name="Freeform 188">
              <a:extLst>
                <a:ext uri="{FF2B5EF4-FFF2-40B4-BE49-F238E27FC236}">
                  <a16:creationId xmlns:a16="http://schemas.microsoft.com/office/drawing/2014/main" id="{01527DFC-E797-F7AE-F0E4-0F811351B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301" y="3007291"/>
              <a:ext cx="320109" cy="251515"/>
            </a:xfrm>
            <a:custGeom>
              <a:avLst/>
              <a:gdLst>
                <a:gd name="T0" fmla="*/ 28 w 565"/>
                <a:gd name="T1" fmla="*/ 9 h 438"/>
                <a:gd name="T2" fmla="*/ 28 w 565"/>
                <a:gd name="T3" fmla="*/ 8 h 438"/>
                <a:gd name="T4" fmla="*/ 28 w 565"/>
                <a:gd name="T5" fmla="*/ 8 h 438"/>
                <a:gd name="T6" fmla="*/ 28 w 565"/>
                <a:gd name="T7" fmla="*/ 7 h 438"/>
                <a:gd name="T8" fmla="*/ 28 w 565"/>
                <a:gd name="T9" fmla="*/ 6 h 438"/>
                <a:gd name="T10" fmla="*/ 28 w 565"/>
                <a:gd name="T11" fmla="*/ 4 h 438"/>
                <a:gd name="T12" fmla="*/ 28 w 565"/>
                <a:gd name="T13" fmla="*/ 4 h 438"/>
                <a:gd name="T14" fmla="*/ 28 w 565"/>
                <a:gd name="T15" fmla="*/ 3 h 438"/>
                <a:gd name="T16" fmla="*/ 27 w 565"/>
                <a:gd name="T17" fmla="*/ 2 h 438"/>
                <a:gd name="T18" fmla="*/ 25 w 565"/>
                <a:gd name="T19" fmla="*/ 2 h 438"/>
                <a:gd name="T20" fmla="*/ 24 w 565"/>
                <a:gd name="T21" fmla="*/ 2 h 438"/>
                <a:gd name="T22" fmla="*/ 23 w 565"/>
                <a:gd name="T23" fmla="*/ 2 h 438"/>
                <a:gd name="T24" fmla="*/ 21 w 565"/>
                <a:gd name="T25" fmla="*/ 2 h 438"/>
                <a:gd name="T26" fmla="*/ 19 w 565"/>
                <a:gd name="T27" fmla="*/ 0 h 438"/>
                <a:gd name="T28" fmla="*/ 18 w 565"/>
                <a:gd name="T29" fmla="*/ 0 h 438"/>
                <a:gd name="T30" fmla="*/ 17 w 565"/>
                <a:gd name="T31" fmla="*/ 3 h 438"/>
                <a:gd name="T32" fmla="*/ 16 w 565"/>
                <a:gd name="T33" fmla="*/ 6 h 438"/>
                <a:gd name="T34" fmla="*/ 14 w 565"/>
                <a:gd name="T35" fmla="*/ 6 h 438"/>
                <a:gd name="T36" fmla="*/ 13 w 565"/>
                <a:gd name="T37" fmla="*/ 7 h 438"/>
                <a:gd name="T38" fmla="*/ 12 w 565"/>
                <a:gd name="T39" fmla="*/ 7 h 438"/>
                <a:gd name="T40" fmla="*/ 12 w 565"/>
                <a:gd name="T41" fmla="*/ 8 h 438"/>
                <a:gd name="T42" fmla="*/ 11 w 565"/>
                <a:gd name="T43" fmla="*/ 9 h 438"/>
                <a:gd name="T44" fmla="*/ 10 w 565"/>
                <a:gd name="T45" fmla="*/ 9 h 438"/>
                <a:gd name="T46" fmla="*/ 10 w 565"/>
                <a:gd name="T47" fmla="*/ 11 h 438"/>
                <a:gd name="T48" fmla="*/ 9 w 565"/>
                <a:gd name="T49" fmla="*/ 13 h 438"/>
                <a:gd name="T50" fmla="*/ 9 w 565"/>
                <a:gd name="T51" fmla="*/ 14 h 438"/>
                <a:gd name="T52" fmla="*/ 8 w 565"/>
                <a:gd name="T53" fmla="*/ 15 h 438"/>
                <a:gd name="T54" fmla="*/ 9 w 565"/>
                <a:gd name="T55" fmla="*/ 15 h 438"/>
                <a:gd name="T56" fmla="*/ 9 w 565"/>
                <a:gd name="T57" fmla="*/ 17 h 438"/>
                <a:gd name="T58" fmla="*/ 8 w 565"/>
                <a:gd name="T59" fmla="*/ 17 h 438"/>
                <a:gd name="T60" fmla="*/ 7 w 565"/>
                <a:gd name="T61" fmla="*/ 19 h 438"/>
                <a:gd name="T62" fmla="*/ 5 w 565"/>
                <a:gd name="T63" fmla="*/ 20 h 438"/>
                <a:gd name="T64" fmla="*/ 4 w 565"/>
                <a:gd name="T65" fmla="*/ 21 h 438"/>
                <a:gd name="T66" fmla="*/ 1 w 565"/>
                <a:gd name="T67" fmla="*/ 23 h 438"/>
                <a:gd name="T68" fmla="*/ 0 w 565"/>
                <a:gd name="T69" fmla="*/ 23 h 438"/>
                <a:gd name="T70" fmla="*/ 0 w 565"/>
                <a:gd name="T71" fmla="*/ 23 h 438"/>
                <a:gd name="T72" fmla="*/ 11 w 565"/>
                <a:gd name="T73" fmla="*/ 23 h 438"/>
                <a:gd name="T74" fmla="*/ 11 w 565"/>
                <a:gd name="T75" fmla="*/ 21 h 438"/>
                <a:gd name="T76" fmla="*/ 11 w 565"/>
                <a:gd name="T77" fmla="*/ 20 h 438"/>
                <a:gd name="T78" fmla="*/ 12 w 565"/>
                <a:gd name="T79" fmla="*/ 20 h 438"/>
                <a:gd name="T80" fmla="*/ 13 w 565"/>
                <a:gd name="T81" fmla="*/ 18 h 438"/>
                <a:gd name="T82" fmla="*/ 13 w 565"/>
                <a:gd name="T83" fmla="*/ 18 h 438"/>
                <a:gd name="T84" fmla="*/ 14 w 565"/>
                <a:gd name="T85" fmla="*/ 18 h 438"/>
                <a:gd name="T86" fmla="*/ 16 w 565"/>
                <a:gd name="T87" fmla="*/ 18 h 438"/>
                <a:gd name="T88" fmla="*/ 16 w 565"/>
                <a:gd name="T89" fmla="*/ 17 h 438"/>
                <a:gd name="T90" fmla="*/ 17 w 565"/>
                <a:gd name="T91" fmla="*/ 17 h 438"/>
                <a:gd name="T92" fmla="*/ 17 w 565"/>
                <a:gd name="T93" fmla="*/ 17 h 438"/>
                <a:gd name="T94" fmla="*/ 19 w 565"/>
                <a:gd name="T95" fmla="*/ 17 h 438"/>
                <a:gd name="T96" fmla="*/ 20 w 565"/>
                <a:gd name="T97" fmla="*/ 15 h 438"/>
                <a:gd name="T98" fmla="*/ 21 w 565"/>
                <a:gd name="T99" fmla="*/ 15 h 438"/>
                <a:gd name="T100" fmla="*/ 22 w 565"/>
                <a:gd name="T101" fmla="*/ 14 h 438"/>
                <a:gd name="T102" fmla="*/ 23 w 565"/>
                <a:gd name="T103" fmla="*/ 14 h 438"/>
                <a:gd name="T104" fmla="*/ 23 w 565"/>
                <a:gd name="T105" fmla="*/ 13 h 438"/>
                <a:gd name="T106" fmla="*/ 23 w 565"/>
                <a:gd name="T107" fmla="*/ 12 h 438"/>
                <a:gd name="T108" fmla="*/ 25 w 565"/>
                <a:gd name="T109" fmla="*/ 12 h 438"/>
                <a:gd name="T110" fmla="*/ 25 w 565"/>
                <a:gd name="T111" fmla="*/ 11 h 438"/>
                <a:gd name="T112" fmla="*/ 25 w 565"/>
                <a:gd name="T113" fmla="*/ 11 h 438"/>
                <a:gd name="T114" fmla="*/ 26 w 565"/>
                <a:gd name="T115" fmla="*/ 11 h 438"/>
                <a:gd name="T116" fmla="*/ 26 w 565"/>
                <a:gd name="T117" fmla="*/ 11 h 438"/>
                <a:gd name="T118" fmla="*/ 29 w 565"/>
                <a:gd name="T119" fmla="*/ 11 h 438"/>
                <a:gd name="T120" fmla="*/ 29 w 565"/>
                <a:gd name="T121" fmla="*/ 10 h 438"/>
                <a:gd name="T122" fmla="*/ 29 w 565"/>
                <a:gd name="T123" fmla="*/ 9 h 438"/>
                <a:gd name="T124" fmla="*/ 28 w 565"/>
                <a:gd name="T125" fmla="*/ 9 h 4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5"/>
                <a:gd name="T190" fmla="*/ 0 h 438"/>
                <a:gd name="T191" fmla="*/ 565 w 565"/>
                <a:gd name="T192" fmla="*/ 438 h 4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5" h="438">
                  <a:moveTo>
                    <a:pt x="547" y="165"/>
                  </a:moveTo>
                  <a:cubicBezTo>
                    <a:pt x="550" y="145"/>
                    <a:pt x="550" y="145"/>
                    <a:pt x="550" y="145"/>
                  </a:cubicBezTo>
                  <a:cubicBezTo>
                    <a:pt x="536" y="145"/>
                    <a:pt x="536" y="145"/>
                    <a:pt x="536" y="145"/>
                  </a:cubicBezTo>
                  <a:cubicBezTo>
                    <a:pt x="543" y="124"/>
                    <a:pt x="543" y="124"/>
                    <a:pt x="543" y="124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540" y="68"/>
                    <a:pt x="540" y="68"/>
                    <a:pt x="540" y="68"/>
                  </a:cubicBezTo>
                  <a:cubicBezTo>
                    <a:pt x="532" y="68"/>
                    <a:pt x="532" y="68"/>
                    <a:pt x="532" y="68"/>
                  </a:cubicBezTo>
                  <a:cubicBezTo>
                    <a:pt x="532" y="68"/>
                    <a:pt x="536" y="57"/>
                    <a:pt x="536" y="56"/>
                  </a:cubicBezTo>
                  <a:cubicBezTo>
                    <a:pt x="526" y="52"/>
                    <a:pt x="522" y="43"/>
                    <a:pt x="521" y="39"/>
                  </a:cubicBezTo>
                  <a:cubicBezTo>
                    <a:pt x="508" y="36"/>
                    <a:pt x="496" y="26"/>
                    <a:pt x="487" y="26"/>
                  </a:cubicBezTo>
                  <a:cubicBezTo>
                    <a:pt x="477" y="26"/>
                    <a:pt x="470" y="34"/>
                    <a:pt x="470" y="34"/>
                  </a:cubicBezTo>
                  <a:cubicBezTo>
                    <a:pt x="470" y="34"/>
                    <a:pt x="447" y="29"/>
                    <a:pt x="439" y="29"/>
                  </a:cubicBezTo>
                  <a:cubicBezTo>
                    <a:pt x="431" y="29"/>
                    <a:pt x="423" y="38"/>
                    <a:pt x="408" y="33"/>
                  </a:cubicBezTo>
                  <a:cubicBezTo>
                    <a:pt x="393" y="28"/>
                    <a:pt x="378" y="4"/>
                    <a:pt x="374" y="2"/>
                  </a:cubicBezTo>
                  <a:cubicBezTo>
                    <a:pt x="370" y="0"/>
                    <a:pt x="354" y="0"/>
                    <a:pt x="354" y="0"/>
                  </a:cubicBezTo>
                  <a:cubicBezTo>
                    <a:pt x="354" y="0"/>
                    <a:pt x="343" y="35"/>
                    <a:pt x="337" y="48"/>
                  </a:cubicBezTo>
                  <a:cubicBezTo>
                    <a:pt x="331" y="61"/>
                    <a:pt x="312" y="98"/>
                    <a:pt x="300" y="107"/>
                  </a:cubicBezTo>
                  <a:cubicBezTo>
                    <a:pt x="288" y="116"/>
                    <a:pt x="272" y="112"/>
                    <a:pt x="267" y="116"/>
                  </a:cubicBezTo>
                  <a:cubicBezTo>
                    <a:pt x="262" y="120"/>
                    <a:pt x="251" y="131"/>
                    <a:pt x="251" y="131"/>
                  </a:cubicBezTo>
                  <a:cubicBezTo>
                    <a:pt x="239" y="128"/>
                    <a:pt x="239" y="128"/>
                    <a:pt x="239" y="12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17" y="150"/>
                    <a:pt x="211" y="158"/>
                  </a:cubicBezTo>
                  <a:cubicBezTo>
                    <a:pt x="211" y="158"/>
                    <a:pt x="191" y="170"/>
                    <a:pt x="191" y="174"/>
                  </a:cubicBezTo>
                  <a:cubicBezTo>
                    <a:pt x="191" y="178"/>
                    <a:pt x="195" y="192"/>
                    <a:pt x="188" y="199"/>
                  </a:cubicBezTo>
                  <a:cubicBezTo>
                    <a:pt x="181" y="206"/>
                    <a:pt x="164" y="230"/>
                    <a:pt x="165" y="244"/>
                  </a:cubicBezTo>
                  <a:cubicBezTo>
                    <a:pt x="166" y="258"/>
                    <a:pt x="166" y="269"/>
                    <a:pt x="166" y="269"/>
                  </a:cubicBezTo>
                  <a:cubicBezTo>
                    <a:pt x="166" y="269"/>
                    <a:pt x="158" y="273"/>
                    <a:pt x="158" y="276"/>
                  </a:cubicBezTo>
                  <a:cubicBezTo>
                    <a:pt x="158" y="279"/>
                    <a:pt x="173" y="277"/>
                    <a:pt x="170" y="292"/>
                  </a:cubicBezTo>
                  <a:cubicBezTo>
                    <a:pt x="167" y="307"/>
                    <a:pt x="169" y="316"/>
                    <a:pt x="169" y="316"/>
                  </a:cubicBezTo>
                  <a:cubicBezTo>
                    <a:pt x="169" y="316"/>
                    <a:pt x="163" y="310"/>
                    <a:pt x="154" y="321"/>
                  </a:cubicBezTo>
                  <a:cubicBezTo>
                    <a:pt x="145" y="332"/>
                    <a:pt x="138" y="348"/>
                    <a:pt x="130" y="359"/>
                  </a:cubicBezTo>
                  <a:cubicBezTo>
                    <a:pt x="122" y="370"/>
                    <a:pt x="108" y="366"/>
                    <a:pt x="101" y="376"/>
                  </a:cubicBezTo>
                  <a:cubicBezTo>
                    <a:pt x="94" y="386"/>
                    <a:pt x="86" y="398"/>
                    <a:pt x="80" y="404"/>
                  </a:cubicBezTo>
                  <a:cubicBezTo>
                    <a:pt x="74" y="410"/>
                    <a:pt x="36" y="420"/>
                    <a:pt x="32" y="421"/>
                  </a:cubicBezTo>
                  <a:cubicBezTo>
                    <a:pt x="28" y="422"/>
                    <a:pt x="9" y="423"/>
                    <a:pt x="9" y="423"/>
                  </a:cubicBezTo>
                  <a:cubicBezTo>
                    <a:pt x="9" y="423"/>
                    <a:pt x="4" y="429"/>
                    <a:pt x="0" y="438"/>
                  </a:cubicBezTo>
                  <a:cubicBezTo>
                    <a:pt x="207" y="438"/>
                    <a:pt x="207" y="438"/>
                    <a:pt x="207" y="438"/>
                  </a:cubicBezTo>
                  <a:cubicBezTo>
                    <a:pt x="209" y="399"/>
                    <a:pt x="209" y="399"/>
                    <a:pt x="209" y="399"/>
                  </a:cubicBezTo>
                  <a:cubicBezTo>
                    <a:pt x="212" y="381"/>
                    <a:pt x="212" y="381"/>
                    <a:pt x="212" y="381"/>
                  </a:cubicBezTo>
                  <a:cubicBezTo>
                    <a:pt x="212" y="381"/>
                    <a:pt x="225" y="374"/>
                    <a:pt x="232" y="369"/>
                  </a:cubicBezTo>
                  <a:cubicBezTo>
                    <a:pt x="239" y="364"/>
                    <a:pt x="253" y="344"/>
                    <a:pt x="253" y="344"/>
                  </a:cubicBezTo>
                  <a:cubicBezTo>
                    <a:pt x="265" y="345"/>
                    <a:pt x="265" y="345"/>
                    <a:pt x="265" y="345"/>
                  </a:cubicBezTo>
                  <a:cubicBezTo>
                    <a:pt x="283" y="331"/>
                    <a:pt x="283" y="331"/>
                    <a:pt x="283" y="331"/>
                  </a:cubicBezTo>
                  <a:cubicBezTo>
                    <a:pt x="283" y="331"/>
                    <a:pt x="296" y="340"/>
                    <a:pt x="302" y="339"/>
                  </a:cubicBezTo>
                  <a:cubicBezTo>
                    <a:pt x="308" y="338"/>
                    <a:pt x="308" y="326"/>
                    <a:pt x="308" y="326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7" y="317"/>
                    <a:pt x="327" y="317"/>
                    <a:pt x="327" y="317"/>
                  </a:cubicBezTo>
                  <a:cubicBezTo>
                    <a:pt x="327" y="317"/>
                    <a:pt x="353" y="321"/>
                    <a:pt x="361" y="318"/>
                  </a:cubicBezTo>
                  <a:cubicBezTo>
                    <a:pt x="369" y="315"/>
                    <a:pt x="384" y="284"/>
                    <a:pt x="384" y="284"/>
                  </a:cubicBezTo>
                  <a:cubicBezTo>
                    <a:pt x="384" y="284"/>
                    <a:pt x="408" y="283"/>
                    <a:pt x="414" y="283"/>
                  </a:cubicBezTo>
                  <a:cubicBezTo>
                    <a:pt x="420" y="283"/>
                    <a:pt x="432" y="264"/>
                    <a:pt x="432" y="264"/>
                  </a:cubicBezTo>
                  <a:cubicBezTo>
                    <a:pt x="449" y="257"/>
                    <a:pt x="449" y="257"/>
                    <a:pt x="449" y="257"/>
                  </a:cubicBezTo>
                  <a:cubicBezTo>
                    <a:pt x="439" y="245"/>
                    <a:pt x="439" y="245"/>
                    <a:pt x="439" y="245"/>
                  </a:cubicBezTo>
                  <a:cubicBezTo>
                    <a:pt x="439" y="245"/>
                    <a:pt x="430" y="228"/>
                    <a:pt x="438" y="221"/>
                  </a:cubicBezTo>
                  <a:cubicBezTo>
                    <a:pt x="446" y="214"/>
                    <a:pt x="468" y="220"/>
                    <a:pt x="475" y="215"/>
                  </a:cubicBezTo>
                  <a:cubicBezTo>
                    <a:pt x="482" y="210"/>
                    <a:pt x="475" y="203"/>
                    <a:pt x="480" y="200"/>
                  </a:cubicBezTo>
                  <a:cubicBezTo>
                    <a:pt x="485" y="197"/>
                    <a:pt x="493" y="202"/>
                    <a:pt x="493" y="202"/>
                  </a:cubicBezTo>
                  <a:cubicBezTo>
                    <a:pt x="493" y="202"/>
                    <a:pt x="497" y="195"/>
                    <a:pt x="501" y="195"/>
                  </a:cubicBezTo>
                  <a:cubicBezTo>
                    <a:pt x="505" y="195"/>
                    <a:pt x="515" y="201"/>
                    <a:pt x="515" y="201"/>
                  </a:cubicBezTo>
                  <a:cubicBezTo>
                    <a:pt x="553" y="196"/>
                    <a:pt x="553" y="196"/>
                    <a:pt x="553" y="196"/>
                  </a:cubicBezTo>
                  <a:cubicBezTo>
                    <a:pt x="553" y="196"/>
                    <a:pt x="552" y="189"/>
                    <a:pt x="554" y="186"/>
                  </a:cubicBezTo>
                  <a:cubicBezTo>
                    <a:pt x="556" y="183"/>
                    <a:pt x="565" y="177"/>
                    <a:pt x="565" y="177"/>
                  </a:cubicBezTo>
                  <a:lnTo>
                    <a:pt x="547" y="165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79" name="Freeform 189">
              <a:extLst>
                <a:ext uri="{FF2B5EF4-FFF2-40B4-BE49-F238E27FC236}">
                  <a16:creationId xmlns:a16="http://schemas.microsoft.com/office/drawing/2014/main" id="{81DCCE7F-EFAB-BDCE-E5F5-A67B3F3D5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962" y="2958513"/>
              <a:ext cx="106703" cy="221028"/>
            </a:xfrm>
            <a:custGeom>
              <a:avLst/>
              <a:gdLst>
                <a:gd name="T0" fmla="*/ 1 w 187"/>
                <a:gd name="T1" fmla="*/ 3 h 387"/>
                <a:gd name="T2" fmla="*/ 2 w 187"/>
                <a:gd name="T3" fmla="*/ 3 h 387"/>
                <a:gd name="T4" fmla="*/ 1 w 187"/>
                <a:gd name="T5" fmla="*/ 5 h 387"/>
                <a:gd name="T6" fmla="*/ 2 w 187"/>
                <a:gd name="T7" fmla="*/ 6 h 387"/>
                <a:gd name="T8" fmla="*/ 1 w 187"/>
                <a:gd name="T9" fmla="*/ 8 h 387"/>
                <a:gd name="T10" fmla="*/ 1 w 187"/>
                <a:gd name="T11" fmla="*/ 9 h 387"/>
                <a:gd name="T12" fmla="*/ 0 w 187"/>
                <a:gd name="T13" fmla="*/ 10 h 387"/>
                <a:gd name="T14" fmla="*/ 0 w 187"/>
                <a:gd name="T15" fmla="*/ 11 h 387"/>
                <a:gd name="T16" fmla="*/ 0 w 187"/>
                <a:gd name="T17" fmla="*/ 11 h 387"/>
                <a:gd name="T18" fmla="*/ 0 w 187"/>
                <a:gd name="T19" fmla="*/ 12 h 387"/>
                <a:gd name="T20" fmla="*/ 2 w 187"/>
                <a:gd name="T21" fmla="*/ 13 h 387"/>
                <a:gd name="T22" fmla="*/ 2 w 187"/>
                <a:gd name="T23" fmla="*/ 14 h 387"/>
                <a:gd name="T24" fmla="*/ 3 w 187"/>
                <a:gd name="T25" fmla="*/ 15 h 387"/>
                <a:gd name="T26" fmla="*/ 4 w 187"/>
                <a:gd name="T27" fmla="*/ 20 h 387"/>
                <a:gd name="T28" fmla="*/ 6 w 187"/>
                <a:gd name="T29" fmla="*/ 20 h 387"/>
                <a:gd name="T30" fmla="*/ 6 w 187"/>
                <a:gd name="T31" fmla="*/ 19 h 387"/>
                <a:gd name="T32" fmla="*/ 6 w 187"/>
                <a:gd name="T33" fmla="*/ 17 h 387"/>
                <a:gd name="T34" fmla="*/ 7 w 187"/>
                <a:gd name="T35" fmla="*/ 16 h 387"/>
                <a:gd name="T36" fmla="*/ 8 w 187"/>
                <a:gd name="T37" fmla="*/ 15 h 387"/>
                <a:gd name="T38" fmla="*/ 10 w 187"/>
                <a:gd name="T39" fmla="*/ 14 h 387"/>
                <a:gd name="T40" fmla="*/ 9 w 187"/>
                <a:gd name="T41" fmla="*/ 13 h 387"/>
                <a:gd name="T42" fmla="*/ 9 w 187"/>
                <a:gd name="T43" fmla="*/ 12 h 387"/>
                <a:gd name="T44" fmla="*/ 9 w 187"/>
                <a:gd name="T45" fmla="*/ 12 h 387"/>
                <a:gd name="T46" fmla="*/ 8 w 187"/>
                <a:gd name="T47" fmla="*/ 11 h 387"/>
                <a:gd name="T48" fmla="*/ 8 w 187"/>
                <a:gd name="T49" fmla="*/ 10 h 387"/>
                <a:gd name="T50" fmla="*/ 8 w 187"/>
                <a:gd name="T51" fmla="*/ 11 h 387"/>
                <a:gd name="T52" fmla="*/ 7 w 187"/>
                <a:gd name="T53" fmla="*/ 10 h 387"/>
                <a:gd name="T54" fmla="*/ 6 w 187"/>
                <a:gd name="T55" fmla="*/ 10 h 387"/>
                <a:gd name="T56" fmla="*/ 7 w 187"/>
                <a:gd name="T57" fmla="*/ 8 h 387"/>
                <a:gd name="T58" fmla="*/ 8 w 187"/>
                <a:gd name="T59" fmla="*/ 5 h 387"/>
                <a:gd name="T60" fmla="*/ 7 w 187"/>
                <a:gd name="T61" fmla="*/ 4 h 387"/>
                <a:gd name="T62" fmla="*/ 7 w 187"/>
                <a:gd name="T63" fmla="*/ 3 h 387"/>
                <a:gd name="T64" fmla="*/ 8 w 187"/>
                <a:gd name="T65" fmla="*/ 1 h 387"/>
                <a:gd name="T66" fmla="*/ 7 w 187"/>
                <a:gd name="T67" fmla="*/ 2 h 387"/>
                <a:gd name="T68" fmla="*/ 6 w 187"/>
                <a:gd name="T69" fmla="*/ 1 h 387"/>
                <a:gd name="T70" fmla="*/ 6 w 187"/>
                <a:gd name="T71" fmla="*/ 0 h 387"/>
                <a:gd name="T72" fmla="*/ 3 w 187"/>
                <a:gd name="T73" fmla="*/ 1 h 387"/>
                <a:gd name="T74" fmla="*/ 3 w 187"/>
                <a:gd name="T75" fmla="*/ 1 h 387"/>
                <a:gd name="T76" fmla="*/ 3 w 187"/>
                <a:gd name="T77" fmla="*/ 2 h 387"/>
                <a:gd name="T78" fmla="*/ 1 w 187"/>
                <a:gd name="T79" fmla="*/ 3 h 38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387"/>
                <a:gd name="T122" fmla="*/ 187 w 187"/>
                <a:gd name="T123" fmla="*/ 387 h 38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387">
                  <a:moveTo>
                    <a:pt x="25" y="48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29" y="83"/>
                    <a:pt x="33" y="90"/>
                  </a:cubicBezTo>
                  <a:cubicBezTo>
                    <a:pt x="37" y="97"/>
                    <a:pt x="39" y="109"/>
                    <a:pt x="38" y="119"/>
                  </a:cubicBezTo>
                  <a:cubicBezTo>
                    <a:pt x="37" y="129"/>
                    <a:pt x="30" y="151"/>
                    <a:pt x="30" y="151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162"/>
                    <a:pt x="0" y="175"/>
                    <a:pt x="0" y="185"/>
                  </a:cubicBezTo>
                  <a:cubicBezTo>
                    <a:pt x="0" y="195"/>
                    <a:pt x="0" y="208"/>
                    <a:pt x="0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7" y="227"/>
                    <a:pt x="33" y="232"/>
                    <a:pt x="34" y="240"/>
                  </a:cubicBezTo>
                  <a:cubicBezTo>
                    <a:pt x="35" y="248"/>
                    <a:pt x="35" y="266"/>
                    <a:pt x="35" y="266"/>
                  </a:cubicBezTo>
                  <a:cubicBezTo>
                    <a:pt x="35" y="266"/>
                    <a:pt x="67" y="278"/>
                    <a:pt x="67" y="291"/>
                  </a:cubicBezTo>
                  <a:cubicBezTo>
                    <a:pt x="67" y="302"/>
                    <a:pt x="82" y="364"/>
                    <a:pt x="88" y="387"/>
                  </a:cubicBezTo>
                  <a:cubicBezTo>
                    <a:pt x="95" y="384"/>
                    <a:pt x="104" y="381"/>
                    <a:pt x="104" y="381"/>
                  </a:cubicBezTo>
                  <a:cubicBezTo>
                    <a:pt x="104" y="381"/>
                    <a:pt x="124" y="367"/>
                    <a:pt x="123" y="355"/>
                  </a:cubicBezTo>
                  <a:cubicBezTo>
                    <a:pt x="122" y="343"/>
                    <a:pt x="112" y="323"/>
                    <a:pt x="114" y="317"/>
                  </a:cubicBezTo>
                  <a:cubicBezTo>
                    <a:pt x="116" y="311"/>
                    <a:pt x="129" y="306"/>
                    <a:pt x="129" y="306"/>
                  </a:cubicBezTo>
                  <a:cubicBezTo>
                    <a:pt x="129" y="306"/>
                    <a:pt x="142" y="289"/>
                    <a:pt x="148" y="283"/>
                  </a:cubicBezTo>
                  <a:cubicBezTo>
                    <a:pt x="154" y="277"/>
                    <a:pt x="179" y="273"/>
                    <a:pt x="183" y="265"/>
                  </a:cubicBezTo>
                  <a:cubicBezTo>
                    <a:pt x="187" y="257"/>
                    <a:pt x="172" y="255"/>
                    <a:pt x="172" y="255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0" y="227"/>
                    <a:pt x="167" y="226"/>
                    <a:pt x="167" y="226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42" y="203"/>
                    <a:pt x="111" y="202"/>
                    <a:pt x="111" y="183"/>
                  </a:cubicBezTo>
                  <a:cubicBezTo>
                    <a:pt x="111" y="164"/>
                    <a:pt x="109" y="174"/>
                    <a:pt x="132" y="154"/>
                  </a:cubicBezTo>
                  <a:cubicBezTo>
                    <a:pt x="155" y="134"/>
                    <a:pt x="169" y="118"/>
                    <a:pt x="156" y="102"/>
                  </a:cubicBezTo>
                  <a:cubicBezTo>
                    <a:pt x="143" y="86"/>
                    <a:pt x="128" y="89"/>
                    <a:pt x="132" y="73"/>
                  </a:cubicBezTo>
                  <a:cubicBezTo>
                    <a:pt x="136" y="57"/>
                    <a:pt x="135" y="59"/>
                    <a:pt x="145" y="50"/>
                  </a:cubicBezTo>
                  <a:cubicBezTo>
                    <a:pt x="155" y="41"/>
                    <a:pt x="163" y="19"/>
                    <a:pt x="156" y="18"/>
                  </a:cubicBezTo>
                  <a:cubicBezTo>
                    <a:pt x="149" y="17"/>
                    <a:pt x="130" y="43"/>
                    <a:pt x="125" y="45"/>
                  </a:cubicBezTo>
                  <a:cubicBezTo>
                    <a:pt x="120" y="47"/>
                    <a:pt x="108" y="33"/>
                    <a:pt x="108" y="33"/>
                  </a:cubicBezTo>
                  <a:cubicBezTo>
                    <a:pt x="108" y="33"/>
                    <a:pt x="127" y="16"/>
                    <a:pt x="110" y="8"/>
                  </a:cubicBezTo>
                  <a:cubicBezTo>
                    <a:pt x="93" y="0"/>
                    <a:pt x="66" y="19"/>
                    <a:pt x="60" y="23"/>
                  </a:cubicBezTo>
                  <a:cubicBezTo>
                    <a:pt x="58" y="24"/>
                    <a:pt x="56" y="25"/>
                    <a:pt x="53" y="25"/>
                  </a:cubicBezTo>
                  <a:cubicBezTo>
                    <a:pt x="53" y="35"/>
                    <a:pt x="53" y="35"/>
                    <a:pt x="53" y="35"/>
                  </a:cubicBezTo>
                  <a:lnTo>
                    <a:pt x="25" y="48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0" name="Freeform 190">
              <a:extLst>
                <a:ext uri="{FF2B5EF4-FFF2-40B4-BE49-F238E27FC236}">
                  <a16:creationId xmlns:a16="http://schemas.microsoft.com/office/drawing/2014/main" id="{D285DF02-8EEF-B11D-6D1C-F43B60C5C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0395" y="3383801"/>
              <a:ext cx="283525" cy="493882"/>
            </a:xfrm>
            <a:custGeom>
              <a:avLst/>
              <a:gdLst>
                <a:gd name="T0" fmla="*/ 26 w 496"/>
                <a:gd name="T1" fmla="*/ 22 h 866"/>
                <a:gd name="T2" fmla="*/ 6 w 496"/>
                <a:gd name="T3" fmla="*/ 0 h 866"/>
                <a:gd name="T4" fmla="*/ 5 w 496"/>
                <a:gd name="T5" fmla="*/ 4 h 866"/>
                <a:gd name="T6" fmla="*/ 5 w 496"/>
                <a:gd name="T7" fmla="*/ 7 h 866"/>
                <a:gd name="T8" fmla="*/ 6 w 496"/>
                <a:gd name="T9" fmla="*/ 9 h 866"/>
                <a:gd name="T10" fmla="*/ 5 w 496"/>
                <a:gd name="T11" fmla="*/ 19 h 866"/>
                <a:gd name="T12" fmla="*/ 1 w 496"/>
                <a:gd name="T13" fmla="*/ 25 h 866"/>
                <a:gd name="T14" fmla="*/ 0 w 496"/>
                <a:gd name="T15" fmla="*/ 28 h 866"/>
                <a:gd name="T16" fmla="*/ 2 w 496"/>
                <a:gd name="T17" fmla="*/ 29 h 866"/>
                <a:gd name="T18" fmla="*/ 2 w 496"/>
                <a:gd name="T19" fmla="*/ 30 h 866"/>
                <a:gd name="T20" fmla="*/ 3 w 496"/>
                <a:gd name="T21" fmla="*/ 30 h 866"/>
                <a:gd name="T22" fmla="*/ 3 w 496"/>
                <a:gd name="T23" fmla="*/ 32 h 866"/>
                <a:gd name="T24" fmla="*/ 4 w 496"/>
                <a:gd name="T25" fmla="*/ 34 h 866"/>
                <a:gd name="T26" fmla="*/ 6 w 496"/>
                <a:gd name="T27" fmla="*/ 38 h 866"/>
                <a:gd name="T28" fmla="*/ 2 w 496"/>
                <a:gd name="T29" fmla="*/ 39 h 866"/>
                <a:gd name="T30" fmla="*/ 5 w 496"/>
                <a:gd name="T31" fmla="*/ 42 h 866"/>
                <a:gd name="T32" fmla="*/ 6 w 496"/>
                <a:gd name="T33" fmla="*/ 45 h 866"/>
                <a:gd name="T34" fmla="*/ 9 w 496"/>
                <a:gd name="T35" fmla="*/ 45 h 866"/>
                <a:gd name="T36" fmla="*/ 13 w 496"/>
                <a:gd name="T37" fmla="*/ 44 h 866"/>
                <a:gd name="T38" fmla="*/ 14 w 496"/>
                <a:gd name="T39" fmla="*/ 41 h 866"/>
                <a:gd name="T40" fmla="*/ 18 w 496"/>
                <a:gd name="T41" fmla="*/ 40 h 866"/>
                <a:gd name="T42" fmla="*/ 20 w 496"/>
                <a:gd name="T43" fmla="*/ 38 h 866"/>
                <a:gd name="T44" fmla="*/ 21 w 496"/>
                <a:gd name="T45" fmla="*/ 36 h 866"/>
                <a:gd name="T46" fmla="*/ 24 w 496"/>
                <a:gd name="T47" fmla="*/ 35 h 866"/>
                <a:gd name="T48" fmla="*/ 24 w 496"/>
                <a:gd name="T49" fmla="*/ 34 h 866"/>
                <a:gd name="T50" fmla="*/ 23 w 496"/>
                <a:gd name="T51" fmla="*/ 33 h 866"/>
                <a:gd name="T52" fmla="*/ 23 w 496"/>
                <a:gd name="T53" fmla="*/ 32 h 866"/>
                <a:gd name="T54" fmla="*/ 21 w 496"/>
                <a:gd name="T55" fmla="*/ 31 h 866"/>
                <a:gd name="T56" fmla="*/ 22 w 496"/>
                <a:gd name="T57" fmla="*/ 29 h 866"/>
                <a:gd name="T58" fmla="*/ 22 w 496"/>
                <a:gd name="T59" fmla="*/ 27 h 866"/>
                <a:gd name="T60" fmla="*/ 23 w 496"/>
                <a:gd name="T61" fmla="*/ 25 h 866"/>
                <a:gd name="T62" fmla="*/ 23 w 496"/>
                <a:gd name="T63" fmla="*/ 25 h 866"/>
                <a:gd name="T64" fmla="*/ 24 w 496"/>
                <a:gd name="T65" fmla="*/ 23 h 8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6"/>
                <a:gd name="T100" fmla="*/ 0 h 866"/>
                <a:gd name="T101" fmla="*/ 496 w 496"/>
                <a:gd name="T102" fmla="*/ 866 h 8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6" h="866">
                  <a:moveTo>
                    <a:pt x="451" y="419"/>
                  </a:moveTo>
                  <a:cubicBezTo>
                    <a:pt x="464" y="415"/>
                    <a:pt x="496" y="420"/>
                    <a:pt x="496" y="420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94" y="15"/>
                    <a:pt x="71" y="28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20" y="169"/>
                    <a:pt x="120" y="169"/>
                    <a:pt x="120" y="169"/>
                  </a:cubicBezTo>
                  <a:cubicBezTo>
                    <a:pt x="106" y="194"/>
                    <a:pt x="106" y="194"/>
                    <a:pt x="106" y="194"/>
                  </a:cubicBezTo>
                  <a:cubicBezTo>
                    <a:pt x="96" y="356"/>
                    <a:pt x="96" y="356"/>
                    <a:pt x="96" y="356"/>
                  </a:cubicBezTo>
                  <a:cubicBezTo>
                    <a:pt x="96" y="356"/>
                    <a:pt x="46" y="409"/>
                    <a:pt x="35" y="426"/>
                  </a:cubicBezTo>
                  <a:cubicBezTo>
                    <a:pt x="23" y="442"/>
                    <a:pt x="13" y="479"/>
                    <a:pt x="13" y="479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7" y="526"/>
                    <a:pt x="10" y="526"/>
                    <a:pt x="10" y="526"/>
                  </a:cubicBezTo>
                  <a:cubicBezTo>
                    <a:pt x="29" y="558"/>
                    <a:pt x="29" y="558"/>
                    <a:pt x="29" y="558"/>
                  </a:cubicBezTo>
                  <a:cubicBezTo>
                    <a:pt x="29" y="558"/>
                    <a:pt x="29" y="560"/>
                    <a:pt x="29" y="563"/>
                  </a:cubicBezTo>
                  <a:cubicBezTo>
                    <a:pt x="29" y="562"/>
                    <a:pt x="29" y="561"/>
                    <a:pt x="29" y="561"/>
                  </a:cubicBezTo>
                  <a:cubicBezTo>
                    <a:pt x="45" y="559"/>
                    <a:pt x="45" y="559"/>
                    <a:pt x="45" y="559"/>
                  </a:cubicBezTo>
                  <a:cubicBezTo>
                    <a:pt x="45" y="559"/>
                    <a:pt x="46" y="571"/>
                    <a:pt x="50" y="576"/>
                  </a:cubicBezTo>
                  <a:cubicBezTo>
                    <a:pt x="54" y="581"/>
                    <a:pt x="70" y="584"/>
                    <a:pt x="70" y="584"/>
                  </a:cubicBezTo>
                  <a:cubicBezTo>
                    <a:pt x="66" y="611"/>
                    <a:pt x="66" y="611"/>
                    <a:pt x="66" y="611"/>
                  </a:cubicBezTo>
                  <a:cubicBezTo>
                    <a:pt x="66" y="611"/>
                    <a:pt x="80" y="618"/>
                    <a:pt x="80" y="629"/>
                  </a:cubicBezTo>
                  <a:cubicBezTo>
                    <a:pt x="80" y="640"/>
                    <a:pt x="74" y="650"/>
                    <a:pt x="74" y="650"/>
                  </a:cubicBezTo>
                  <a:cubicBezTo>
                    <a:pt x="74" y="650"/>
                    <a:pt x="75" y="678"/>
                    <a:pt x="80" y="692"/>
                  </a:cubicBezTo>
                  <a:cubicBezTo>
                    <a:pt x="85" y="706"/>
                    <a:pt x="106" y="724"/>
                    <a:pt x="106" y="724"/>
                  </a:cubicBezTo>
                  <a:cubicBezTo>
                    <a:pt x="106" y="724"/>
                    <a:pt x="92" y="725"/>
                    <a:pt x="84" y="726"/>
                  </a:cubicBezTo>
                  <a:cubicBezTo>
                    <a:pt x="76" y="727"/>
                    <a:pt x="36" y="720"/>
                    <a:pt x="31" y="733"/>
                  </a:cubicBezTo>
                  <a:cubicBezTo>
                    <a:pt x="26" y="746"/>
                    <a:pt x="41" y="767"/>
                    <a:pt x="49" y="775"/>
                  </a:cubicBezTo>
                  <a:cubicBezTo>
                    <a:pt x="57" y="783"/>
                    <a:pt x="78" y="792"/>
                    <a:pt x="87" y="802"/>
                  </a:cubicBezTo>
                  <a:cubicBezTo>
                    <a:pt x="96" y="812"/>
                    <a:pt x="101" y="859"/>
                    <a:pt x="101" y="859"/>
                  </a:cubicBezTo>
                  <a:cubicBezTo>
                    <a:pt x="101" y="859"/>
                    <a:pt x="113" y="866"/>
                    <a:pt x="123" y="860"/>
                  </a:cubicBezTo>
                  <a:cubicBezTo>
                    <a:pt x="133" y="853"/>
                    <a:pt x="153" y="838"/>
                    <a:pt x="153" y="838"/>
                  </a:cubicBezTo>
                  <a:cubicBezTo>
                    <a:pt x="153" y="838"/>
                    <a:pt x="146" y="863"/>
                    <a:pt x="165" y="858"/>
                  </a:cubicBezTo>
                  <a:cubicBezTo>
                    <a:pt x="183" y="853"/>
                    <a:pt x="178" y="833"/>
                    <a:pt x="196" y="833"/>
                  </a:cubicBezTo>
                  <a:cubicBezTo>
                    <a:pt x="215" y="833"/>
                    <a:pt x="248" y="833"/>
                    <a:pt x="248" y="833"/>
                  </a:cubicBezTo>
                  <a:cubicBezTo>
                    <a:pt x="248" y="833"/>
                    <a:pt x="263" y="811"/>
                    <a:pt x="268" y="805"/>
                  </a:cubicBezTo>
                  <a:cubicBezTo>
                    <a:pt x="273" y="798"/>
                    <a:pt x="253" y="788"/>
                    <a:pt x="253" y="788"/>
                  </a:cubicBezTo>
                  <a:cubicBezTo>
                    <a:pt x="267" y="780"/>
                    <a:pt x="267" y="780"/>
                    <a:pt x="267" y="780"/>
                  </a:cubicBezTo>
                  <a:cubicBezTo>
                    <a:pt x="267" y="780"/>
                    <a:pt x="307" y="780"/>
                    <a:pt x="338" y="765"/>
                  </a:cubicBezTo>
                  <a:cubicBezTo>
                    <a:pt x="370" y="750"/>
                    <a:pt x="365" y="728"/>
                    <a:pt x="365" y="728"/>
                  </a:cubicBezTo>
                  <a:cubicBezTo>
                    <a:pt x="378" y="723"/>
                    <a:pt x="378" y="723"/>
                    <a:pt x="378" y="723"/>
                  </a:cubicBezTo>
                  <a:cubicBezTo>
                    <a:pt x="390" y="711"/>
                    <a:pt x="390" y="711"/>
                    <a:pt x="390" y="71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430" y="673"/>
                    <a:pt x="430" y="673"/>
                    <a:pt x="430" y="673"/>
                  </a:cubicBezTo>
                  <a:cubicBezTo>
                    <a:pt x="446" y="674"/>
                    <a:pt x="446" y="674"/>
                    <a:pt x="446" y="674"/>
                  </a:cubicBezTo>
                  <a:cubicBezTo>
                    <a:pt x="445" y="665"/>
                    <a:pt x="445" y="665"/>
                    <a:pt x="445" y="665"/>
                  </a:cubicBezTo>
                  <a:cubicBezTo>
                    <a:pt x="445" y="665"/>
                    <a:pt x="463" y="669"/>
                    <a:pt x="451" y="656"/>
                  </a:cubicBezTo>
                  <a:cubicBezTo>
                    <a:pt x="439" y="643"/>
                    <a:pt x="430" y="642"/>
                    <a:pt x="430" y="642"/>
                  </a:cubicBezTo>
                  <a:cubicBezTo>
                    <a:pt x="426" y="625"/>
                    <a:pt x="426" y="625"/>
                    <a:pt x="426" y="625"/>
                  </a:cubicBezTo>
                  <a:cubicBezTo>
                    <a:pt x="437" y="620"/>
                    <a:pt x="437" y="620"/>
                    <a:pt x="437" y="620"/>
                  </a:cubicBezTo>
                  <a:cubicBezTo>
                    <a:pt x="428" y="612"/>
                    <a:pt x="428" y="612"/>
                    <a:pt x="428" y="612"/>
                  </a:cubicBezTo>
                  <a:cubicBezTo>
                    <a:pt x="428" y="612"/>
                    <a:pt x="430" y="585"/>
                    <a:pt x="423" y="582"/>
                  </a:cubicBezTo>
                  <a:cubicBezTo>
                    <a:pt x="416" y="579"/>
                    <a:pt x="411" y="589"/>
                    <a:pt x="406" y="587"/>
                  </a:cubicBezTo>
                  <a:cubicBezTo>
                    <a:pt x="401" y="585"/>
                    <a:pt x="395" y="580"/>
                    <a:pt x="398" y="569"/>
                  </a:cubicBezTo>
                  <a:cubicBezTo>
                    <a:pt x="401" y="558"/>
                    <a:pt x="415" y="558"/>
                    <a:pt x="417" y="549"/>
                  </a:cubicBezTo>
                  <a:cubicBezTo>
                    <a:pt x="419" y="540"/>
                    <a:pt x="416" y="536"/>
                    <a:pt x="410" y="526"/>
                  </a:cubicBezTo>
                  <a:cubicBezTo>
                    <a:pt x="404" y="516"/>
                    <a:pt x="419" y="508"/>
                    <a:pt x="419" y="508"/>
                  </a:cubicBezTo>
                  <a:cubicBezTo>
                    <a:pt x="430" y="501"/>
                    <a:pt x="430" y="501"/>
                    <a:pt x="430" y="501"/>
                  </a:cubicBezTo>
                  <a:cubicBezTo>
                    <a:pt x="425" y="490"/>
                    <a:pt x="425" y="490"/>
                    <a:pt x="425" y="490"/>
                  </a:cubicBezTo>
                  <a:cubicBezTo>
                    <a:pt x="422" y="474"/>
                    <a:pt x="422" y="474"/>
                    <a:pt x="422" y="474"/>
                  </a:cubicBezTo>
                  <a:cubicBezTo>
                    <a:pt x="432" y="474"/>
                    <a:pt x="432" y="474"/>
                    <a:pt x="432" y="474"/>
                  </a:cubicBezTo>
                  <a:cubicBezTo>
                    <a:pt x="432" y="474"/>
                    <a:pt x="430" y="462"/>
                    <a:pt x="436" y="456"/>
                  </a:cubicBezTo>
                  <a:cubicBezTo>
                    <a:pt x="442" y="450"/>
                    <a:pt x="451" y="450"/>
                    <a:pt x="449" y="442"/>
                  </a:cubicBezTo>
                  <a:cubicBezTo>
                    <a:pt x="447" y="434"/>
                    <a:pt x="438" y="423"/>
                    <a:pt x="451" y="419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1" name="Freeform 191">
              <a:extLst>
                <a:ext uri="{FF2B5EF4-FFF2-40B4-BE49-F238E27FC236}">
                  <a16:creationId xmlns:a16="http://schemas.microsoft.com/office/drawing/2014/main" id="{46D4A4FB-20D2-6741-BC7F-6B8335D91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858" y="2967659"/>
              <a:ext cx="559429" cy="557904"/>
            </a:xfrm>
            <a:custGeom>
              <a:avLst/>
              <a:gdLst>
                <a:gd name="T0" fmla="*/ 11 w 983"/>
                <a:gd name="T1" fmla="*/ 19 h 981"/>
                <a:gd name="T2" fmla="*/ 8 w 983"/>
                <a:gd name="T3" fmla="*/ 20 h 981"/>
                <a:gd name="T4" fmla="*/ 7 w 983"/>
                <a:gd name="T5" fmla="*/ 21 h 981"/>
                <a:gd name="T6" fmla="*/ 6 w 983"/>
                <a:gd name="T7" fmla="*/ 21 h 981"/>
                <a:gd name="T8" fmla="*/ 4 w 983"/>
                <a:gd name="T9" fmla="*/ 22 h 981"/>
                <a:gd name="T10" fmla="*/ 2 w 983"/>
                <a:gd name="T11" fmla="*/ 24 h 981"/>
                <a:gd name="T12" fmla="*/ 2 w 983"/>
                <a:gd name="T13" fmla="*/ 26 h 981"/>
                <a:gd name="T14" fmla="*/ 2 w 983"/>
                <a:gd name="T15" fmla="*/ 26 h 981"/>
                <a:gd name="T16" fmla="*/ 11 w 983"/>
                <a:gd name="T17" fmla="*/ 34 h 981"/>
                <a:gd name="T18" fmla="*/ 25 w 983"/>
                <a:gd name="T19" fmla="*/ 46 h 981"/>
                <a:gd name="T20" fmla="*/ 27 w 983"/>
                <a:gd name="T21" fmla="*/ 47 h 981"/>
                <a:gd name="T22" fmla="*/ 28 w 983"/>
                <a:gd name="T23" fmla="*/ 48 h 981"/>
                <a:gd name="T24" fmla="*/ 30 w 983"/>
                <a:gd name="T25" fmla="*/ 50 h 981"/>
                <a:gd name="T26" fmla="*/ 32 w 983"/>
                <a:gd name="T27" fmla="*/ 50 h 981"/>
                <a:gd name="T28" fmla="*/ 40 w 983"/>
                <a:gd name="T29" fmla="*/ 46 h 981"/>
                <a:gd name="T30" fmla="*/ 50 w 983"/>
                <a:gd name="T31" fmla="*/ 36 h 981"/>
                <a:gd name="T32" fmla="*/ 47 w 983"/>
                <a:gd name="T33" fmla="*/ 35 h 981"/>
                <a:gd name="T34" fmla="*/ 46 w 983"/>
                <a:gd name="T35" fmla="*/ 33 h 981"/>
                <a:gd name="T36" fmla="*/ 46 w 983"/>
                <a:gd name="T37" fmla="*/ 29 h 981"/>
                <a:gd name="T38" fmla="*/ 46 w 983"/>
                <a:gd name="T39" fmla="*/ 27 h 981"/>
                <a:gd name="T40" fmla="*/ 46 w 983"/>
                <a:gd name="T41" fmla="*/ 25 h 981"/>
                <a:gd name="T42" fmla="*/ 45 w 983"/>
                <a:gd name="T43" fmla="*/ 20 h 981"/>
                <a:gd name="T44" fmla="*/ 45 w 983"/>
                <a:gd name="T45" fmla="*/ 19 h 981"/>
                <a:gd name="T46" fmla="*/ 43 w 983"/>
                <a:gd name="T47" fmla="*/ 13 h 981"/>
                <a:gd name="T48" fmla="*/ 41 w 983"/>
                <a:gd name="T49" fmla="*/ 11 h 981"/>
                <a:gd name="T50" fmla="*/ 41 w 983"/>
                <a:gd name="T51" fmla="*/ 10 h 981"/>
                <a:gd name="T52" fmla="*/ 41 w 983"/>
                <a:gd name="T53" fmla="*/ 8 h 981"/>
                <a:gd name="T54" fmla="*/ 43 w 983"/>
                <a:gd name="T55" fmla="*/ 6 h 981"/>
                <a:gd name="T56" fmla="*/ 43 w 983"/>
                <a:gd name="T57" fmla="*/ 2 h 981"/>
                <a:gd name="T58" fmla="*/ 43 w 983"/>
                <a:gd name="T59" fmla="*/ 1 h 981"/>
                <a:gd name="T60" fmla="*/ 42 w 983"/>
                <a:gd name="T61" fmla="*/ 0 h 981"/>
                <a:gd name="T62" fmla="*/ 41 w 983"/>
                <a:gd name="T63" fmla="*/ 0 h 981"/>
                <a:gd name="T64" fmla="*/ 40 w 983"/>
                <a:gd name="T65" fmla="*/ 1 h 981"/>
                <a:gd name="T66" fmla="*/ 38 w 983"/>
                <a:gd name="T67" fmla="*/ 0 h 981"/>
                <a:gd name="T68" fmla="*/ 37 w 983"/>
                <a:gd name="T69" fmla="*/ 1 h 981"/>
                <a:gd name="T70" fmla="*/ 33 w 983"/>
                <a:gd name="T71" fmla="*/ 1 h 981"/>
                <a:gd name="T72" fmla="*/ 28 w 983"/>
                <a:gd name="T73" fmla="*/ 1 h 981"/>
                <a:gd name="T74" fmla="*/ 26 w 983"/>
                <a:gd name="T75" fmla="*/ 1 h 981"/>
                <a:gd name="T76" fmla="*/ 23 w 983"/>
                <a:gd name="T77" fmla="*/ 4 h 981"/>
                <a:gd name="T78" fmla="*/ 19 w 983"/>
                <a:gd name="T79" fmla="*/ 6 h 981"/>
                <a:gd name="T80" fmla="*/ 18 w 983"/>
                <a:gd name="T81" fmla="*/ 6 h 981"/>
                <a:gd name="T82" fmla="*/ 19 w 983"/>
                <a:gd name="T83" fmla="*/ 7 h 981"/>
                <a:gd name="T84" fmla="*/ 19 w 983"/>
                <a:gd name="T85" fmla="*/ 10 h 981"/>
                <a:gd name="T86" fmla="*/ 19 w 983"/>
                <a:gd name="T87" fmla="*/ 11 h 981"/>
                <a:gd name="T88" fmla="*/ 19 w 983"/>
                <a:gd name="T89" fmla="*/ 12 h 981"/>
                <a:gd name="T90" fmla="*/ 20 w 983"/>
                <a:gd name="T91" fmla="*/ 13 h 981"/>
                <a:gd name="T92" fmla="*/ 18 w 983"/>
                <a:gd name="T93" fmla="*/ 14 h 981"/>
                <a:gd name="T94" fmla="*/ 17 w 983"/>
                <a:gd name="T95" fmla="*/ 14 h 981"/>
                <a:gd name="T96" fmla="*/ 16 w 983"/>
                <a:gd name="T97" fmla="*/ 15 h 981"/>
                <a:gd name="T98" fmla="*/ 14 w 983"/>
                <a:gd name="T99" fmla="*/ 16 h 981"/>
                <a:gd name="T100" fmla="*/ 13 w 983"/>
                <a:gd name="T101" fmla="*/ 18 h 9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83"/>
                <a:gd name="T154" fmla="*/ 0 h 981"/>
                <a:gd name="T155" fmla="*/ 983 w 983"/>
                <a:gd name="T156" fmla="*/ 981 h 9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83" h="981">
                  <a:moveTo>
                    <a:pt x="242" y="356"/>
                  </a:moveTo>
                  <a:cubicBezTo>
                    <a:pt x="236" y="356"/>
                    <a:pt x="212" y="357"/>
                    <a:pt x="212" y="357"/>
                  </a:cubicBezTo>
                  <a:cubicBezTo>
                    <a:pt x="212" y="357"/>
                    <a:pt x="197" y="388"/>
                    <a:pt x="189" y="391"/>
                  </a:cubicBezTo>
                  <a:cubicBezTo>
                    <a:pt x="181" y="394"/>
                    <a:pt x="155" y="390"/>
                    <a:pt x="155" y="390"/>
                  </a:cubicBezTo>
                  <a:cubicBezTo>
                    <a:pt x="154" y="398"/>
                    <a:pt x="154" y="398"/>
                    <a:pt x="154" y="398"/>
                  </a:cubicBezTo>
                  <a:cubicBezTo>
                    <a:pt x="136" y="399"/>
                    <a:pt x="136" y="399"/>
                    <a:pt x="136" y="399"/>
                  </a:cubicBezTo>
                  <a:cubicBezTo>
                    <a:pt x="136" y="399"/>
                    <a:pt x="136" y="411"/>
                    <a:pt x="130" y="412"/>
                  </a:cubicBezTo>
                  <a:cubicBezTo>
                    <a:pt x="124" y="413"/>
                    <a:pt x="111" y="404"/>
                    <a:pt x="111" y="404"/>
                  </a:cubicBezTo>
                  <a:cubicBezTo>
                    <a:pt x="93" y="418"/>
                    <a:pt x="93" y="418"/>
                    <a:pt x="93" y="418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81" y="417"/>
                    <a:pt x="67" y="437"/>
                    <a:pt x="60" y="442"/>
                  </a:cubicBezTo>
                  <a:cubicBezTo>
                    <a:pt x="53" y="447"/>
                    <a:pt x="40" y="454"/>
                    <a:pt x="40" y="454"/>
                  </a:cubicBezTo>
                  <a:cubicBezTo>
                    <a:pt x="37" y="472"/>
                    <a:pt x="37" y="472"/>
                    <a:pt x="37" y="472"/>
                  </a:cubicBezTo>
                  <a:cubicBezTo>
                    <a:pt x="35" y="511"/>
                    <a:pt x="35" y="511"/>
                    <a:pt x="35" y="511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7" y="513"/>
                    <a:pt x="37" y="513"/>
                    <a:pt x="37" y="513"/>
                  </a:cubicBezTo>
                  <a:cubicBezTo>
                    <a:pt x="35" y="535"/>
                    <a:pt x="35" y="535"/>
                    <a:pt x="35" y="535"/>
                  </a:cubicBezTo>
                  <a:cubicBezTo>
                    <a:pt x="208" y="656"/>
                    <a:pt x="208" y="656"/>
                    <a:pt x="208" y="656"/>
                  </a:cubicBezTo>
                  <a:cubicBezTo>
                    <a:pt x="482" y="865"/>
                    <a:pt x="482" y="865"/>
                    <a:pt x="482" y="865"/>
                  </a:cubicBezTo>
                  <a:cubicBezTo>
                    <a:pt x="481" y="882"/>
                    <a:pt x="481" y="882"/>
                    <a:pt x="481" y="882"/>
                  </a:cubicBezTo>
                  <a:cubicBezTo>
                    <a:pt x="481" y="882"/>
                    <a:pt x="498" y="878"/>
                    <a:pt x="500" y="886"/>
                  </a:cubicBezTo>
                  <a:cubicBezTo>
                    <a:pt x="502" y="894"/>
                    <a:pt x="500" y="901"/>
                    <a:pt x="510" y="904"/>
                  </a:cubicBezTo>
                  <a:cubicBezTo>
                    <a:pt x="520" y="907"/>
                    <a:pt x="533" y="905"/>
                    <a:pt x="533" y="905"/>
                  </a:cubicBezTo>
                  <a:cubicBezTo>
                    <a:pt x="538" y="923"/>
                    <a:pt x="538" y="923"/>
                    <a:pt x="538" y="923"/>
                  </a:cubicBezTo>
                  <a:cubicBezTo>
                    <a:pt x="538" y="923"/>
                    <a:pt x="561" y="917"/>
                    <a:pt x="571" y="925"/>
                  </a:cubicBezTo>
                  <a:cubicBezTo>
                    <a:pt x="581" y="933"/>
                    <a:pt x="582" y="953"/>
                    <a:pt x="582" y="953"/>
                  </a:cubicBezTo>
                  <a:cubicBezTo>
                    <a:pt x="582" y="953"/>
                    <a:pt x="558" y="967"/>
                    <a:pt x="573" y="974"/>
                  </a:cubicBezTo>
                  <a:cubicBezTo>
                    <a:pt x="588" y="981"/>
                    <a:pt x="610" y="973"/>
                    <a:pt x="610" y="973"/>
                  </a:cubicBezTo>
                  <a:cubicBezTo>
                    <a:pt x="610" y="973"/>
                    <a:pt x="679" y="958"/>
                    <a:pt x="693" y="956"/>
                  </a:cubicBezTo>
                  <a:cubicBezTo>
                    <a:pt x="707" y="954"/>
                    <a:pt x="752" y="901"/>
                    <a:pt x="774" y="886"/>
                  </a:cubicBezTo>
                  <a:cubicBezTo>
                    <a:pt x="796" y="871"/>
                    <a:pt x="983" y="735"/>
                    <a:pt x="983" y="735"/>
                  </a:cubicBezTo>
                  <a:cubicBezTo>
                    <a:pt x="983" y="735"/>
                    <a:pt x="968" y="694"/>
                    <a:pt x="963" y="691"/>
                  </a:cubicBezTo>
                  <a:cubicBezTo>
                    <a:pt x="958" y="688"/>
                    <a:pt x="930" y="675"/>
                    <a:pt x="924" y="678"/>
                  </a:cubicBezTo>
                  <a:cubicBezTo>
                    <a:pt x="918" y="681"/>
                    <a:pt x="913" y="686"/>
                    <a:pt x="909" y="684"/>
                  </a:cubicBezTo>
                  <a:cubicBezTo>
                    <a:pt x="905" y="682"/>
                    <a:pt x="893" y="671"/>
                    <a:pt x="893" y="664"/>
                  </a:cubicBezTo>
                  <a:cubicBezTo>
                    <a:pt x="893" y="657"/>
                    <a:pt x="898" y="647"/>
                    <a:pt x="893" y="639"/>
                  </a:cubicBezTo>
                  <a:cubicBezTo>
                    <a:pt x="888" y="631"/>
                    <a:pt x="861" y="595"/>
                    <a:pt x="862" y="589"/>
                  </a:cubicBezTo>
                  <a:cubicBezTo>
                    <a:pt x="863" y="583"/>
                    <a:pt x="889" y="581"/>
                    <a:pt x="889" y="569"/>
                  </a:cubicBezTo>
                  <a:cubicBezTo>
                    <a:pt x="889" y="557"/>
                    <a:pt x="885" y="551"/>
                    <a:pt x="885" y="551"/>
                  </a:cubicBezTo>
                  <a:cubicBezTo>
                    <a:pt x="880" y="515"/>
                    <a:pt x="880" y="515"/>
                    <a:pt x="880" y="515"/>
                  </a:cubicBezTo>
                  <a:cubicBezTo>
                    <a:pt x="889" y="502"/>
                    <a:pt x="889" y="502"/>
                    <a:pt x="889" y="502"/>
                  </a:cubicBezTo>
                  <a:cubicBezTo>
                    <a:pt x="883" y="488"/>
                    <a:pt x="883" y="488"/>
                    <a:pt x="883" y="488"/>
                  </a:cubicBezTo>
                  <a:cubicBezTo>
                    <a:pt x="883" y="488"/>
                    <a:pt x="892" y="458"/>
                    <a:pt x="891" y="448"/>
                  </a:cubicBezTo>
                  <a:cubicBezTo>
                    <a:pt x="890" y="438"/>
                    <a:pt x="863" y="387"/>
                    <a:pt x="862" y="381"/>
                  </a:cubicBezTo>
                  <a:cubicBezTo>
                    <a:pt x="862" y="378"/>
                    <a:pt x="866" y="376"/>
                    <a:pt x="870" y="373"/>
                  </a:cubicBezTo>
                  <a:cubicBezTo>
                    <a:pt x="870" y="373"/>
                    <a:pt x="870" y="373"/>
                    <a:pt x="870" y="373"/>
                  </a:cubicBezTo>
                  <a:cubicBezTo>
                    <a:pt x="864" y="350"/>
                    <a:pt x="849" y="288"/>
                    <a:pt x="849" y="277"/>
                  </a:cubicBezTo>
                  <a:cubicBezTo>
                    <a:pt x="849" y="264"/>
                    <a:pt x="817" y="252"/>
                    <a:pt x="817" y="252"/>
                  </a:cubicBezTo>
                  <a:cubicBezTo>
                    <a:pt x="817" y="252"/>
                    <a:pt x="817" y="234"/>
                    <a:pt x="816" y="226"/>
                  </a:cubicBezTo>
                  <a:cubicBezTo>
                    <a:pt x="815" y="218"/>
                    <a:pt x="789" y="213"/>
                    <a:pt x="789" y="213"/>
                  </a:cubicBezTo>
                  <a:cubicBezTo>
                    <a:pt x="789" y="194"/>
                    <a:pt x="789" y="194"/>
                    <a:pt x="789" y="194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782" y="194"/>
                    <a:pt x="782" y="181"/>
                    <a:pt x="782" y="171"/>
                  </a:cubicBezTo>
                  <a:cubicBezTo>
                    <a:pt x="782" y="161"/>
                    <a:pt x="798" y="148"/>
                    <a:pt x="798" y="148"/>
                  </a:cubicBezTo>
                  <a:cubicBezTo>
                    <a:pt x="812" y="137"/>
                    <a:pt x="812" y="137"/>
                    <a:pt x="812" y="137"/>
                  </a:cubicBezTo>
                  <a:cubicBezTo>
                    <a:pt x="812" y="137"/>
                    <a:pt x="819" y="115"/>
                    <a:pt x="820" y="105"/>
                  </a:cubicBezTo>
                  <a:cubicBezTo>
                    <a:pt x="821" y="95"/>
                    <a:pt x="819" y="83"/>
                    <a:pt x="815" y="76"/>
                  </a:cubicBezTo>
                  <a:cubicBezTo>
                    <a:pt x="811" y="69"/>
                    <a:pt x="820" y="38"/>
                    <a:pt x="820" y="38"/>
                  </a:cubicBezTo>
                  <a:cubicBezTo>
                    <a:pt x="807" y="34"/>
                    <a:pt x="807" y="34"/>
                    <a:pt x="807" y="34"/>
                  </a:cubicBezTo>
                  <a:cubicBezTo>
                    <a:pt x="835" y="21"/>
                    <a:pt x="835" y="21"/>
                    <a:pt x="835" y="21"/>
                  </a:cubicBezTo>
                  <a:cubicBezTo>
                    <a:pt x="835" y="11"/>
                    <a:pt x="835" y="11"/>
                    <a:pt x="835" y="11"/>
                  </a:cubicBezTo>
                  <a:cubicBezTo>
                    <a:pt x="826" y="11"/>
                    <a:pt x="815" y="10"/>
                    <a:pt x="815" y="10"/>
                  </a:cubicBezTo>
                  <a:cubicBezTo>
                    <a:pt x="806" y="15"/>
                    <a:pt x="806" y="15"/>
                    <a:pt x="806" y="15"/>
                  </a:cubicBezTo>
                  <a:cubicBezTo>
                    <a:pt x="779" y="3"/>
                    <a:pt x="779" y="3"/>
                    <a:pt x="779" y="3"/>
                  </a:cubicBezTo>
                  <a:cubicBezTo>
                    <a:pt x="769" y="5"/>
                    <a:pt x="769" y="5"/>
                    <a:pt x="769" y="5"/>
                  </a:cubicBezTo>
                  <a:cubicBezTo>
                    <a:pt x="769" y="14"/>
                    <a:pt x="769" y="14"/>
                    <a:pt x="769" y="14"/>
                  </a:cubicBezTo>
                  <a:cubicBezTo>
                    <a:pt x="744" y="12"/>
                    <a:pt x="744" y="12"/>
                    <a:pt x="744" y="12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724" y="19"/>
                    <a:pt x="724" y="19"/>
                    <a:pt x="724" y="19"/>
                  </a:cubicBezTo>
                  <a:cubicBezTo>
                    <a:pt x="704" y="14"/>
                    <a:pt x="704" y="14"/>
                    <a:pt x="704" y="14"/>
                  </a:cubicBezTo>
                  <a:cubicBezTo>
                    <a:pt x="686" y="29"/>
                    <a:pt x="686" y="29"/>
                    <a:pt x="686" y="29"/>
                  </a:cubicBezTo>
                  <a:cubicBezTo>
                    <a:pt x="686" y="29"/>
                    <a:pt x="662" y="17"/>
                    <a:pt x="631" y="18"/>
                  </a:cubicBezTo>
                  <a:cubicBezTo>
                    <a:pt x="600" y="19"/>
                    <a:pt x="599" y="26"/>
                    <a:pt x="585" y="27"/>
                  </a:cubicBezTo>
                  <a:cubicBezTo>
                    <a:pt x="571" y="28"/>
                    <a:pt x="545" y="27"/>
                    <a:pt x="545" y="27"/>
                  </a:cubicBezTo>
                  <a:cubicBezTo>
                    <a:pt x="542" y="34"/>
                    <a:pt x="542" y="34"/>
                    <a:pt x="542" y="34"/>
                  </a:cubicBezTo>
                  <a:cubicBezTo>
                    <a:pt x="503" y="33"/>
                    <a:pt x="503" y="33"/>
                    <a:pt x="503" y="33"/>
                  </a:cubicBezTo>
                  <a:cubicBezTo>
                    <a:pt x="503" y="33"/>
                    <a:pt x="456" y="43"/>
                    <a:pt x="455" y="51"/>
                  </a:cubicBezTo>
                  <a:cubicBezTo>
                    <a:pt x="454" y="59"/>
                    <a:pt x="446" y="72"/>
                    <a:pt x="446" y="72"/>
                  </a:cubicBezTo>
                  <a:cubicBezTo>
                    <a:pt x="446" y="72"/>
                    <a:pt x="396" y="74"/>
                    <a:pt x="394" y="83"/>
                  </a:cubicBezTo>
                  <a:cubicBezTo>
                    <a:pt x="392" y="92"/>
                    <a:pt x="370" y="113"/>
                    <a:pt x="355" y="113"/>
                  </a:cubicBezTo>
                  <a:cubicBezTo>
                    <a:pt x="353" y="113"/>
                    <a:pt x="351" y="113"/>
                    <a:pt x="349" y="112"/>
                  </a:cubicBezTo>
                  <a:cubicBezTo>
                    <a:pt x="349" y="112"/>
                    <a:pt x="349" y="112"/>
                    <a:pt x="349" y="112"/>
                  </a:cubicBezTo>
                  <a:cubicBezTo>
                    <a:pt x="350" y="116"/>
                    <a:pt x="354" y="125"/>
                    <a:pt x="364" y="129"/>
                  </a:cubicBezTo>
                  <a:cubicBezTo>
                    <a:pt x="364" y="130"/>
                    <a:pt x="360" y="141"/>
                    <a:pt x="360" y="141"/>
                  </a:cubicBezTo>
                  <a:cubicBezTo>
                    <a:pt x="368" y="141"/>
                    <a:pt x="368" y="141"/>
                    <a:pt x="368" y="141"/>
                  </a:cubicBezTo>
                  <a:cubicBezTo>
                    <a:pt x="365" y="186"/>
                    <a:pt x="365" y="186"/>
                    <a:pt x="365" y="186"/>
                  </a:cubicBezTo>
                  <a:cubicBezTo>
                    <a:pt x="371" y="197"/>
                    <a:pt x="371" y="197"/>
                    <a:pt x="371" y="197"/>
                  </a:cubicBezTo>
                  <a:cubicBezTo>
                    <a:pt x="364" y="218"/>
                    <a:pt x="364" y="218"/>
                    <a:pt x="364" y="218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5" y="238"/>
                    <a:pt x="375" y="238"/>
                    <a:pt x="375" y="238"/>
                  </a:cubicBezTo>
                  <a:cubicBezTo>
                    <a:pt x="393" y="250"/>
                    <a:pt x="393" y="250"/>
                    <a:pt x="393" y="250"/>
                  </a:cubicBezTo>
                  <a:cubicBezTo>
                    <a:pt x="393" y="250"/>
                    <a:pt x="384" y="256"/>
                    <a:pt x="382" y="259"/>
                  </a:cubicBezTo>
                  <a:cubicBezTo>
                    <a:pt x="380" y="262"/>
                    <a:pt x="381" y="269"/>
                    <a:pt x="381" y="269"/>
                  </a:cubicBezTo>
                  <a:cubicBezTo>
                    <a:pt x="343" y="274"/>
                    <a:pt x="343" y="274"/>
                    <a:pt x="343" y="274"/>
                  </a:cubicBezTo>
                  <a:cubicBezTo>
                    <a:pt x="343" y="274"/>
                    <a:pt x="333" y="268"/>
                    <a:pt x="329" y="268"/>
                  </a:cubicBezTo>
                  <a:cubicBezTo>
                    <a:pt x="325" y="268"/>
                    <a:pt x="321" y="275"/>
                    <a:pt x="321" y="275"/>
                  </a:cubicBezTo>
                  <a:cubicBezTo>
                    <a:pt x="321" y="275"/>
                    <a:pt x="313" y="270"/>
                    <a:pt x="308" y="273"/>
                  </a:cubicBezTo>
                  <a:cubicBezTo>
                    <a:pt x="303" y="276"/>
                    <a:pt x="310" y="283"/>
                    <a:pt x="303" y="288"/>
                  </a:cubicBezTo>
                  <a:cubicBezTo>
                    <a:pt x="296" y="293"/>
                    <a:pt x="274" y="287"/>
                    <a:pt x="266" y="294"/>
                  </a:cubicBezTo>
                  <a:cubicBezTo>
                    <a:pt x="258" y="301"/>
                    <a:pt x="267" y="318"/>
                    <a:pt x="267" y="31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60" y="337"/>
                    <a:pt x="260" y="337"/>
                    <a:pt x="260" y="337"/>
                  </a:cubicBezTo>
                  <a:cubicBezTo>
                    <a:pt x="260" y="337"/>
                    <a:pt x="248" y="356"/>
                    <a:pt x="242" y="356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2" name="Freeform 192">
              <a:extLst>
                <a:ext uri="{FF2B5EF4-FFF2-40B4-BE49-F238E27FC236}">
                  <a16:creationId xmlns:a16="http://schemas.microsoft.com/office/drawing/2014/main" id="{1CC87B49-73FE-1607-966B-F2DDB5730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2168" y="3089605"/>
              <a:ext cx="416142" cy="417666"/>
            </a:xfrm>
            <a:custGeom>
              <a:avLst/>
              <a:gdLst>
                <a:gd name="T0" fmla="*/ 6 w 731"/>
                <a:gd name="T1" fmla="*/ 2 h 737"/>
                <a:gd name="T2" fmla="*/ 4 w 731"/>
                <a:gd name="T3" fmla="*/ 3 h 737"/>
                <a:gd name="T4" fmla="*/ 3 w 731"/>
                <a:gd name="T5" fmla="*/ 4 h 737"/>
                <a:gd name="T6" fmla="*/ 2 w 731"/>
                <a:gd name="T7" fmla="*/ 4 h 737"/>
                <a:gd name="T8" fmla="*/ 2 w 731"/>
                <a:gd name="T9" fmla="*/ 6 h 737"/>
                <a:gd name="T10" fmla="*/ 1 w 731"/>
                <a:gd name="T11" fmla="*/ 8 h 737"/>
                <a:gd name="T12" fmla="*/ 0 w 731"/>
                <a:gd name="T13" fmla="*/ 9 h 737"/>
                <a:gd name="T14" fmla="*/ 1 w 731"/>
                <a:gd name="T15" fmla="*/ 12 h 737"/>
                <a:gd name="T16" fmla="*/ 1 w 731"/>
                <a:gd name="T17" fmla="*/ 14 h 737"/>
                <a:gd name="T18" fmla="*/ 1 w 731"/>
                <a:gd name="T19" fmla="*/ 15 h 737"/>
                <a:gd name="T20" fmla="*/ 1 w 731"/>
                <a:gd name="T21" fmla="*/ 16 h 737"/>
                <a:gd name="T22" fmla="*/ 1 w 731"/>
                <a:gd name="T23" fmla="*/ 17 h 737"/>
                <a:gd name="T24" fmla="*/ 1 w 731"/>
                <a:gd name="T25" fmla="*/ 18 h 737"/>
                <a:gd name="T26" fmla="*/ 0 w 731"/>
                <a:gd name="T27" fmla="*/ 19 h 737"/>
                <a:gd name="T28" fmla="*/ 1 w 731"/>
                <a:gd name="T29" fmla="*/ 22 h 737"/>
                <a:gd name="T30" fmla="*/ 1 w 731"/>
                <a:gd name="T31" fmla="*/ 23 h 737"/>
                <a:gd name="T32" fmla="*/ 3 w 731"/>
                <a:gd name="T33" fmla="*/ 24 h 737"/>
                <a:gd name="T34" fmla="*/ 3 w 731"/>
                <a:gd name="T35" fmla="*/ 24 h 737"/>
                <a:gd name="T36" fmla="*/ 5 w 731"/>
                <a:gd name="T37" fmla="*/ 25 h 737"/>
                <a:gd name="T38" fmla="*/ 6 w 731"/>
                <a:gd name="T39" fmla="*/ 27 h 737"/>
                <a:gd name="T40" fmla="*/ 8 w 731"/>
                <a:gd name="T41" fmla="*/ 27 h 737"/>
                <a:gd name="T42" fmla="*/ 10 w 731"/>
                <a:gd name="T43" fmla="*/ 28 h 737"/>
                <a:gd name="T44" fmla="*/ 12 w 731"/>
                <a:gd name="T45" fmla="*/ 29 h 737"/>
                <a:gd name="T46" fmla="*/ 16 w 731"/>
                <a:gd name="T47" fmla="*/ 27 h 737"/>
                <a:gd name="T48" fmla="*/ 35 w 731"/>
                <a:gd name="T49" fmla="*/ 38 h 737"/>
                <a:gd name="T50" fmla="*/ 35 w 731"/>
                <a:gd name="T51" fmla="*/ 36 h 737"/>
                <a:gd name="T52" fmla="*/ 38 w 731"/>
                <a:gd name="T53" fmla="*/ 36 h 737"/>
                <a:gd name="T54" fmla="*/ 38 w 731"/>
                <a:gd name="T55" fmla="*/ 31 h 737"/>
                <a:gd name="T56" fmla="*/ 37 w 731"/>
                <a:gd name="T57" fmla="*/ 10 h 737"/>
                <a:gd name="T58" fmla="*/ 36 w 731"/>
                <a:gd name="T59" fmla="*/ 9 h 737"/>
                <a:gd name="T60" fmla="*/ 37 w 731"/>
                <a:gd name="T61" fmla="*/ 7 h 737"/>
                <a:gd name="T62" fmla="*/ 37 w 731"/>
                <a:gd name="T63" fmla="*/ 6 h 737"/>
                <a:gd name="T64" fmla="*/ 37 w 731"/>
                <a:gd name="T65" fmla="*/ 5 h 737"/>
                <a:gd name="T66" fmla="*/ 37 w 731"/>
                <a:gd name="T67" fmla="*/ 4 h 737"/>
                <a:gd name="T68" fmla="*/ 37 w 731"/>
                <a:gd name="T69" fmla="*/ 3 h 737"/>
                <a:gd name="T70" fmla="*/ 37 w 731"/>
                <a:gd name="T71" fmla="*/ 3 h 737"/>
                <a:gd name="T72" fmla="*/ 36 w 731"/>
                <a:gd name="T73" fmla="*/ 3 h 737"/>
                <a:gd name="T74" fmla="*/ 35 w 731"/>
                <a:gd name="T75" fmla="*/ 3 h 737"/>
                <a:gd name="T76" fmla="*/ 34 w 731"/>
                <a:gd name="T77" fmla="*/ 3 h 737"/>
                <a:gd name="T78" fmla="*/ 33 w 731"/>
                <a:gd name="T79" fmla="*/ 3 h 737"/>
                <a:gd name="T80" fmla="*/ 32 w 731"/>
                <a:gd name="T81" fmla="*/ 1 h 737"/>
                <a:gd name="T82" fmla="*/ 31 w 731"/>
                <a:gd name="T83" fmla="*/ 1 h 737"/>
                <a:gd name="T84" fmla="*/ 29 w 731"/>
                <a:gd name="T85" fmla="*/ 1 h 737"/>
                <a:gd name="T86" fmla="*/ 29 w 731"/>
                <a:gd name="T87" fmla="*/ 1 h 737"/>
                <a:gd name="T88" fmla="*/ 27 w 731"/>
                <a:gd name="T89" fmla="*/ 1 h 737"/>
                <a:gd name="T90" fmla="*/ 25 w 731"/>
                <a:gd name="T91" fmla="*/ 4 h 737"/>
                <a:gd name="T92" fmla="*/ 26 w 731"/>
                <a:gd name="T93" fmla="*/ 6 h 737"/>
                <a:gd name="T94" fmla="*/ 24 w 731"/>
                <a:gd name="T95" fmla="*/ 8 h 737"/>
                <a:gd name="T96" fmla="*/ 22 w 731"/>
                <a:gd name="T97" fmla="*/ 7 h 737"/>
                <a:gd name="T98" fmla="*/ 18 w 731"/>
                <a:gd name="T99" fmla="*/ 5 h 737"/>
                <a:gd name="T100" fmla="*/ 15 w 731"/>
                <a:gd name="T101" fmla="*/ 5 h 737"/>
                <a:gd name="T102" fmla="*/ 14 w 731"/>
                <a:gd name="T103" fmla="*/ 3 h 737"/>
                <a:gd name="T104" fmla="*/ 13 w 731"/>
                <a:gd name="T105" fmla="*/ 2 h 737"/>
                <a:gd name="T106" fmla="*/ 11 w 731"/>
                <a:gd name="T107" fmla="*/ 1 h 737"/>
                <a:gd name="T108" fmla="*/ 9 w 731"/>
                <a:gd name="T109" fmla="*/ 1 h 737"/>
                <a:gd name="T110" fmla="*/ 7 w 731"/>
                <a:gd name="T111" fmla="*/ 1 h 737"/>
                <a:gd name="T112" fmla="*/ 6 w 731"/>
                <a:gd name="T113" fmla="*/ 0 h 737"/>
                <a:gd name="T114" fmla="*/ 5 w 731"/>
                <a:gd name="T115" fmla="*/ 0 h 737"/>
                <a:gd name="T116" fmla="*/ 5 w 731"/>
                <a:gd name="T117" fmla="*/ 1 h 737"/>
                <a:gd name="T118" fmla="*/ 6 w 731"/>
                <a:gd name="T119" fmla="*/ 2 h 7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31"/>
                <a:gd name="T181" fmla="*/ 0 h 737"/>
                <a:gd name="T182" fmla="*/ 731 w 731"/>
                <a:gd name="T183" fmla="*/ 737 h 73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31" h="737">
                  <a:moveTo>
                    <a:pt x="104" y="37"/>
                  </a:moveTo>
                  <a:cubicBezTo>
                    <a:pt x="100" y="45"/>
                    <a:pt x="75" y="49"/>
                    <a:pt x="69" y="55"/>
                  </a:cubicBezTo>
                  <a:cubicBezTo>
                    <a:pt x="63" y="61"/>
                    <a:pt x="50" y="78"/>
                    <a:pt x="50" y="78"/>
                  </a:cubicBezTo>
                  <a:cubicBezTo>
                    <a:pt x="50" y="78"/>
                    <a:pt x="37" y="83"/>
                    <a:pt x="35" y="89"/>
                  </a:cubicBezTo>
                  <a:cubicBezTo>
                    <a:pt x="33" y="95"/>
                    <a:pt x="43" y="115"/>
                    <a:pt x="44" y="127"/>
                  </a:cubicBezTo>
                  <a:cubicBezTo>
                    <a:pt x="45" y="139"/>
                    <a:pt x="25" y="153"/>
                    <a:pt x="25" y="153"/>
                  </a:cubicBezTo>
                  <a:cubicBezTo>
                    <a:pt x="25" y="153"/>
                    <a:pt x="0" y="161"/>
                    <a:pt x="1" y="167"/>
                  </a:cubicBezTo>
                  <a:cubicBezTo>
                    <a:pt x="2" y="173"/>
                    <a:pt x="29" y="224"/>
                    <a:pt x="30" y="234"/>
                  </a:cubicBezTo>
                  <a:cubicBezTo>
                    <a:pt x="31" y="244"/>
                    <a:pt x="22" y="274"/>
                    <a:pt x="22" y="274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24" y="337"/>
                    <a:pt x="24" y="337"/>
                    <a:pt x="24" y="337"/>
                  </a:cubicBezTo>
                  <a:cubicBezTo>
                    <a:pt x="24" y="337"/>
                    <a:pt x="28" y="343"/>
                    <a:pt x="28" y="355"/>
                  </a:cubicBezTo>
                  <a:cubicBezTo>
                    <a:pt x="28" y="367"/>
                    <a:pt x="2" y="369"/>
                    <a:pt x="1" y="375"/>
                  </a:cubicBezTo>
                  <a:cubicBezTo>
                    <a:pt x="0" y="381"/>
                    <a:pt x="27" y="417"/>
                    <a:pt x="32" y="425"/>
                  </a:cubicBezTo>
                  <a:cubicBezTo>
                    <a:pt x="37" y="433"/>
                    <a:pt x="32" y="443"/>
                    <a:pt x="32" y="450"/>
                  </a:cubicBezTo>
                  <a:cubicBezTo>
                    <a:pt x="32" y="457"/>
                    <a:pt x="44" y="468"/>
                    <a:pt x="48" y="470"/>
                  </a:cubicBezTo>
                  <a:cubicBezTo>
                    <a:pt x="52" y="472"/>
                    <a:pt x="57" y="467"/>
                    <a:pt x="63" y="464"/>
                  </a:cubicBezTo>
                  <a:cubicBezTo>
                    <a:pt x="69" y="461"/>
                    <a:pt x="97" y="474"/>
                    <a:pt x="102" y="477"/>
                  </a:cubicBezTo>
                  <a:cubicBezTo>
                    <a:pt x="107" y="480"/>
                    <a:pt x="122" y="521"/>
                    <a:pt x="122" y="521"/>
                  </a:cubicBezTo>
                  <a:cubicBezTo>
                    <a:pt x="147" y="527"/>
                    <a:pt x="147" y="527"/>
                    <a:pt x="147" y="527"/>
                  </a:cubicBezTo>
                  <a:cubicBezTo>
                    <a:pt x="147" y="527"/>
                    <a:pt x="187" y="535"/>
                    <a:pt x="194" y="537"/>
                  </a:cubicBezTo>
                  <a:cubicBezTo>
                    <a:pt x="201" y="539"/>
                    <a:pt x="217" y="567"/>
                    <a:pt x="228" y="566"/>
                  </a:cubicBezTo>
                  <a:cubicBezTo>
                    <a:pt x="239" y="565"/>
                    <a:pt x="311" y="521"/>
                    <a:pt x="311" y="521"/>
                  </a:cubicBezTo>
                  <a:cubicBezTo>
                    <a:pt x="684" y="737"/>
                    <a:pt x="684" y="737"/>
                    <a:pt x="684" y="737"/>
                  </a:cubicBezTo>
                  <a:cubicBezTo>
                    <a:pt x="683" y="708"/>
                    <a:pt x="683" y="708"/>
                    <a:pt x="683" y="708"/>
                  </a:cubicBezTo>
                  <a:cubicBezTo>
                    <a:pt x="731" y="707"/>
                    <a:pt x="731" y="707"/>
                    <a:pt x="731" y="707"/>
                  </a:cubicBezTo>
                  <a:cubicBezTo>
                    <a:pt x="730" y="599"/>
                    <a:pt x="730" y="599"/>
                    <a:pt x="730" y="599"/>
                  </a:cubicBezTo>
                  <a:cubicBezTo>
                    <a:pt x="730" y="599"/>
                    <a:pt x="717" y="214"/>
                    <a:pt x="717" y="201"/>
                  </a:cubicBezTo>
                  <a:cubicBezTo>
                    <a:pt x="717" y="188"/>
                    <a:pt x="702" y="170"/>
                    <a:pt x="699" y="163"/>
                  </a:cubicBezTo>
                  <a:cubicBezTo>
                    <a:pt x="696" y="156"/>
                    <a:pt x="710" y="144"/>
                    <a:pt x="713" y="135"/>
                  </a:cubicBezTo>
                  <a:cubicBezTo>
                    <a:pt x="716" y="126"/>
                    <a:pt x="704" y="119"/>
                    <a:pt x="703" y="115"/>
                  </a:cubicBezTo>
                  <a:cubicBezTo>
                    <a:pt x="702" y="111"/>
                    <a:pt x="702" y="97"/>
                    <a:pt x="707" y="94"/>
                  </a:cubicBezTo>
                  <a:cubicBezTo>
                    <a:pt x="711" y="92"/>
                    <a:pt x="717" y="85"/>
                    <a:pt x="720" y="81"/>
                  </a:cubicBezTo>
                  <a:cubicBezTo>
                    <a:pt x="714" y="72"/>
                    <a:pt x="716" y="63"/>
                    <a:pt x="716" y="63"/>
                  </a:cubicBezTo>
                  <a:cubicBezTo>
                    <a:pt x="701" y="68"/>
                    <a:pt x="701" y="68"/>
                    <a:pt x="701" y="68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59"/>
                    <a:pt x="689" y="67"/>
                    <a:pt x="682" y="67"/>
                  </a:cubicBezTo>
                  <a:cubicBezTo>
                    <a:pt x="675" y="67"/>
                    <a:pt x="667" y="50"/>
                    <a:pt x="658" y="50"/>
                  </a:cubicBezTo>
                  <a:cubicBezTo>
                    <a:pt x="649" y="50"/>
                    <a:pt x="639" y="57"/>
                    <a:pt x="628" y="49"/>
                  </a:cubicBezTo>
                  <a:cubicBezTo>
                    <a:pt x="617" y="41"/>
                    <a:pt x="626" y="32"/>
                    <a:pt x="617" y="28"/>
                  </a:cubicBezTo>
                  <a:cubicBezTo>
                    <a:pt x="608" y="24"/>
                    <a:pt x="590" y="23"/>
                    <a:pt x="590" y="23"/>
                  </a:cubicBezTo>
                  <a:cubicBezTo>
                    <a:pt x="590" y="23"/>
                    <a:pt x="569" y="15"/>
                    <a:pt x="561" y="15"/>
                  </a:cubicBezTo>
                  <a:cubicBezTo>
                    <a:pt x="553" y="15"/>
                    <a:pt x="553" y="23"/>
                    <a:pt x="553" y="23"/>
                  </a:cubicBezTo>
                  <a:cubicBezTo>
                    <a:pt x="553" y="23"/>
                    <a:pt x="523" y="21"/>
                    <a:pt x="510" y="31"/>
                  </a:cubicBezTo>
                  <a:cubicBezTo>
                    <a:pt x="497" y="41"/>
                    <a:pt x="480" y="54"/>
                    <a:pt x="480" y="70"/>
                  </a:cubicBezTo>
                  <a:cubicBezTo>
                    <a:pt x="480" y="86"/>
                    <a:pt x="496" y="105"/>
                    <a:pt x="496" y="114"/>
                  </a:cubicBezTo>
                  <a:cubicBezTo>
                    <a:pt x="496" y="123"/>
                    <a:pt x="475" y="152"/>
                    <a:pt x="463" y="154"/>
                  </a:cubicBezTo>
                  <a:cubicBezTo>
                    <a:pt x="451" y="156"/>
                    <a:pt x="433" y="159"/>
                    <a:pt x="419" y="144"/>
                  </a:cubicBezTo>
                  <a:cubicBezTo>
                    <a:pt x="405" y="129"/>
                    <a:pt x="366" y="106"/>
                    <a:pt x="351" y="105"/>
                  </a:cubicBezTo>
                  <a:cubicBezTo>
                    <a:pt x="336" y="104"/>
                    <a:pt x="302" y="113"/>
                    <a:pt x="289" y="97"/>
                  </a:cubicBezTo>
                  <a:cubicBezTo>
                    <a:pt x="276" y="81"/>
                    <a:pt x="280" y="69"/>
                    <a:pt x="271" y="53"/>
                  </a:cubicBezTo>
                  <a:cubicBezTo>
                    <a:pt x="262" y="37"/>
                    <a:pt x="244" y="40"/>
                    <a:pt x="244" y="40"/>
                  </a:cubicBezTo>
                  <a:cubicBezTo>
                    <a:pt x="244" y="40"/>
                    <a:pt x="220" y="22"/>
                    <a:pt x="212" y="21"/>
                  </a:cubicBezTo>
                  <a:cubicBezTo>
                    <a:pt x="204" y="20"/>
                    <a:pt x="180" y="19"/>
                    <a:pt x="173" y="20"/>
                  </a:cubicBezTo>
                  <a:cubicBezTo>
                    <a:pt x="166" y="21"/>
                    <a:pt x="154" y="28"/>
                    <a:pt x="143" y="24"/>
                  </a:cubicBezTo>
                  <a:cubicBezTo>
                    <a:pt x="132" y="20"/>
                    <a:pt x="112" y="4"/>
                    <a:pt x="107" y="3"/>
                  </a:cubicBezTo>
                  <a:cubicBezTo>
                    <a:pt x="104" y="2"/>
                    <a:pt x="100" y="1"/>
                    <a:pt x="96" y="0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108" y="29"/>
                    <a:pt x="104" y="37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3" name="Freeform 193">
              <a:extLst>
                <a:ext uri="{FF2B5EF4-FFF2-40B4-BE49-F238E27FC236}">
                  <a16:creationId xmlns:a16="http://schemas.microsoft.com/office/drawing/2014/main" id="{1D0BF29D-E492-8544-C5A9-39889A37C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996" y="3397519"/>
              <a:ext cx="445104" cy="600585"/>
            </a:xfrm>
            <a:custGeom>
              <a:avLst/>
              <a:gdLst>
                <a:gd name="T0" fmla="*/ 30 w 781"/>
                <a:gd name="T1" fmla="*/ 2 h 1054"/>
                <a:gd name="T2" fmla="*/ 23 w 781"/>
                <a:gd name="T3" fmla="*/ 3 h 1054"/>
                <a:gd name="T4" fmla="*/ 7 w 781"/>
                <a:gd name="T5" fmla="*/ 3 h 1054"/>
                <a:gd name="T6" fmla="*/ 5 w 781"/>
                <a:gd name="T7" fmla="*/ 21 h 1054"/>
                <a:gd name="T8" fmla="*/ 2 w 781"/>
                <a:gd name="T9" fmla="*/ 23 h 1054"/>
                <a:gd name="T10" fmla="*/ 1 w 781"/>
                <a:gd name="T11" fmla="*/ 24 h 1054"/>
                <a:gd name="T12" fmla="*/ 1 w 781"/>
                <a:gd name="T13" fmla="*/ 26 h 1054"/>
                <a:gd name="T14" fmla="*/ 0 w 781"/>
                <a:gd name="T15" fmla="*/ 30 h 1054"/>
                <a:gd name="T16" fmla="*/ 2 w 781"/>
                <a:gd name="T17" fmla="*/ 31 h 1054"/>
                <a:gd name="T18" fmla="*/ 3 w 781"/>
                <a:gd name="T19" fmla="*/ 33 h 1054"/>
                <a:gd name="T20" fmla="*/ 5 w 781"/>
                <a:gd name="T21" fmla="*/ 37 h 1054"/>
                <a:gd name="T22" fmla="*/ 4 w 781"/>
                <a:gd name="T23" fmla="*/ 40 h 1054"/>
                <a:gd name="T24" fmla="*/ 6 w 781"/>
                <a:gd name="T25" fmla="*/ 41 h 1054"/>
                <a:gd name="T26" fmla="*/ 9 w 781"/>
                <a:gd name="T27" fmla="*/ 43 h 1054"/>
                <a:gd name="T28" fmla="*/ 11 w 781"/>
                <a:gd name="T29" fmla="*/ 46 h 1054"/>
                <a:gd name="T30" fmla="*/ 12 w 781"/>
                <a:gd name="T31" fmla="*/ 47 h 1054"/>
                <a:gd name="T32" fmla="*/ 13 w 781"/>
                <a:gd name="T33" fmla="*/ 49 h 1054"/>
                <a:gd name="T34" fmla="*/ 15 w 781"/>
                <a:gd name="T35" fmla="*/ 51 h 1054"/>
                <a:gd name="T36" fmla="*/ 18 w 781"/>
                <a:gd name="T37" fmla="*/ 52 h 1054"/>
                <a:gd name="T38" fmla="*/ 21 w 781"/>
                <a:gd name="T39" fmla="*/ 53 h 1054"/>
                <a:gd name="T40" fmla="*/ 22 w 781"/>
                <a:gd name="T41" fmla="*/ 55 h 1054"/>
                <a:gd name="T42" fmla="*/ 25 w 781"/>
                <a:gd name="T43" fmla="*/ 54 h 1054"/>
                <a:gd name="T44" fmla="*/ 27 w 781"/>
                <a:gd name="T45" fmla="*/ 54 h 1054"/>
                <a:gd name="T46" fmla="*/ 29 w 781"/>
                <a:gd name="T47" fmla="*/ 54 h 1054"/>
                <a:gd name="T48" fmla="*/ 31 w 781"/>
                <a:gd name="T49" fmla="*/ 52 h 1054"/>
                <a:gd name="T50" fmla="*/ 35 w 781"/>
                <a:gd name="T51" fmla="*/ 51 h 1054"/>
                <a:gd name="T52" fmla="*/ 33 w 781"/>
                <a:gd name="T53" fmla="*/ 47 h 1054"/>
                <a:gd name="T54" fmla="*/ 32 w 781"/>
                <a:gd name="T55" fmla="*/ 46 h 1054"/>
                <a:gd name="T56" fmla="*/ 31 w 781"/>
                <a:gd name="T57" fmla="*/ 44 h 1054"/>
                <a:gd name="T58" fmla="*/ 28 w 781"/>
                <a:gd name="T59" fmla="*/ 42 h 1054"/>
                <a:gd name="T60" fmla="*/ 30 w 781"/>
                <a:gd name="T61" fmla="*/ 41 h 1054"/>
                <a:gd name="T62" fmla="*/ 30 w 781"/>
                <a:gd name="T63" fmla="*/ 38 h 1054"/>
                <a:gd name="T64" fmla="*/ 31 w 781"/>
                <a:gd name="T65" fmla="*/ 34 h 1054"/>
                <a:gd name="T66" fmla="*/ 33 w 781"/>
                <a:gd name="T67" fmla="*/ 33 h 1054"/>
                <a:gd name="T68" fmla="*/ 34 w 781"/>
                <a:gd name="T69" fmla="*/ 31 h 1054"/>
                <a:gd name="T70" fmla="*/ 36 w 781"/>
                <a:gd name="T71" fmla="*/ 29 h 1054"/>
                <a:gd name="T72" fmla="*/ 36 w 781"/>
                <a:gd name="T73" fmla="*/ 25 h 1054"/>
                <a:gd name="T74" fmla="*/ 36 w 781"/>
                <a:gd name="T75" fmla="*/ 22 h 1054"/>
                <a:gd name="T76" fmla="*/ 37 w 781"/>
                <a:gd name="T77" fmla="*/ 18 h 1054"/>
                <a:gd name="T78" fmla="*/ 38 w 781"/>
                <a:gd name="T79" fmla="*/ 17 h 1054"/>
                <a:gd name="T80" fmla="*/ 41 w 781"/>
                <a:gd name="T81" fmla="*/ 14 h 1054"/>
                <a:gd name="T82" fmla="*/ 38 w 781"/>
                <a:gd name="T83" fmla="*/ 12 h 1054"/>
                <a:gd name="T84" fmla="*/ 37 w 781"/>
                <a:gd name="T85" fmla="*/ 7 h 1054"/>
                <a:gd name="T86" fmla="*/ 36 w 781"/>
                <a:gd name="T87" fmla="*/ 4 h 1054"/>
                <a:gd name="T88" fmla="*/ 34 w 781"/>
                <a:gd name="T89" fmla="*/ 1 h 1054"/>
                <a:gd name="T90" fmla="*/ 32 w 781"/>
                <a:gd name="T91" fmla="*/ 1 h 10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1"/>
                <a:gd name="T139" fmla="*/ 0 h 1054"/>
                <a:gd name="T140" fmla="*/ 781 w 781"/>
                <a:gd name="T141" fmla="*/ 1054 h 105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1" h="1054">
                  <a:moveTo>
                    <a:pt x="601" y="16"/>
                  </a:moveTo>
                  <a:cubicBezTo>
                    <a:pt x="601" y="16"/>
                    <a:pt x="601" y="39"/>
                    <a:pt x="591" y="43"/>
                  </a:cubicBezTo>
                  <a:cubicBezTo>
                    <a:pt x="581" y="47"/>
                    <a:pt x="579" y="43"/>
                    <a:pt x="569" y="46"/>
                  </a:cubicBezTo>
                  <a:cubicBezTo>
                    <a:pt x="559" y="49"/>
                    <a:pt x="560" y="70"/>
                    <a:pt x="547" y="77"/>
                  </a:cubicBezTo>
                  <a:cubicBezTo>
                    <a:pt x="534" y="84"/>
                    <a:pt x="522" y="59"/>
                    <a:pt x="522" y="59"/>
                  </a:cubicBezTo>
                  <a:cubicBezTo>
                    <a:pt x="443" y="56"/>
                    <a:pt x="443" y="56"/>
                    <a:pt x="443" y="56"/>
                  </a:cubicBezTo>
                  <a:cubicBezTo>
                    <a:pt x="443" y="56"/>
                    <a:pt x="445" y="46"/>
                    <a:pt x="438" y="48"/>
                  </a:cubicBezTo>
                  <a:cubicBezTo>
                    <a:pt x="431" y="50"/>
                    <a:pt x="429" y="60"/>
                    <a:pt x="429" y="60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101" y="398"/>
                    <a:pt x="101" y="398"/>
                    <a:pt x="101" y="398"/>
                  </a:cubicBezTo>
                  <a:cubicBezTo>
                    <a:pt x="101" y="398"/>
                    <a:pt x="69" y="393"/>
                    <a:pt x="56" y="397"/>
                  </a:cubicBezTo>
                  <a:cubicBezTo>
                    <a:pt x="43" y="401"/>
                    <a:pt x="52" y="412"/>
                    <a:pt x="54" y="420"/>
                  </a:cubicBezTo>
                  <a:cubicBezTo>
                    <a:pt x="56" y="428"/>
                    <a:pt x="47" y="428"/>
                    <a:pt x="41" y="434"/>
                  </a:cubicBezTo>
                  <a:cubicBezTo>
                    <a:pt x="35" y="440"/>
                    <a:pt x="37" y="452"/>
                    <a:pt x="37" y="452"/>
                  </a:cubicBezTo>
                  <a:cubicBezTo>
                    <a:pt x="27" y="452"/>
                    <a:pt x="27" y="452"/>
                    <a:pt x="27" y="452"/>
                  </a:cubicBezTo>
                  <a:cubicBezTo>
                    <a:pt x="30" y="468"/>
                    <a:pt x="30" y="468"/>
                    <a:pt x="30" y="468"/>
                  </a:cubicBezTo>
                  <a:cubicBezTo>
                    <a:pt x="35" y="479"/>
                    <a:pt x="35" y="479"/>
                    <a:pt x="35" y="479"/>
                  </a:cubicBezTo>
                  <a:cubicBezTo>
                    <a:pt x="24" y="486"/>
                    <a:pt x="24" y="486"/>
                    <a:pt x="24" y="486"/>
                  </a:cubicBezTo>
                  <a:cubicBezTo>
                    <a:pt x="24" y="486"/>
                    <a:pt x="9" y="494"/>
                    <a:pt x="15" y="504"/>
                  </a:cubicBezTo>
                  <a:cubicBezTo>
                    <a:pt x="21" y="514"/>
                    <a:pt x="24" y="518"/>
                    <a:pt x="22" y="527"/>
                  </a:cubicBezTo>
                  <a:cubicBezTo>
                    <a:pt x="20" y="536"/>
                    <a:pt x="6" y="536"/>
                    <a:pt x="3" y="547"/>
                  </a:cubicBezTo>
                  <a:cubicBezTo>
                    <a:pt x="0" y="558"/>
                    <a:pt x="6" y="563"/>
                    <a:pt x="11" y="565"/>
                  </a:cubicBezTo>
                  <a:cubicBezTo>
                    <a:pt x="16" y="567"/>
                    <a:pt x="21" y="557"/>
                    <a:pt x="28" y="560"/>
                  </a:cubicBezTo>
                  <a:cubicBezTo>
                    <a:pt x="35" y="563"/>
                    <a:pt x="33" y="590"/>
                    <a:pt x="33" y="590"/>
                  </a:cubicBezTo>
                  <a:cubicBezTo>
                    <a:pt x="42" y="598"/>
                    <a:pt x="42" y="598"/>
                    <a:pt x="42" y="598"/>
                  </a:cubicBezTo>
                  <a:cubicBezTo>
                    <a:pt x="31" y="603"/>
                    <a:pt x="31" y="603"/>
                    <a:pt x="31" y="603"/>
                  </a:cubicBezTo>
                  <a:cubicBezTo>
                    <a:pt x="35" y="620"/>
                    <a:pt x="35" y="620"/>
                    <a:pt x="35" y="620"/>
                  </a:cubicBezTo>
                  <a:cubicBezTo>
                    <a:pt x="35" y="620"/>
                    <a:pt x="44" y="621"/>
                    <a:pt x="56" y="634"/>
                  </a:cubicBezTo>
                  <a:cubicBezTo>
                    <a:pt x="68" y="647"/>
                    <a:pt x="50" y="643"/>
                    <a:pt x="50" y="643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52" y="659"/>
                    <a:pt x="89" y="692"/>
                    <a:pt x="93" y="714"/>
                  </a:cubicBezTo>
                  <a:cubicBezTo>
                    <a:pt x="97" y="736"/>
                    <a:pt x="82" y="743"/>
                    <a:pt x="81" y="753"/>
                  </a:cubicBezTo>
                  <a:cubicBezTo>
                    <a:pt x="80" y="763"/>
                    <a:pt x="89" y="760"/>
                    <a:pt x="89" y="760"/>
                  </a:cubicBezTo>
                  <a:cubicBezTo>
                    <a:pt x="83" y="771"/>
                    <a:pt x="83" y="771"/>
                    <a:pt x="83" y="771"/>
                  </a:cubicBezTo>
                  <a:cubicBezTo>
                    <a:pt x="117" y="774"/>
                    <a:pt x="117" y="774"/>
                    <a:pt x="117" y="774"/>
                  </a:cubicBezTo>
                  <a:cubicBezTo>
                    <a:pt x="117" y="781"/>
                    <a:pt x="117" y="781"/>
                    <a:pt x="117" y="781"/>
                  </a:cubicBezTo>
                  <a:cubicBezTo>
                    <a:pt x="117" y="781"/>
                    <a:pt x="110" y="789"/>
                    <a:pt x="116" y="797"/>
                  </a:cubicBezTo>
                  <a:cubicBezTo>
                    <a:pt x="122" y="805"/>
                    <a:pt x="152" y="803"/>
                    <a:pt x="152" y="803"/>
                  </a:cubicBezTo>
                  <a:cubicBezTo>
                    <a:pt x="152" y="816"/>
                    <a:pt x="152" y="816"/>
                    <a:pt x="152" y="816"/>
                  </a:cubicBezTo>
                  <a:cubicBezTo>
                    <a:pt x="152" y="816"/>
                    <a:pt x="168" y="815"/>
                    <a:pt x="171" y="826"/>
                  </a:cubicBezTo>
                  <a:cubicBezTo>
                    <a:pt x="174" y="837"/>
                    <a:pt x="159" y="831"/>
                    <a:pt x="165" y="841"/>
                  </a:cubicBezTo>
                  <a:cubicBezTo>
                    <a:pt x="171" y="851"/>
                    <a:pt x="185" y="853"/>
                    <a:pt x="192" y="854"/>
                  </a:cubicBezTo>
                  <a:cubicBezTo>
                    <a:pt x="199" y="855"/>
                    <a:pt x="208" y="878"/>
                    <a:pt x="208" y="878"/>
                  </a:cubicBezTo>
                  <a:cubicBezTo>
                    <a:pt x="208" y="878"/>
                    <a:pt x="223" y="879"/>
                    <a:pt x="223" y="887"/>
                  </a:cubicBezTo>
                  <a:cubicBezTo>
                    <a:pt x="223" y="895"/>
                    <a:pt x="216" y="889"/>
                    <a:pt x="217" y="895"/>
                  </a:cubicBezTo>
                  <a:cubicBezTo>
                    <a:pt x="218" y="901"/>
                    <a:pt x="225" y="904"/>
                    <a:pt x="225" y="904"/>
                  </a:cubicBezTo>
                  <a:cubicBezTo>
                    <a:pt x="224" y="917"/>
                    <a:pt x="224" y="917"/>
                    <a:pt x="224" y="917"/>
                  </a:cubicBezTo>
                  <a:cubicBezTo>
                    <a:pt x="239" y="918"/>
                    <a:pt x="239" y="918"/>
                    <a:pt x="239" y="918"/>
                  </a:cubicBezTo>
                  <a:cubicBezTo>
                    <a:pt x="239" y="918"/>
                    <a:pt x="248" y="924"/>
                    <a:pt x="256" y="932"/>
                  </a:cubicBezTo>
                  <a:cubicBezTo>
                    <a:pt x="264" y="940"/>
                    <a:pt x="260" y="954"/>
                    <a:pt x="260" y="954"/>
                  </a:cubicBezTo>
                  <a:cubicBezTo>
                    <a:pt x="264" y="962"/>
                    <a:pt x="264" y="962"/>
                    <a:pt x="264" y="962"/>
                  </a:cubicBezTo>
                  <a:cubicBezTo>
                    <a:pt x="285" y="981"/>
                    <a:pt x="285" y="981"/>
                    <a:pt x="285" y="981"/>
                  </a:cubicBezTo>
                  <a:cubicBezTo>
                    <a:pt x="285" y="995"/>
                    <a:pt x="285" y="995"/>
                    <a:pt x="285" y="995"/>
                  </a:cubicBezTo>
                  <a:cubicBezTo>
                    <a:pt x="316" y="1010"/>
                    <a:pt x="316" y="1010"/>
                    <a:pt x="316" y="1010"/>
                  </a:cubicBezTo>
                  <a:cubicBezTo>
                    <a:pt x="316" y="1010"/>
                    <a:pt x="324" y="994"/>
                    <a:pt x="333" y="994"/>
                  </a:cubicBezTo>
                  <a:cubicBezTo>
                    <a:pt x="342" y="994"/>
                    <a:pt x="343" y="1006"/>
                    <a:pt x="354" y="1006"/>
                  </a:cubicBezTo>
                  <a:cubicBezTo>
                    <a:pt x="365" y="1006"/>
                    <a:pt x="364" y="988"/>
                    <a:pt x="371" y="988"/>
                  </a:cubicBezTo>
                  <a:cubicBezTo>
                    <a:pt x="378" y="988"/>
                    <a:pt x="382" y="1005"/>
                    <a:pt x="390" y="1017"/>
                  </a:cubicBezTo>
                  <a:cubicBezTo>
                    <a:pt x="398" y="1029"/>
                    <a:pt x="417" y="1033"/>
                    <a:pt x="417" y="1033"/>
                  </a:cubicBezTo>
                  <a:cubicBezTo>
                    <a:pt x="420" y="1047"/>
                    <a:pt x="420" y="1047"/>
                    <a:pt x="420" y="1047"/>
                  </a:cubicBezTo>
                  <a:cubicBezTo>
                    <a:pt x="431" y="1049"/>
                    <a:pt x="431" y="1049"/>
                    <a:pt x="431" y="1049"/>
                  </a:cubicBezTo>
                  <a:cubicBezTo>
                    <a:pt x="431" y="1049"/>
                    <a:pt x="442" y="1036"/>
                    <a:pt x="447" y="1036"/>
                  </a:cubicBezTo>
                  <a:cubicBezTo>
                    <a:pt x="452" y="1036"/>
                    <a:pt x="461" y="1043"/>
                    <a:pt x="467" y="1044"/>
                  </a:cubicBezTo>
                  <a:cubicBezTo>
                    <a:pt x="473" y="1045"/>
                    <a:pt x="474" y="1037"/>
                    <a:pt x="474" y="1037"/>
                  </a:cubicBezTo>
                  <a:cubicBezTo>
                    <a:pt x="481" y="1036"/>
                    <a:pt x="481" y="1036"/>
                    <a:pt x="481" y="1036"/>
                  </a:cubicBezTo>
                  <a:cubicBezTo>
                    <a:pt x="495" y="1054"/>
                    <a:pt x="495" y="1054"/>
                    <a:pt x="495" y="1054"/>
                  </a:cubicBezTo>
                  <a:cubicBezTo>
                    <a:pt x="508" y="1039"/>
                    <a:pt x="508" y="1039"/>
                    <a:pt x="508" y="1039"/>
                  </a:cubicBezTo>
                  <a:cubicBezTo>
                    <a:pt x="524" y="1040"/>
                    <a:pt x="524" y="1040"/>
                    <a:pt x="524" y="1040"/>
                  </a:cubicBezTo>
                  <a:cubicBezTo>
                    <a:pt x="524" y="1040"/>
                    <a:pt x="531" y="1032"/>
                    <a:pt x="536" y="1032"/>
                  </a:cubicBezTo>
                  <a:cubicBezTo>
                    <a:pt x="541" y="1032"/>
                    <a:pt x="540" y="1038"/>
                    <a:pt x="553" y="1040"/>
                  </a:cubicBezTo>
                  <a:cubicBezTo>
                    <a:pt x="566" y="1042"/>
                    <a:pt x="575" y="1015"/>
                    <a:pt x="575" y="1015"/>
                  </a:cubicBezTo>
                  <a:cubicBezTo>
                    <a:pt x="583" y="1015"/>
                    <a:pt x="583" y="1015"/>
                    <a:pt x="583" y="1015"/>
                  </a:cubicBezTo>
                  <a:cubicBezTo>
                    <a:pt x="597" y="995"/>
                    <a:pt x="597" y="995"/>
                    <a:pt x="597" y="995"/>
                  </a:cubicBezTo>
                  <a:cubicBezTo>
                    <a:pt x="657" y="994"/>
                    <a:pt x="657" y="994"/>
                    <a:pt x="657" y="994"/>
                  </a:cubicBezTo>
                  <a:cubicBezTo>
                    <a:pt x="670" y="986"/>
                    <a:pt x="670" y="986"/>
                    <a:pt x="670" y="986"/>
                  </a:cubicBezTo>
                  <a:cubicBezTo>
                    <a:pt x="669" y="976"/>
                    <a:pt x="669" y="976"/>
                    <a:pt x="669" y="976"/>
                  </a:cubicBezTo>
                  <a:cubicBezTo>
                    <a:pt x="669" y="976"/>
                    <a:pt x="670" y="962"/>
                    <a:pt x="665" y="954"/>
                  </a:cubicBezTo>
                  <a:cubicBezTo>
                    <a:pt x="660" y="946"/>
                    <a:pt x="650" y="955"/>
                    <a:pt x="640" y="947"/>
                  </a:cubicBezTo>
                  <a:cubicBezTo>
                    <a:pt x="630" y="939"/>
                    <a:pt x="628" y="912"/>
                    <a:pt x="628" y="912"/>
                  </a:cubicBezTo>
                  <a:cubicBezTo>
                    <a:pt x="621" y="908"/>
                    <a:pt x="621" y="908"/>
                    <a:pt x="621" y="908"/>
                  </a:cubicBezTo>
                  <a:cubicBezTo>
                    <a:pt x="619" y="883"/>
                    <a:pt x="619" y="883"/>
                    <a:pt x="619" y="883"/>
                  </a:cubicBezTo>
                  <a:cubicBezTo>
                    <a:pt x="610" y="882"/>
                    <a:pt x="610" y="882"/>
                    <a:pt x="610" y="882"/>
                  </a:cubicBezTo>
                  <a:cubicBezTo>
                    <a:pt x="607" y="869"/>
                    <a:pt x="607" y="869"/>
                    <a:pt x="607" y="869"/>
                  </a:cubicBezTo>
                  <a:cubicBezTo>
                    <a:pt x="607" y="869"/>
                    <a:pt x="596" y="871"/>
                    <a:pt x="592" y="866"/>
                  </a:cubicBezTo>
                  <a:cubicBezTo>
                    <a:pt x="588" y="861"/>
                    <a:pt x="587" y="846"/>
                    <a:pt x="587" y="846"/>
                  </a:cubicBezTo>
                  <a:cubicBezTo>
                    <a:pt x="587" y="846"/>
                    <a:pt x="570" y="831"/>
                    <a:pt x="562" y="827"/>
                  </a:cubicBezTo>
                  <a:cubicBezTo>
                    <a:pt x="554" y="823"/>
                    <a:pt x="538" y="829"/>
                    <a:pt x="535" y="824"/>
                  </a:cubicBezTo>
                  <a:cubicBezTo>
                    <a:pt x="532" y="819"/>
                    <a:pt x="542" y="802"/>
                    <a:pt x="542" y="802"/>
                  </a:cubicBezTo>
                  <a:cubicBezTo>
                    <a:pt x="540" y="786"/>
                    <a:pt x="540" y="786"/>
                    <a:pt x="540" y="786"/>
                  </a:cubicBezTo>
                  <a:cubicBezTo>
                    <a:pt x="563" y="787"/>
                    <a:pt x="563" y="787"/>
                    <a:pt x="563" y="787"/>
                  </a:cubicBezTo>
                  <a:cubicBezTo>
                    <a:pt x="568" y="792"/>
                    <a:pt x="568" y="792"/>
                    <a:pt x="568" y="792"/>
                  </a:cubicBezTo>
                  <a:cubicBezTo>
                    <a:pt x="568" y="792"/>
                    <a:pt x="575" y="787"/>
                    <a:pt x="582" y="782"/>
                  </a:cubicBezTo>
                  <a:cubicBezTo>
                    <a:pt x="589" y="777"/>
                    <a:pt x="586" y="746"/>
                    <a:pt x="586" y="746"/>
                  </a:cubicBezTo>
                  <a:cubicBezTo>
                    <a:pt x="586" y="746"/>
                    <a:pt x="579" y="727"/>
                    <a:pt x="580" y="719"/>
                  </a:cubicBezTo>
                  <a:cubicBezTo>
                    <a:pt x="581" y="711"/>
                    <a:pt x="596" y="700"/>
                    <a:pt x="597" y="697"/>
                  </a:cubicBezTo>
                  <a:cubicBezTo>
                    <a:pt x="598" y="694"/>
                    <a:pt x="592" y="683"/>
                    <a:pt x="592" y="676"/>
                  </a:cubicBezTo>
                  <a:cubicBezTo>
                    <a:pt x="592" y="669"/>
                    <a:pt x="598" y="656"/>
                    <a:pt x="603" y="656"/>
                  </a:cubicBezTo>
                  <a:cubicBezTo>
                    <a:pt x="608" y="656"/>
                    <a:pt x="610" y="667"/>
                    <a:pt x="610" y="667"/>
                  </a:cubicBezTo>
                  <a:cubicBezTo>
                    <a:pt x="610" y="667"/>
                    <a:pt x="616" y="670"/>
                    <a:pt x="622" y="662"/>
                  </a:cubicBezTo>
                  <a:cubicBezTo>
                    <a:pt x="628" y="654"/>
                    <a:pt x="621" y="631"/>
                    <a:pt x="621" y="631"/>
                  </a:cubicBezTo>
                  <a:cubicBezTo>
                    <a:pt x="628" y="620"/>
                    <a:pt x="628" y="620"/>
                    <a:pt x="628" y="620"/>
                  </a:cubicBezTo>
                  <a:cubicBezTo>
                    <a:pt x="626" y="605"/>
                    <a:pt x="626" y="605"/>
                    <a:pt x="626" y="605"/>
                  </a:cubicBezTo>
                  <a:cubicBezTo>
                    <a:pt x="626" y="605"/>
                    <a:pt x="637" y="601"/>
                    <a:pt x="642" y="596"/>
                  </a:cubicBezTo>
                  <a:cubicBezTo>
                    <a:pt x="647" y="591"/>
                    <a:pt x="642" y="581"/>
                    <a:pt x="643" y="576"/>
                  </a:cubicBezTo>
                  <a:cubicBezTo>
                    <a:pt x="644" y="571"/>
                    <a:pt x="655" y="557"/>
                    <a:pt x="655" y="557"/>
                  </a:cubicBezTo>
                  <a:cubicBezTo>
                    <a:pt x="677" y="555"/>
                    <a:pt x="677" y="555"/>
                    <a:pt x="677" y="555"/>
                  </a:cubicBezTo>
                  <a:cubicBezTo>
                    <a:pt x="677" y="555"/>
                    <a:pt x="675" y="537"/>
                    <a:pt x="675" y="529"/>
                  </a:cubicBezTo>
                  <a:cubicBezTo>
                    <a:pt x="675" y="521"/>
                    <a:pt x="691" y="501"/>
                    <a:pt x="691" y="501"/>
                  </a:cubicBezTo>
                  <a:cubicBezTo>
                    <a:pt x="691" y="471"/>
                    <a:pt x="691" y="471"/>
                    <a:pt x="691" y="471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9" y="438"/>
                    <a:pt x="683" y="436"/>
                    <a:pt x="684" y="428"/>
                  </a:cubicBezTo>
                  <a:cubicBezTo>
                    <a:pt x="685" y="420"/>
                    <a:pt x="696" y="421"/>
                    <a:pt x="696" y="414"/>
                  </a:cubicBezTo>
                  <a:cubicBezTo>
                    <a:pt x="696" y="407"/>
                    <a:pt x="697" y="397"/>
                    <a:pt x="697" y="397"/>
                  </a:cubicBezTo>
                  <a:cubicBezTo>
                    <a:pt x="697" y="397"/>
                    <a:pt x="709" y="395"/>
                    <a:pt x="709" y="377"/>
                  </a:cubicBezTo>
                  <a:cubicBezTo>
                    <a:pt x="709" y="359"/>
                    <a:pt x="703" y="349"/>
                    <a:pt x="703" y="346"/>
                  </a:cubicBezTo>
                  <a:cubicBezTo>
                    <a:pt x="703" y="343"/>
                    <a:pt x="714" y="338"/>
                    <a:pt x="714" y="338"/>
                  </a:cubicBezTo>
                  <a:cubicBezTo>
                    <a:pt x="714" y="328"/>
                    <a:pt x="714" y="328"/>
                    <a:pt x="714" y="328"/>
                  </a:cubicBezTo>
                  <a:cubicBezTo>
                    <a:pt x="714" y="328"/>
                    <a:pt x="732" y="328"/>
                    <a:pt x="733" y="321"/>
                  </a:cubicBezTo>
                  <a:cubicBezTo>
                    <a:pt x="734" y="314"/>
                    <a:pt x="734" y="306"/>
                    <a:pt x="734" y="306"/>
                  </a:cubicBezTo>
                  <a:cubicBezTo>
                    <a:pt x="734" y="306"/>
                    <a:pt x="761" y="304"/>
                    <a:pt x="770" y="296"/>
                  </a:cubicBezTo>
                  <a:cubicBezTo>
                    <a:pt x="775" y="292"/>
                    <a:pt x="779" y="280"/>
                    <a:pt x="781" y="271"/>
                  </a:cubicBezTo>
                  <a:cubicBezTo>
                    <a:pt x="756" y="256"/>
                    <a:pt x="756" y="256"/>
                    <a:pt x="756" y="256"/>
                  </a:cubicBezTo>
                  <a:cubicBezTo>
                    <a:pt x="756" y="256"/>
                    <a:pt x="753" y="240"/>
                    <a:pt x="747" y="236"/>
                  </a:cubicBezTo>
                  <a:cubicBezTo>
                    <a:pt x="741" y="232"/>
                    <a:pt x="726" y="242"/>
                    <a:pt x="722" y="228"/>
                  </a:cubicBezTo>
                  <a:cubicBezTo>
                    <a:pt x="718" y="214"/>
                    <a:pt x="717" y="176"/>
                    <a:pt x="717" y="176"/>
                  </a:cubicBezTo>
                  <a:cubicBezTo>
                    <a:pt x="710" y="174"/>
                    <a:pt x="710" y="174"/>
                    <a:pt x="710" y="174"/>
                  </a:cubicBezTo>
                  <a:cubicBezTo>
                    <a:pt x="710" y="174"/>
                    <a:pt x="708" y="132"/>
                    <a:pt x="708" y="127"/>
                  </a:cubicBezTo>
                  <a:cubicBezTo>
                    <a:pt x="708" y="122"/>
                    <a:pt x="703" y="111"/>
                    <a:pt x="703" y="111"/>
                  </a:cubicBezTo>
                  <a:cubicBezTo>
                    <a:pt x="715" y="108"/>
                    <a:pt x="715" y="108"/>
                    <a:pt x="715" y="108"/>
                  </a:cubicBezTo>
                  <a:cubicBezTo>
                    <a:pt x="715" y="108"/>
                    <a:pt x="697" y="93"/>
                    <a:pt x="696" y="84"/>
                  </a:cubicBezTo>
                  <a:cubicBezTo>
                    <a:pt x="695" y="75"/>
                    <a:pt x="701" y="59"/>
                    <a:pt x="693" y="53"/>
                  </a:cubicBezTo>
                  <a:cubicBezTo>
                    <a:pt x="685" y="47"/>
                    <a:pt x="674" y="39"/>
                    <a:pt x="674" y="39"/>
                  </a:cubicBezTo>
                  <a:cubicBezTo>
                    <a:pt x="674" y="39"/>
                    <a:pt x="665" y="27"/>
                    <a:pt x="661" y="23"/>
                  </a:cubicBezTo>
                  <a:cubicBezTo>
                    <a:pt x="657" y="19"/>
                    <a:pt x="656" y="26"/>
                    <a:pt x="650" y="22"/>
                  </a:cubicBezTo>
                  <a:cubicBezTo>
                    <a:pt x="646" y="19"/>
                    <a:pt x="639" y="10"/>
                    <a:pt x="634" y="0"/>
                  </a:cubicBezTo>
                  <a:cubicBezTo>
                    <a:pt x="618" y="15"/>
                    <a:pt x="618" y="15"/>
                    <a:pt x="618" y="15"/>
                  </a:cubicBezTo>
                  <a:lnTo>
                    <a:pt x="601" y="16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4" name="Freeform 194">
              <a:extLst>
                <a:ext uri="{FF2B5EF4-FFF2-40B4-BE49-F238E27FC236}">
                  <a16:creationId xmlns:a16="http://schemas.microsoft.com/office/drawing/2014/main" id="{D99CC9DE-6357-B464-B01C-537B6BDB9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2376" y="3524039"/>
              <a:ext cx="275904" cy="187493"/>
            </a:xfrm>
            <a:custGeom>
              <a:avLst/>
              <a:gdLst>
                <a:gd name="T0" fmla="*/ 16 w 487"/>
                <a:gd name="T1" fmla="*/ 1 h 330"/>
                <a:gd name="T2" fmla="*/ 13 w 487"/>
                <a:gd name="T3" fmla="*/ 2 h 330"/>
                <a:gd name="T4" fmla="*/ 12 w 487"/>
                <a:gd name="T5" fmla="*/ 4 h 330"/>
                <a:gd name="T6" fmla="*/ 12 w 487"/>
                <a:gd name="T7" fmla="*/ 5 h 330"/>
                <a:gd name="T8" fmla="*/ 11 w 487"/>
                <a:gd name="T9" fmla="*/ 6 h 330"/>
                <a:gd name="T10" fmla="*/ 10 w 487"/>
                <a:gd name="T11" fmla="*/ 4 h 330"/>
                <a:gd name="T12" fmla="*/ 7 w 487"/>
                <a:gd name="T13" fmla="*/ 4 h 330"/>
                <a:gd name="T14" fmla="*/ 6 w 487"/>
                <a:gd name="T15" fmla="*/ 4 h 330"/>
                <a:gd name="T16" fmla="*/ 4 w 487"/>
                <a:gd name="T17" fmla="*/ 4 h 330"/>
                <a:gd name="T18" fmla="*/ 3 w 487"/>
                <a:gd name="T19" fmla="*/ 4 h 330"/>
                <a:gd name="T20" fmla="*/ 2 w 487"/>
                <a:gd name="T21" fmla="*/ 4 h 330"/>
                <a:gd name="T22" fmla="*/ 1 w 487"/>
                <a:gd name="T23" fmla="*/ 4 h 330"/>
                <a:gd name="T24" fmla="*/ 1 w 487"/>
                <a:gd name="T25" fmla="*/ 6 h 330"/>
                <a:gd name="T26" fmla="*/ 1 w 487"/>
                <a:gd name="T27" fmla="*/ 7 h 330"/>
                <a:gd name="T28" fmla="*/ 0 w 487"/>
                <a:gd name="T29" fmla="*/ 7 h 330"/>
                <a:gd name="T30" fmla="*/ 0 w 487"/>
                <a:gd name="T31" fmla="*/ 9 h 330"/>
                <a:gd name="T32" fmla="*/ 1 w 487"/>
                <a:gd name="T33" fmla="*/ 10 h 330"/>
                <a:gd name="T34" fmla="*/ 1 w 487"/>
                <a:gd name="T35" fmla="*/ 14 h 330"/>
                <a:gd name="T36" fmla="*/ 2 w 487"/>
                <a:gd name="T37" fmla="*/ 15 h 330"/>
                <a:gd name="T38" fmla="*/ 3 w 487"/>
                <a:gd name="T39" fmla="*/ 17 h 330"/>
                <a:gd name="T40" fmla="*/ 5 w 487"/>
                <a:gd name="T41" fmla="*/ 17 h 330"/>
                <a:gd name="T42" fmla="*/ 7 w 487"/>
                <a:gd name="T43" fmla="*/ 15 h 330"/>
                <a:gd name="T44" fmla="*/ 9 w 487"/>
                <a:gd name="T45" fmla="*/ 15 h 330"/>
                <a:gd name="T46" fmla="*/ 12 w 487"/>
                <a:gd name="T47" fmla="*/ 15 h 330"/>
                <a:gd name="T48" fmla="*/ 15 w 487"/>
                <a:gd name="T49" fmla="*/ 13 h 330"/>
                <a:gd name="T50" fmla="*/ 17 w 487"/>
                <a:gd name="T51" fmla="*/ 11 h 330"/>
                <a:gd name="T52" fmla="*/ 20 w 487"/>
                <a:gd name="T53" fmla="*/ 9 h 330"/>
                <a:gd name="T54" fmla="*/ 23 w 487"/>
                <a:gd name="T55" fmla="*/ 9 h 330"/>
                <a:gd name="T56" fmla="*/ 25 w 487"/>
                <a:gd name="T57" fmla="*/ 7 h 330"/>
                <a:gd name="T58" fmla="*/ 25 w 487"/>
                <a:gd name="T59" fmla="*/ 6 h 330"/>
                <a:gd name="T60" fmla="*/ 22 w 487"/>
                <a:gd name="T61" fmla="*/ 0 h 330"/>
                <a:gd name="T62" fmla="*/ 16 w 487"/>
                <a:gd name="T63" fmla="*/ 1 h 3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87"/>
                <a:gd name="T97" fmla="*/ 0 h 330"/>
                <a:gd name="T98" fmla="*/ 487 w 487"/>
                <a:gd name="T99" fmla="*/ 330 h 3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87" h="330">
                  <a:moveTo>
                    <a:pt x="311" y="13"/>
                  </a:moveTo>
                  <a:cubicBezTo>
                    <a:pt x="299" y="13"/>
                    <a:pt x="257" y="32"/>
                    <a:pt x="247" y="45"/>
                  </a:cubicBezTo>
                  <a:cubicBezTo>
                    <a:pt x="237" y="58"/>
                    <a:pt x="222" y="82"/>
                    <a:pt x="222" y="82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22" y="94"/>
                    <a:pt x="215" y="106"/>
                    <a:pt x="210" y="106"/>
                  </a:cubicBezTo>
                  <a:cubicBezTo>
                    <a:pt x="205" y="106"/>
                    <a:pt x="191" y="91"/>
                    <a:pt x="187" y="89"/>
                  </a:cubicBezTo>
                  <a:cubicBezTo>
                    <a:pt x="183" y="87"/>
                    <a:pt x="143" y="89"/>
                    <a:pt x="143" y="89"/>
                  </a:cubicBezTo>
                  <a:cubicBezTo>
                    <a:pt x="143" y="89"/>
                    <a:pt x="132" y="81"/>
                    <a:pt x="116" y="81"/>
                  </a:cubicBezTo>
                  <a:cubicBezTo>
                    <a:pt x="100" y="81"/>
                    <a:pt x="81" y="82"/>
                    <a:pt x="76" y="82"/>
                  </a:cubicBezTo>
                  <a:cubicBezTo>
                    <a:pt x="71" y="82"/>
                    <a:pt x="64" y="88"/>
                    <a:pt x="64" y="88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9"/>
                    <a:pt x="41" y="75"/>
                    <a:pt x="31" y="80"/>
                  </a:cubicBezTo>
                  <a:cubicBezTo>
                    <a:pt x="21" y="85"/>
                    <a:pt x="22" y="114"/>
                    <a:pt x="22" y="114"/>
                  </a:cubicBezTo>
                  <a:cubicBezTo>
                    <a:pt x="22" y="114"/>
                    <a:pt x="28" y="116"/>
                    <a:pt x="21" y="127"/>
                  </a:cubicBezTo>
                  <a:cubicBezTo>
                    <a:pt x="17" y="134"/>
                    <a:pt x="12" y="138"/>
                    <a:pt x="8" y="141"/>
                  </a:cubicBezTo>
                  <a:cubicBezTo>
                    <a:pt x="6" y="150"/>
                    <a:pt x="3" y="159"/>
                    <a:pt x="2" y="164"/>
                  </a:cubicBezTo>
                  <a:cubicBezTo>
                    <a:pt x="0" y="174"/>
                    <a:pt x="24" y="193"/>
                    <a:pt x="24" y="193"/>
                  </a:cubicBezTo>
                  <a:cubicBezTo>
                    <a:pt x="15" y="270"/>
                    <a:pt x="15" y="270"/>
                    <a:pt x="15" y="270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6" y="292"/>
                    <a:pt x="41" y="321"/>
                    <a:pt x="60" y="325"/>
                  </a:cubicBezTo>
                  <a:cubicBezTo>
                    <a:pt x="79" y="330"/>
                    <a:pt x="94" y="329"/>
                    <a:pt x="106" y="321"/>
                  </a:cubicBezTo>
                  <a:cubicBezTo>
                    <a:pt x="118" y="313"/>
                    <a:pt x="122" y="287"/>
                    <a:pt x="133" y="287"/>
                  </a:cubicBezTo>
                  <a:cubicBezTo>
                    <a:pt x="145" y="286"/>
                    <a:pt x="160" y="293"/>
                    <a:pt x="182" y="290"/>
                  </a:cubicBezTo>
                  <a:cubicBezTo>
                    <a:pt x="204" y="287"/>
                    <a:pt x="230" y="282"/>
                    <a:pt x="243" y="282"/>
                  </a:cubicBezTo>
                  <a:cubicBezTo>
                    <a:pt x="256" y="283"/>
                    <a:pt x="277" y="249"/>
                    <a:pt x="292" y="243"/>
                  </a:cubicBezTo>
                  <a:cubicBezTo>
                    <a:pt x="308" y="238"/>
                    <a:pt x="316" y="218"/>
                    <a:pt x="334" y="213"/>
                  </a:cubicBezTo>
                  <a:cubicBezTo>
                    <a:pt x="352" y="207"/>
                    <a:pt x="397" y="181"/>
                    <a:pt x="397" y="181"/>
                  </a:cubicBezTo>
                  <a:cubicBezTo>
                    <a:pt x="446" y="180"/>
                    <a:pt x="446" y="180"/>
                    <a:pt x="446" y="180"/>
                  </a:cubicBezTo>
                  <a:cubicBezTo>
                    <a:pt x="446" y="180"/>
                    <a:pt x="466" y="135"/>
                    <a:pt x="479" y="125"/>
                  </a:cubicBezTo>
                  <a:cubicBezTo>
                    <a:pt x="480" y="123"/>
                    <a:pt x="483" y="122"/>
                    <a:pt x="487" y="12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33" y="0"/>
                    <a:pt x="323" y="13"/>
                    <a:pt x="311" y="13"/>
                  </a:cubicBez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  <p:sp>
          <p:nvSpPr>
            <p:cNvPr id="185" name="Freeform 173">
              <a:extLst>
                <a:ext uri="{FF2B5EF4-FFF2-40B4-BE49-F238E27FC236}">
                  <a16:creationId xmlns:a16="http://schemas.microsoft.com/office/drawing/2014/main" id="{97711BF6-1EAA-9F4B-C630-CEFE49A83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6635" y="3299962"/>
              <a:ext cx="27438" cy="56401"/>
            </a:xfrm>
            <a:custGeom>
              <a:avLst/>
              <a:gdLst>
                <a:gd name="T0" fmla="*/ 2 w 49"/>
                <a:gd name="T1" fmla="*/ 13 h 98"/>
                <a:gd name="T2" fmla="*/ 3 w 49"/>
                <a:gd name="T3" fmla="*/ 14 h 98"/>
                <a:gd name="T4" fmla="*/ 4 w 49"/>
                <a:gd name="T5" fmla="*/ 14 h 98"/>
                <a:gd name="T6" fmla="*/ 4 w 49"/>
                <a:gd name="T7" fmla="*/ 14 h 98"/>
                <a:gd name="T8" fmla="*/ 6 w 49"/>
                <a:gd name="T9" fmla="*/ 5 h 98"/>
                <a:gd name="T10" fmla="*/ 3 w 49"/>
                <a:gd name="T11" fmla="*/ 0 h 98"/>
                <a:gd name="T12" fmla="*/ 1 w 49"/>
                <a:gd name="T13" fmla="*/ 7 h 98"/>
                <a:gd name="T14" fmla="*/ 0 w 49"/>
                <a:gd name="T15" fmla="*/ 12 h 98"/>
                <a:gd name="T16" fmla="*/ 0 w 49"/>
                <a:gd name="T17" fmla="*/ 12 h 98"/>
                <a:gd name="T18" fmla="*/ 1 w 49"/>
                <a:gd name="T19" fmla="*/ 13 h 98"/>
                <a:gd name="T20" fmla="*/ 2 w 49"/>
                <a:gd name="T21" fmla="*/ 13 h 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98"/>
                <a:gd name="T35" fmla="*/ 49 w 49"/>
                <a:gd name="T36" fmla="*/ 98 h 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  <a:effectLst/>
          </p:spPr>
          <p:txBody>
            <a:bodyPr anchor="ctr"/>
            <a:lstStyle/>
            <a:p>
              <a:pPr algn="ctr"/>
              <a:endParaRPr lang="en-US" sz="360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75140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CA2C6F-8C78-9424-1183-898D2F23F3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28775"/>
            <a:ext cx="369093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JAN</a:t>
            </a:r>
          </a:p>
        </p:txBody>
      </p:sp>
      <p:sp>
        <p:nvSpPr>
          <p:cNvPr id="220" name="Text Placeholder 8">
            <a:extLst>
              <a:ext uri="{FF2B5EF4-FFF2-40B4-BE49-F238E27FC236}">
                <a16:creationId xmlns:a16="http://schemas.microsoft.com/office/drawing/2014/main" id="{BC0E6503-5CB3-24E7-8867-09646A7BDD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408" y="1628775"/>
            <a:ext cx="250942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77" name="Text Placeholder 8">
            <a:extLst>
              <a:ext uri="{FF2B5EF4-FFF2-40B4-BE49-F238E27FC236}">
                <a16:creationId xmlns:a16="http://schemas.microsoft.com/office/drawing/2014/main" id="{819BB23C-0AFF-5373-718A-2AB535FD8C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5820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FEB</a:t>
            </a:r>
          </a:p>
        </p:txBody>
      </p:sp>
      <p:sp>
        <p:nvSpPr>
          <p:cNvPr id="278" name="Text Placeholder 8">
            <a:extLst>
              <a:ext uri="{FF2B5EF4-FFF2-40B4-BE49-F238E27FC236}">
                <a16:creationId xmlns:a16="http://schemas.microsoft.com/office/drawing/2014/main" id="{CCC9B1B0-F74C-CA47-5FE4-600D97EBA5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6883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79" name="Text Placeholder 8">
            <a:extLst>
              <a:ext uri="{FF2B5EF4-FFF2-40B4-BE49-F238E27FC236}">
                <a16:creationId xmlns:a16="http://schemas.microsoft.com/office/drawing/2014/main" id="{AAE58682-B03F-1EC6-1BD2-92F4C7949E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4679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MAR</a:t>
            </a:r>
          </a:p>
        </p:txBody>
      </p:sp>
      <p:sp>
        <p:nvSpPr>
          <p:cNvPr id="280" name="Text Placeholder 8">
            <a:extLst>
              <a:ext uri="{FF2B5EF4-FFF2-40B4-BE49-F238E27FC236}">
                <a16:creationId xmlns:a16="http://schemas.microsoft.com/office/drawing/2014/main" id="{7C300882-3113-40B8-B0A2-611BB0376F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45742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81" name="Text Placeholder 8">
            <a:extLst>
              <a:ext uri="{FF2B5EF4-FFF2-40B4-BE49-F238E27FC236}">
                <a16:creationId xmlns:a16="http://schemas.microsoft.com/office/drawing/2014/main" id="{2E9D47D8-279E-9F01-E73F-46D5A12E32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3537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RP</a:t>
            </a:r>
          </a:p>
        </p:txBody>
      </p:sp>
      <p:sp>
        <p:nvSpPr>
          <p:cNvPr id="282" name="Text Placeholder 8">
            <a:extLst>
              <a:ext uri="{FF2B5EF4-FFF2-40B4-BE49-F238E27FC236}">
                <a16:creationId xmlns:a16="http://schemas.microsoft.com/office/drawing/2014/main" id="{B2497BFC-27D6-349D-0A68-AC417CEFEC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602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83" name="Text Placeholder 8">
            <a:extLst>
              <a:ext uri="{FF2B5EF4-FFF2-40B4-BE49-F238E27FC236}">
                <a16:creationId xmlns:a16="http://schemas.microsoft.com/office/drawing/2014/main" id="{0FB84062-57D0-750E-FAF9-002EA3392F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2396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MAY</a:t>
            </a:r>
          </a:p>
        </p:txBody>
      </p:sp>
      <p:sp>
        <p:nvSpPr>
          <p:cNvPr id="284" name="Text Placeholder 8">
            <a:extLst>
              <a:ext uri="{FF2B5EF4-FFF2-40B4-BE49-F238E27FC236}">
                <a16:creationId xmlns:a16="http://schemas.microsoft.com/office/drawing/2014/main" id="{CFB7B159-DC81-A36E-3183-728D472E4D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3460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85" name="Text Placeholder 8">
            <a:extLst>
              <a:ext uri="{FF2B5EF4-FFF2-40B4-BE49-F238E27FC236}">
                <a16:creationId xmlns:a16="http://schemas.microsoft.com/office/drawing/2014/main" id="{11CE22AA-D3F4-EC9E-158B-1ED4721175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81256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JUN</a:t>
            </a:r>
          </a:p>
        </p:txBody>
      </p:sp>
      <p:sp>
        <p:nvSpPr>
          <p:cNvPr id="286" name="Text Placeholder 8">
            <a:extLst>
              <a:ext uri="{FF2B5EF4-FFF2-40B4-BE49-F238E27FC236}">
                <a16:creationId xmlns:a16="http://schemas.microsoft.com/office/drawing/2014/main" id="{39BD70B9-0A27-BA3D-DE12-BF0BB94BE9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52319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87" name="Text Placeholder 8">
            <a:extLst>
              <a:ext uri="{FF2B5EF4-FFF2-40B4-BE49-F238E27FC236}">
                <a16:creationId xmlns:a16="http://schemas.microsoft.com/office/drawing/2014/main" id="{9F17125B-2ABA-BC9D-A220-AF9FB0EBA21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115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JUL</a:t>
            </a:r>
          </a:p>
        </p:txBody>
      </p:sp>
      <p:sp>
        <p:nvSpPr>
          <p:cNvPr id="288" name="Text Placeholder 8">
            <a:extLst>
              <a:ext uri="{FF2B5EF4-FFF2-40B4-BE49-F238E27FC236}">
                <a16:creationId xmlns:a16="http://schemas.microsoft.com/office/drawing/2014/main" id="{AB9E1BCE-0EA8-A0E3-9D8C-D2837CCE5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21180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89" name="Text Placeholder 8">
            <a:extLst>
              <a:ext uri="{FF2B5EF4-FFF2-40B4-BE49-F238E27FC236}">
                <a16:creationId xmlns:a16="http://schemas.microsoft.com/office/drawing/2014/main" id="{C403F48B-56BD-E055-0709-852FC8FBCE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18974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UG</a:t>
            </a:r>
          </a:p>
        </p:txBody>
      </p:sp>
      <p:sp>
        <p:nvSpPr>
          <p:cNvPr id="290" name="Text Placeholder 8">
            <a:extLst>
              <a:ext uri="{FF2B5EF4-FFF2-40B4-BE49-F238E27FC236}">
                <a16:creationId xmlns:a16="http://schemas.microsoft.com/office/drawing/2014/main" id="{816BBC52-CAF2-AADB-4570-1322156F289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90039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91" name="Text Placeholder 8">
            <a:extLst>
              <a:ext uri="{FF2B5EF4-FFF2-40B4-BE49-F238E27FC236}">
                <a16:creationId xmlns:a16="http://schemas.microsoft.com/office/drawing/2014/main" id="{A7CDD707-955B-D4A3-7B7F-FADF8A7672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87834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SEP</a:t>
            </a:r>
          </a:p>
        </p:txBody>
      </p:sp>
      <p:sp>
        <p:nvSpPr>
          <p:cNvPr id="292" name="Text Placeholder 8">
            <a:extLst>
              <a:ext uri="{FF2B5EF4-FFF2-40B4-BE49-F238E27FC236}">
                <a16:creationId xmlns:a16="http://schemas.microsoft.com/office/drawing/2014/main" id="{C9D864EA-D6EC-FC72-9F71-A6C6C853B3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58899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93" name="Text Placeholder 8">
            <a:extLst>
              <a:ext uri="{FF2B5EF4-FFF2-40B4-BE49-F238E27FC236}">
                <a16:creationId xmlns:a16="http://schemas.microsoft.com/office/drawing/2014/main" id="{35DF1195-5BE9-EA6D-8AB2-724DDD5E199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56692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OCT</a:t>
            </a:r>
          </a:p>
        </p:txBody>
      </p:sp>
      <p:sp>
        <p:nvSpPr>
          <p:cNvPr id="294" name="Text Placeholder 8">
            <a:extLst>
              <a:ext uri="{FF2B5EF4-FFF2-40B4-BE49-F238E27FC236}">
                <a16:creationId xmlns:a16="http://schemas.microsoft.com/office/drawing/2014/main" id="{F6E94EE7-FE0D-1C8F-F085-BDCA997897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27757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95" name="Text Placeholder 8">
            <a:extLst>
              <a:ext uri="{FF2B5EF4-FFF2-40B4-BE49-F238E27FC236}">
                <a16:creationId xmlns:a16="http://schemas.microsoft.com/office/drawing/2014/main" id="{0270CC69-A67A-16C6-927C-75A8F97D11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125552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NOV</a:t>
            </a:r>
          </a:p>
        </p:txBody>
      </p:sp>
      <p:sp>
        <p:nvSpPr>
          <p:cNvPr id="296" name="Text Placeholder 8">
            <a:extLst>
              <a:ext uri="{FF2B5EF4-FFF2-40B4-BE49-F238E27FC236}">
                <a16:creationId xmlns:a16="http://schemas.microsoft.com/office/drawing/2014/main" id="{D41E0951-C420-DB00-425F-DA7961873FB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496616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97" name="Text Placeholder 8">
            <a:extLst>
              <a:ext uri="{FF2B5EF4-FFF2-40B4-BE49-F238E27FC236}">
                <a16:creationId xmlns:a16="http://schemas.microsoft.com/office/drawing/2014/main" id="{D7AC1C20-2D70-36C8-2B93-E5E89F8666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094410" y="1628775"/>
            <a:ext cx="369093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DEC</a:t>
            </a:r>
          </a:p>
        </p:txBody>
      </p:sp>
      <p:sp>
        <p:nvSpPr>
          <p:cNvPr id="298" name="Text Placeholder 8">
            <a:extLst>
              <a:ext uri="{FF2B5EF4-FFF2-40B4-BE49-F238E27FC236}">
                <a16:creationId xmlns:a16="http://schemas.microsoft.com/office/drawing/2014/main" id="{61055BF5-223A-E282-7269-C00B2F39D69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465475" y="1628775"/>
            <a:ext cx="250942" cy="228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24</a:t>
            </a:r>
          </a:p>
        </p:txBody>
      </p:sp>
      <p:sp>
        <p:nvSpPr>
          <p:cNvPr id="299" name="Rectangle 14">
            <a:extLst>
              <a:ext uri="{FF2B5EF4-FFF2-40B4-BE49-F238E27FC236}">
                <a16:creationId xmlns:a16="http://schemas.microsoft.com/office/drawing/2014/main" id="{DAF21D93-76E9-CEFC-AB77-6D9E792A0C52}"/>
              </a:ext>
            </a:extLst>
          </p:cNvPr>
          <p:cNvSpPr/>
          <p:nvPr userDrawn="1"/>
        </p:nvSpPr>
        <p:spPr>
          <a:xfrm>
            <a:off x="457199" y="2417343"/>
            <a:ext cx="11259217" cy="11352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 fontScale="25000" lnSpcReduction="20000"/>
          </a:bodyPr>
          <a:lstStyle/>
          <a:p>
            <a:pPr lvl="0" algn="ctr"/>
            <a:endParaRPr lang="en-GB"/>
          </a:p>
        </p:txBody>
      </p:sp>
      <p:sp>
        <p:nvSpPr>
          <p:cNvPr id="300" name="Text Placeholder 8">
            <a:extLst>
              <a:ext uri="{FF2B5EF4-FFF2-40B4-BE49-F238E27FC236}">
                <a16:creationId xmlns:a16="http://schemas.microsoft.com/office/drawing/2014/main" id="{40249CC8-053D-EA06-A0CF-D6C9B12C3AD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2121226"/>
            <a:ext cx="5638800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02" name="Text Placeholder 58">
            <a:extLst>
              <a:ext uri="{FF2B5EF4-FFF2-40B4-BE49-F238E27FC236}">
                <a16:creationId xmlns:a16="http://schemas.microsoft.com/office/drawing/2014/main" id="{CBE11C35-0FAB-163F-DD16-02542BDBCB3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7200" y="2588857"/>
            <a:ext cx="1127760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306" name="Rectangle 14">
            <a:extLst>
              <a:ext uri="{FF2B5EF4-FFF2-40B4-BE49-F238E27FC236}">
                <a16:creationId xmlns:a16="http://schemas.microsoft.com/office/drawing/2014/main" id="{CA37F11F-D2C6-D4AC-523D-3A8290702E95}"/>
              </a:ext>
            </a:extLst>
          </p:cNvPr>
          <p:cNvSpPr/>
          <p:nvPr userDrawn="1"/>
        </p:nvSpPr>
        <p:spPr>
          <a:xfrm>
            <a:off x="457199" y="3256631"/>
            <a:ext cx="11259217" cy="11352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 fontScale="25000" lnSpcReduction="20000"/>
          </a:bodyPr>
          <a:lstStyle/>
          <a:p>
            <a:pPr lvl="0" algn="ctr"/>
            <a:endParaRPr lang="en-GB"/>
          </a:p>
        </p:txBody>
      </p:sp>
      <p:sp>
        <p:nvSpPr>
          <p:cNvPr id="307" name="Text Placeholder 8">
            <a:extLst>
              <a:ext uri="{FF2B5EF4-FFF2-40B4-BE49-F238E27FC236}">
                <a16:creationId xmlns:a16="http://schemas.microsoft.com/office/drawing/2014/main" id="{97F6EF55-BE35-769B-6E9E-B10FBE8A50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200" y="2960514"/>
            <a:ext cx="5638800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08" name="Text Placeholder 58">
            <a:extLst>
              <a:ext uri="{FF2B5EF4-FFF2-40B4-BE49-F238E27FC236}">
                <a16:creationId xmlns:a16="http://schemas.microsoft.com/office/drawing/2014/main" id="{323A7F6B-3CE9-412D-9C18-6B36F3D8FE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7200" y="3428145"/>
            <a:ext cx="1127760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309" name="Rectangle 14">
            <a:extLst>
              <a:ext uri="{FF2B5EF4-FFF2-40B4-BE49-F238E27FC236}">
                <a16:creationId xmlns:a16="http://schemas.microsoft.com/office/drawing/2014/main" id="{014C738B-A14D-438C-ABBC-579C27471859}"/>
              </a:ext>
            </a:extLst>
          </p:cNvPr>
          <p:cNvSpPr/>
          <p:nvPr userDrawn="1"/>
        </p:nvSpPr>
        <p:spPr>
          <a:xfrm>
            <a:off x="457199" y="4091224"/>
            <a:ext cx="11259217" cy="11352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 fontScale="25000" lnSpcReduction="20000"/>
          </a:bodyPr>
          <a:lstStyle/>
          <a:p>
            <a:pPr lvl="0" algn="ctr"/>
            <a:endParaRPr lang="en-GB"/>
          </a:p>
        </p:txBody>
      </p:sp>
      <p:sp>
        <p:nvSpPr>
          <p:cNvPr id="310" name="Text Placeholder 8">
            <a:extLst>
              <a:ext uri="{FF2B5EF4-FFF2-40B4-BE49-F238E27FC236}">
                <a16:creationId xmlns:a16="http://schemas.microsoft.com/office/drawing/2014/main" id="{A2F77FCD-D36E-9C8D-1B39-BA784D30B06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200" y="3795107"/>
            <a:ext cx="5638800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11" name="Text Placeholder 58">
            <a:extLst>
              <a:ext uri="{FF2B5EF4-FFF2-40B4-BE49-F238E27FC236}">
                <a16:creationId xmlns:a16="http://schemas.microsoft.com/office/drawing/2014/main" id="{D1C901BE-98CC-E20D-63D4-5509935C60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7200" y="4262738"/>
            <a:ext cx="1127760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312" name="Rectangle 14">
            <a:extLst>
              <a:ext uri="{FF2B5EF4-FFF2-40B4-BE49-F238E27FC236}">
                <a16:creationId xmlns:a16="http://schemas.microsoft.com/office/drawing/2014/main" id="{98212B4F-14E4-33DB-A05E-C7A8553AE3CA}"/>
              </a:ext>
            </a:extLst>
          </p:cNvPr>
          <p:cNvSpPr/>
          <p:nvPr userDrawn="1"/>
        </p:nvSpPr>
        <p:spPr>
          <a:xfrm>
            <a:off x="457199" y="4931921"/>
            <a:ext cx="11259217" cy="11352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 fontScale="25000" lnSpcReduction="20000"/>
          </a:bodyPr>
          <a:lstStyle/>
          <a:p>
            <a:pPr lvl="0" algn="ctr"/>
            <a:endParaRPr lang="en-GB"/>
          </a:p>
        </p:txBody>
      </p:sp>
      <p:sp>
        <p:nvSpPr>
          <p:cNvPr id="313" name="Text Placeholder 8">
            <a:extLst>
              <a:ext uri="{FF2B5EF4-FFF2-40B4-BE49-F238E27FC236}">
                <a16:creationId xmlns:a16="http://schemas.microsoft.com/office/drawing/2014/main" id="{89688D48-5132-DA09-7BB4-7B31F94F8E1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200" y="4635804"/>
            <a:ext cx="5638800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14" name="Text Placeholder 58">
            <a:extLst>
              <a:ext uri="{FF2B5EF4-FFF2-40B4-BE49-F238E27FC236}">
                <a16:creationId xmlns:a16="http://schemas.microsoft.com/office/drawing/2014/main" id="{22AE6942-D0E6-8B84-75CB-90DED6D8E33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7200" y="5103435"/>
            <a:ext cx="1127760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315" name="Rectangle 14">
            <a:extLst>
              <a:ext uri="{FF2B5EF4-FFF2-40B4-BE49-F238E27FC236}">
                <a16:creationId xmlns:a16="http://schemas.microsoft.com/office/drawing/2014/main" id="{8EF04347-B749-92DE-EAC5-DC823AC48298}"/>
              </a:ext>
            </a:extLst>
          </p:cNvPr>
          <p:cNvSpPr/>
          <p:nvPr userDrawn="1"/>
        </p:nvSpPr>
        <p:spPr>
          <a:xfrm>
            <a:off x="457199" y="5765736"/>
            <a:ext cx="11259217" cy="11352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 fontScale="25000" lnSpcReduction="20000"/>
          </a:bodyPr>
          <a:lstStyle/>
          <a:p>
            <a:pPr lvl="0" algn="ctr"/>
            <a:endParaRPr lang="en-GB"/>
          </a:p>
        </p:txBody>
      </p:sp>
      <p:sp>
        <p:nvSpPr>
          <p:cNvPr id="316" name="Text Placeholder 8">
            <a:extLst>
              <a:ext uri="{FF2B5EF4-FFF2-40B4-BE49-F238E27FC236}">
                <a16:creationId xmlns:a16="http://schemas.microsoft.com/office/drawing/2014/main" id="{3E2539D6-F865-95A5-0E5C-0CDF41852E8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7200" y="5469619"/>
            <a:ext cx="5638800" cy="228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317" name="Text Placeholder 58">
            <a:extLst>
              <a:ext uri="{FF2B5EF4-FFF2-40B4-BE49-F238E27FC236}">
                <a16:creationId xmlns:a16="http://schemas.microsoft.com/office/drawing/2014/main" id="{D1FB1ABD-5595-4D6A-010A-A45D5C6704B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7200" y="5937250"/>
            <a:ext cx="1127760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44983824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Percentage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35" name="Rectangle 14">
            <a:extLst>
              <a:ext uri="{FF2B5EF4-FFF2-40B4-BE49-F238E27FC236}">
                <a16:creationId xmlns:a16="http://schemas.microsoft.com/office/drawing/2014/main" id="{D2768A40-4AD0-36E5-EE67-A4221898AE70}"/>
              </a:ext>
            </a:extLst>
          </p:cNvPr>
          <p:cNvSpPr/>
          <p:nvPr userDrawn="1"/>
        </p:nvSpPr>
        <p:spPr>
          <a:xfrm>
            <a:off x="5031923" y="1643297"/>
            <a:ext cx="2128154" cy="212815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236" name="Rectangle 14">
            <a:extLst>
              <a:ext uri="{FF2B5EF4-FFF2-40B4-BE49-F238E27FC236}">
                <a16:creationId xmlns:a16="http://schemas.microsoft.com/office/drawing/2014/main" id="{960BD647-F6D3-3FA9-BD1B-DE239D2723F5}"/>
              </a:ext>
            </a:extLst>
          </p:cNvPr>
          <p:cNvSpPr/>
          <p:nvPr userDrawn="1"/>
        </p:nvSpPr>
        <p:spPr>
          <a:xfrm>
            <a:off x="5031923" y="4022049"/>
            <a:ext cx="2128154" cy="212815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63000">
                <a:schemeClr val="bg2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gradFill>
              <a:gsLst>
                <a:gs pos="0">
                  <a:schemeClr val="tx2">
                    <a:lumMod val="65000"/>
                    <a:lumOff val="35000"/>
                    <a:alpha val="30000"/>
                  </a:schemeClr>
                </a:gs>
                <a:gs pos="100000">
                  <a:schemeClr val="tx2"/>
                </a:gs>
              </a:gsLst>
              <a:lin ang="66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rmAutofit/>
          </a:bodyPr>
          <a:lstStyle/>
          <a:p>
            <a:pPr lvl="0" algn="ctr"/>
            <a:endParaRPr lang="en-GB"/>
          </a:p>
        </p:txBody>
      </p:sp>
      <p:sp>
        <p:nvSpPr>
          <p:cNvPr id="237" name="Text Placeholder 58">
            <a:extLst>
              <a:ext uri="{FF2B5EF4-FFF2-40B4-BE49-F238E27FC236}">
                <a16:creationId xmlns:a16="http://schemas.microsoft.com/office/drawing/2014/main" id="{51BE5D90-3B4A-1DE7-9EF4-D6EBEA094A0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3272" y="4419601"/>
            <a:ext cx="4421527" cy="1333052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38" name="Text Placeholder 58">
            <a:extLst>
              <a:ext uri="{FF2B5EF4-FFF2-40B4-BE49-F238E27FC236}">
                <a16:creationId xmlns:a16="http://schemas.microsoft.com/office/drawing/2014/main" id="{D5E30F62-32C3-B7DC-303E-93402F5C383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200" y="2040848"/>
            <a:ext cx="4421527" cy="1333052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39" name="Text Placeholder 58">
            <a:extLst>
              <a:ext uri="{FF2B5EF4-FFF2-40B4-BE49-F238E27FC236}">
                <a16:creationId xmlns:a16="http://schemas.microsoft.com/office/drawing/2014/main" id="{821C20A5-152A-F641-3B21-212457D5696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31922" y="2040848"/>
            <a:ext cx="2128154" cy="133305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XX%</a:t>
            </a:r>
          </a:p>
        </p:txBody>
      </p:sp>
      <p:sp>
        <p:nvSpPr>
          <p:cNvPr id="240" name="Text Placeholder 58">
            <a:extLst>
              <a:ext uri="{FF2B5EF4-FFF2-40B4-BE49-F238E27FC236}">
                <a16:creationId xmlns:a16="http://schemas.microsoft.com/office/drawing/2014/main" id="{CC582AF1-E4A7-F141-F3C5-7E8A6C3A0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31922" y="4419600"/>
            <a:ext cx="2128154" cy="133305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5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341595609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Percentage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FEC6291-7E9A-5A94-D328-10115F360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38" name="Text Placeholder 58">
            <a:extLst>
              <a:ext uri="{FF2B5EF4-FFF2-40B4-BE49-F238E27FC236}">
                <a16:creationId xmlns:a16="http://schemas.microsoft.com/office/drawing/2014/main" id="{D5E30F62-32C3-B7DC-303E-93402F5C383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201" y="2705100"/>
            <a:ext cx="3683000" cy="668800"/>
          </a:xfrm>
        </p:spPr>
        <p:txBody>
          <a:bodyPr anchor="t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9FFEDBF-9D9F-A30A-D171-BD0B177CA97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201" y="2040848"/>
            <a:ext cx="3683000" cy="664252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chemeClr val="accent3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XX%</a:t>
            </a:r>
          </a:p>
        </p:txBody>
      </p:sp>
      <p:sp>
        <p:nvSpPr>
          <p:cNvPr id="5" name="Text Placeholder 58">
            <a:extLst>
              <a:ext uri="{FF2B5EF4-FFF2-40B4-BE49-F238E27FC236}">
                <a16:creationId xmlns:a16="http://schemas.microsoft.com/office/drawing/2014/main" id="{3A450FA1-B52F-109E-7DE2-06025291D8E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7201" y="4581862"/>
            <a:ext cx="3683000" cy="668800"/>
          </a:xfrm>
        </p:spPr>
        <p:txBody>
          <a:bodyPr anchor="t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334E3FA-A61C-C0D2-E662-CF69B6D76D3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201" y="3917610"/>
            <a:ext cx="3683000" cy="664252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GB"/>
              <a:t>XX%</a:t>
            </a:r>
          </a:p>
        </p:txBody>
      </p: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63CC17E-1167-D838-1D46-158127979526}"/>
              </a:ext>
            </a:extLst>
          </p:cNvPr>
          <p:cNvGrpSpPr/>
          <p:nvPr userDrawn="1"/>
        </p:nvGrpSpPr>
        <p:grpSpPr>
          <a:xfrm>
            <a:off x="4322445" y="2043013"/>
            <a:ext cx="7412354" cy="977240"/>
            <a:chOff x="4322445" y="2043013"/>
            <a:chExt cx="4971004" cy="65537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7B1FE9F-D0D7-0780-4EC7-E2B7457C0FC3}"/>
                </a:ext>
              </a:extLst>
            </p:cNvPr>
            <p:cNvGrpSpPr/>
            <p:nvPr userDrawn="1"/>
          </p:nvGrpSpPr>
          <p:grpSpPr>
            <a:xfrm>
              <a:off x="4322445" y="2043013"/>
              <a:ext cx="370429" cy="655374"/>
              <a:chOff x="879972" y="1417638"/>
              <a:chExt cx="123825" cy="219075"/>
            </a:xfrm>
          </p:grpSpPr>
          <p:sp>
            <p:nvSpPr>
              <p:cNvPr id="8" name="Freeform: Shape 4">
                <a:extLst>
                  <a:ext uri="{FF2B5EF4-FFF2-40B4-BE49-F238E27FC236}">
                    <a16:creationId xmlns:a16="http://schemas.microsoft.com/office/drawing/2014/main" id="{7769D977-E5E5-7F64-F465-1D0D40AD38B9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" name="Freeform: Shape 5">
                <a:extLst>
                  <a:ext uri="{FF2B5EF4-FFF2-40B4-BE49-F238E27FC236}">
                    <a16:creationId xmlns:a16="http://schemas.microsoft.com/office/drawing/2014/main" id="{693F7D94-EDB1-7330-7C52-1FFAB9816A52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" name="Freeform: Shape 6">
                <a:extLst>
                  <a:ext uri="{FF2B5EF4-FFF2-40B4-BE49-F238E27FC236}">
                    <a16:creationId xmlns:a16="http://schemas.microsoft.com/office/drawing/2014/main" id="{6B574C9F-334C-9FD7-76C5-F4E8EF96CA57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" name="Freeform: Shape 7">
                <a:extLst>
                  <a:ext uri="{FF2B5EF4-FFF2-40B4-BE49-F238E27FC236}">
                    <a16:creationId xmlns:a16="http://schemas.microsoft.com/office/drawing/2014/main" id="{9A441588-FD9A-B19E-BF0C-39AF346A1912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" name="Freeform: Shape 8">
                <a:extLst>
                  <a:ext uri="{FF2B5EF4-FFF2-40B4-BE49-F238E27FC236}">
                    <a16:creationId xmlns:a16="http://schemas.microsoft.com/office/drawing/2014/main" id="{F062F085-24ED-0CC8-9290-A46F1A24DA46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7B91051-88A6-5C5B-21F7-850D12880816}"/>
                </a:ext>
              </a:extLst>
            </p:cNvPr>
            <p:cNvGrpSpPr/>
            <p:nvPr userDrawn="1"/>
          </p:nvGrpSpPr>
          <p:grpSpPr>
            <a:xfrm>
              <a:off x="4833620" y="2043013"/>
              <a:ext cx="370429" cy="655374"/>
              <a:chOff x="879972" y="1417638"/>
              <a:chExt cx="123825" cy="219075"/>
            </a:xfrm>
          </p:grpSpPr>
          <p:sp>
            <p:nvSpPr>
              <p:cNvPr id="15" name="Freeform: Shape 4">
                <a:extLst>
                  <a:ext uri="{FF2B5EF4-FFF2-40B4-BE49-F238E27FC236}">
                    <a16:creationId xmlns:a16="http://schemas.microsoft.com/office/drawing/2014/main" id="{74968706-191A-4333-6A30-322BAAC3C170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Freeform: Shape 5">
                <a:extLst>
                  <a:ext uri="{FF2B5EF4-FFF2-40B4-BE49-F238E27FC236}">
                    <a16:creationId xmlns:a16="http://schemas.microsoft.com/office/drawing/2014/main" id="{C2C0810A-A2D9-56BD-4525-B98EEB5E804E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Freeform: Shape 6">
                <a:extLst>
                  <a:ext uri="{FF2B5EF4-FFF2-40B4-BE49-F238E27FC236}">
                    <a16:creationId xmlns:a16="http://schemas.microsoft.com/office/drawing/2014/main" id="{797B60F3-C874-EEE0-64B7-7909C8DB3D19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Freeform: Shape 7">
                <a:extLst>
                  <a:ext uri="{FF2B5EF4-FFF2-40B4-BE49-F238E27FC236}">
                    <a16:creationId xmlns:a16="http://schemas.microsoft.com/office/drawing/2014/main" id="{C0F1EE6A-04A9-D8EF-42A6-6EF9BCD654D4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Freeform: Shape 8">
                <a:extLst>
                  <a:ext uri="{FF2B5EF4-FFF2-40B4-BE49-F238E27FC236}">
                    <a16:creationId xmlns:a16="http://schemas.microsoft.com/office/drawing/2014/main" id="{CFFDDB0F-657B-6F7F-CCC6-5F37D7DB97F6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1A49293-B4A5-4BB9-3867-1A23E41BAEB7}"/>
                </a:ext>
              </a:extLst>
            </p:cNvPr>
            <p:cNvGrpSpPr/>
            <p:nvPr userDrawn="1"/>
          </p:nvGrpSpPr>
          <p:grpSpPr>
            <a:xfrm>
              <a:off x="5344795" y="2043013"/>
              <a:ext cx="370429" cy="655374"/>
              <a:chOff x="879972" y="1417638"/>
              <a:chExt cx="123825" cy="219075"/>
            </a:xfrm>
          </p:grpSpPr>
          <p:sp>
            <p:nvSpPr>
              <p:cNvPr id="21" name="Freeform: Shape 4">
                <a:extLst>
                  <a:ext uri="{FF2B5EF4-FFF2-40B4-BE49-F238E27FC236}">
                    <a16:creationId xmlns:a16="http://schemas.microsoft.com/office/drawing/2014/main" id="{C461B7B5-0C3C-6232-FD7B-231E7D265799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Freeform: Shape 5">
                <a:extLst>
                  <a:ext uri="{FF2B5EF4-FFF2-40B4-BE49-F238E27FC236}">
                    <a16:creationId xmlns:a16="http://schemas.microsoft.com/office/drawing/2014/main" id="{F44BFFDD-98B0-7632-4B78-C7B55B8DECCF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Freeform: Shape 6">
                <a:extLst>
                  <a:ext uri="{FF2B5EF4-FFF2-40B4-BE49-F238E27FC236}">
                    <a16:creationId xmlns:a16="http://schemas.microsoft.com/office/drawing/2014/main" id="{09095214-6A45-65D3-7A7D-94B03E16EB21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" name="Freeform: Shape 7">
                <a:extLst>
                  <a:ext uri="{FF2B5EF4-FFF2-40B4-BE49-F238E27FC236}">
                    <a16:creationId xmlns:a16="http://schemas.microsoft.com/office/drawing/2014/main" id="{BD3258AD-7DB3-EE17-6D3F-F1537E0BD1AC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8">
                <a:extLst>
                  <a:ext uri="{FF2B5EF4-FFF2-40B4-BE49-F238E27FC236}">
                    <a16:creationId xmlns:a16="http://schemas.microsoft.com/office/drawing/2014/main" id="{B279466B-9728-EB6B-E900-1BFBB447D852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2DA9B41-02B3-C6DD-AFA2-8FD4A664D540}"/>
                </a:ext>
              </a:extLst>
            </p:cNvPr>
            <p:cNvGrpSpPr/>
            <p:nvPr userDrawn="1"/>
          </p:nvGrpSpPr>
          <p:grpSpPr>
            <a:xfrm>
              <a:off x="5855970" y="2043013"/>
              <a:ext cx="370429" cy="655374"/>
              <a:chOff x="879972" y="1417638"/>
              <a:chExt cx="123825" cy="219075"/>
            </a:xfrm>
          </p:grpSpPr>
          <p:sp>
            <p:nvSpPr>
              <p:cNvPr id="27" name="Freeform: Shape 4">
                <a:extLst>
                  <a:ext uri="{FF2B5EF4-FFF2-40B4-BE49-F238E27FC236}">
                    <a16:creationId xmlns:a16="http://schemas.microsoft.com/office/drawing/2014/main" id="{BFD5769E-7B15-9011-4F3F-2AAA31FB4583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5">
                <a:extLst>
                  <a:ext uri="{FF2B5EF4-FFF2-40B4-BE49-F238E27FC236}">
                    <a16:creationId xmlns:a16="http://schemas.microsoft.com/office/drawing/2014/main" id="{DCF99DA5-830A-490E-621A-E7ED4445CE69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Freeform: Shape 6">
                <a:extLst>
                  <a:ext uri="{FF2B5EF4-FFF2-40B4-BE49-F238E27FC236}">
                    <a16:creationId xmlns:a16="http://schemas.microsoft.com/office/drawing/2014/main" id="{AC3E5673-DB5B-080C-F192-68F80F453060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0" name="Freeform: Shape 7">
                <a:extLst>
                  <a:ext uri="{FF2B5EF4-FFF2-40B4-BE49-F238E27FC236}">
                    <a16:creationId xmlns:a16="http://schemas.microsoft.com/office/drawing/2014/main" id="{D71E667E-B166-9E29-EAC7-F4F7CFB617EC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1" name="Freeform: Shape 8">
                <a:extLst>
                  <a:ext uri="{FF2B5EF4-FFF2-40B4-BE49-F238E27FC236}">
                    <a16:creationId xmlns:a16="http://schemas.microsoft.com/office/drawing/2014/main" id="{C4E18C18-752A-9088-1710-04993987399D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9DB4A600-88B4-40D4-879F-2C1BC45158B7}"/>
                </a:ext>
              </a:extLst>
            </p:cNvPr>
            <p:cNvGrpSpPr/>
            <p:nvPr userDrawn="1"/>
          </p:nvGrpSpPr>
          <p:grpSpPr>
            <a:xfrm>
              <a:off x="6367145" y="2043013"/>
              <a:ext cx="370429" cy="655374"/>
              <a:chOff x="879972" y="1417638"/>
              <a:chExt cx="123825" cy="219075"/>
            </a:xfrm>
          </p:grpSpPr>
          <p:sp>
            <p:nvSpPr>
              <p:cNvPr id="33" name="Freeform: Shape 4">
                <a:extLst>
                  <a:ext uri="{FF2B5EF4-FFF2-40B4-BE49-F238E27FC236}">
                    <a16:creationId xmlns:a16="http://schemas.microsoft.com/office/drawing/2014/main" id="{6B434E4D-A0C6-03FA-9FE3-8716F9249A14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Freeform: Shape 5">
                <a:extLst>
                  <a:ext uri="{FF2B5EF4-FFF2-40B4-BE49-F238E27FC236}">
                    <a16:creationId xmlns:a16="http://schemas.microsoft.com/office/drawing/2014/main" id="{16EB823F-A26E-2DF9-CFE1-70C47E67677A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Freeform: Shape 6">
                <a:extLst>
                  <a:ext uri="{FF2B5EF4-FFF2-40B4-BE49-F238E27FC236}">
                    <a16:creationId xmlns:a16="http://schemas.microsoft.com/office/drawing/2014/main" id="{A5243B20-C79B-AC19-124F-330DD859481B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Freeform: Shape 7">
                <a:extLst>
                  <a:ext uri="{FF2B5EF4-FFF2-40B4-BE49-F238E27FC236}">
                    <a16:creationId xmlns:a16="http://schemas.microsoft.com/office/drawing/2014/main" id="{66A970EA-1B57-1033-71EE-9A4899EF70C5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Freeform: Shape 8">
                <a:extLst>
                  <a:ext uri="{FF2B5EF4-FFF2-40B4-BE49-F238E27FC236}">
                    <a16:creationId xmlns:a16="http://schemas.microsoft.com/office/drawing/2014/main" id="{38DAD11D-17FB-5CF1-F033-D4D642101D1A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7EAB101-84C3-83F4-F87B-B42D0A0A81E1}"/>
                </a:ext>
              </a:extLst>
            </p:cNvPr>
            <p:cNvGrpSpPr/>
            <p:nvPr userDrawn="1"/>
          </p:nvGrpSpPr>
          <p:grpSpPr>
            <a:xfrm>
              <a:off x="6878320" y="2043013"/>
              <a:ext cx="370429" cy="655374"/>
              <a:chOff x="879972" y="1417638"/>
              <a:chExt cx="123825" cy="219075"/>
            </a:xfrm>
          </p:grpSpPr>
          <p:sp>
            <p:nvSpPr>
              <p:cNvPr id="39" name="Freeform: Shape 4">
                <a:extLst>
                  <a:ext uri="{FF2B5EF4-FFF2-40B4-BE49-F238E27FC236}">
                    <a16:creationId xmlns:a16="http://schemas.microsoft.com/office/drawing/2014/main" id="{84497900-139F-E56D-C54F-E453F087B6C2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0" name="Freeform: Shape 5">
                <a:extLst>
                  <a:ext uri="{FF2B5EF4-FFF2-40B4-BE49-F238E27FC236}">
                    <a16:creationId xmlns:a16="http://schemas.microsoft.com/office/drawing/2014/main" id="{E691E34C-123C-5FBB-C838-DD80B9DF2F06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1" name="Freeform: Shape 6">
                <a:extLst>
                  <a:ext uri="{FF2B5EF4-FFF2-40B4-BE49-F238E27FC236}">
                    <a16:creationId xmlns:a16="http://schemas.microsoft.com/office/drawing/2014/main" id="{977D9B7F-737C-9819-5060-94DD9F01F548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2" name="Freeform: Shape 7">
                <a:extLst>
                  <a:ext uri="{FF2B5EF4-FFF2-40B4-BE49-F238E27FC236}">
                    <a16:creationId xmlns:a16="http://schemas.microsoft.com/office/drawing/2014/main" id="{CD888436-6003-6DEB-4C16-92935CD99FD4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3" name="Freeform: Shape 8">
                <a:extLst>
                  <a:ext uri="{FF2B5EF4-FFF2-40B4-BE49-F238E27FC236}">
                    <a16:creationId xmlns:a16="http://schemas.microsoft.com/office/drawing/2014/main" id="{10A2693F-8BFD-3E77-3968-C9C932F7A482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5E7E7B3-6C38-BFCD-03DD-42A44B6C46C9}"/>
                </a:ext>
              </a:extLst>
            </p:cNvPr>
            <p:cNvGrpSpPr/>
            <p:nvPr userDrawn="1"/>
          </p:nvGrpSpPr>
          <p:grpSpPr>
            <a:xfrm>
              <a:off x="7389495" y="2043013"/>
              <a:ext cx="370429" cy="655374"/>
              <a:chOff x="879972" y="1417638"/>
              <a:chExt cx="123825" cy="219075"/>
            </a:xfrm>
          </p:grpSpPr>
          <p:sp>
            <p:nvSpPr>
              <p:cNvPr id="45" name="Freeform: Shape 4">
                <a:extLst>
                  <a:ext uri="{FF2B5EF4-FFF2-40B4-BE49-F238E27FC236}">
                    <a16:creationId xmlns:a16="http://schemas.microsoft.com/office/drawing/2014/main" id="{C5A2DEAC-256D-3CDB-729A-4F4D0499E28F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6" name="Freeform: Shape 5">
                <a:extLst>
                  <a:ext uri="{FF2B5EF4-FFF2-40B4-BE49-F238E27FC236}">
                    <a16:creationId xmlns:a16="http://schemas.microsoft.com/office/drawing/2014/main" id="{CEDD8812-D729-52BB-9855-08AB4D352ACA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7" name="Freeform: Shape 6">
                <a:extLst>
                  <a:ext uri="{FF2B5EF4-FFF2-40B4-BE49-F238E27FC236}">
                    <a16:creationId xmlns:a16="http://schemas.microsoft.com/office/drawing/2014/main" id="{49BF594E-3DBC-ED9B-7913-065BEEF86371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8" name="Freeform: Shape 7">
                <a:extLst>
                  <a:ext uri="{FF2B5EF4-FFF2-40B4-BE49-F238E27FC236}">
                    <a16:creationId xmlns:a16="http://schemas.microsoft.com/office/drawing/2014/main" id="{5434D1BD-DB15-5E64-072C-2C67C8E0D3FC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9" name="Freeform: Shape 8">
                <a:extLst>
                  <a:ext uri="{FF2B5EF4-FFF2-40B4-BE49-F238E27FC236}">
                    <a16:creationId xmlns:a16="http://schemas.microsoft.com/office/drawing/2014/main" id="{7B491FE5-E52D-C2D4-98EF-F06804CC8016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1325F63-413D-D345-9EC5-7F876061FADE}"/>
                </a:ext>
              </a:extLst>
            </p:cNvPr>
            <p:cNvGrpSpPr/>
            <p:nvPr userDrawn="1"/>
          </p:nvGrpSpPr>
          <p:grpSpPr>
            <a:xfrm>
              <a:off x="7900670" y="2043013"/>
              <a:ext cx="370429" cy="655374"/>
              <a:chOff x="879972" y="1417638"/>
              <a:chExt cx="123825" cy="219075"/>
            </a:xfrm>
          </p:grpSpPr>
          <p:sp>
            <p:nvSpPr>
              <p:cNvPr id="51" name="Freeform: Shape 4">
                <a:extLst>
                  <a:ext uri="{FF2B5EF4-FFF2-40B4-BE49-F238E27FC236}">
                    <a16:creationId xmlns:a16="http://schemas.microsoft.com/office/drawing/2014/main" id="{5AF9A15C-AD5B-AF94-B883-BD44851183B9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2" name="Freeform: Shape 5">
                <a:extLst>
                  <a:ext uri="{FF2B5EF4-FFF2-40B4-BE49-F238E27FC236}">
                    <a16:creationId xmlns:a16="http://schemas.microsoft.com/office/drawing/2014/main" id="{C2B69926-6229-6EEE-14E3-225446802943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3" name="Freeform: Shape 6">
                <a:extLst>
                  <a:ext uri="{FF2B5EF4-FFF2-40B4-BE49-F238E27FC236}">
                    <a16:creationId xmlns:a16="http://schemas.microsoft.com/office/drawing/2014/main" id="{A6AECAB6-8547-4A41-E70D-DEC21DB811EB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4" name="Freeform: Shape 7">
                <a:extLst>
                  <a:ext uri="{FF2B5EF4-FFF2-40B4-BE49-F238E27FC236}">
                    <a16:creationId xmlns:a16="http://schemas.microsoft.com/office/drawing/2014/main" id="{35CD0153-F363-5157-7361-8425DEC5D026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5" name="Freeform: Shape 8">
                <a:extLst>
                  <a:ext uri="{FF2B5EF4-FFF2-40B4-BE49-F238E27FC236}">
                    <a16:creationId xmlns:a16="http://schemas.microsoft.com/office/drawing/2014/main" id="{877484C9-72B3-4E9F-2EF6-EBC4F2360295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66C369D-40B4-5BC8-468E-4EAB1BE059B1}"/>
                </a:ext>
              </a:extLst>
            </p:cNvPr>
            <p:cNvGrpSpPr/>
            <p:nvPr userDrawn="1"/>
          </p:nvGrpSpPr>
          <p:grpSpPr>
            <a:xfrm>
              <a:off x="8411845" y="2043013"/>
              <a:ext cx="370429" cy="655374"/>
              <a:chOff x="879972" y="1417638"/>
              <a:chExt cx="123825" cy="219075"/>
            </a:xfrm>
          </p:grpSpPr>
          <p:sp>
            <p:nvSpPr>
              <p:cNvPr id="57" name="Freeform: Shape 4">
                <a:extLst>
                  <a:ext uri="{FF2B5EF4-FFF2-40B4-BE49-F238E27FC236}">
                    <a16:creationId xmlns:a16="http://schemas.microsoft.com/office/drawing/2014/main" id="{01098FEE-3416-4F77-F452-B8382511867F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8" name="Freeform: Shape 5">
                <a:extLst>
                  <a:ext uri="{FF2B5EF4-FFF2-40B4-BE49-F238E27FC236}">
                    <a16:creationId xmlns:a16="http://schemas.microsoft.com/office/drawing/2014/main" id="{2B64751D-FB82-B870-A703-F1B61C943023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9" name="Freeform: Shape 6">
                <a:extLst>
                  <a:ext uri="{FF2B5EF4-FFF2-40B4-BE49-F238E27FC236}">
                    <a16:creationId xmlns:a16="http://schemas.microsoft.com/office/drawing/2014/main" id="{D84C37CF-2174-A013-D197-ED6711710B22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0" name="Freeform: Shape 7">
                <a:extLst>
                  <a:ext uri="{FF2B5EF4-FFF2-40B4-BE49-F238E27FC236}">
                    <a16:creationId xmlns:a16="http://schemas.microsoft.com/office/drawing/2014/main" id="{BEF22D44-D315-7A4A-39DA-F928841181B3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1" name="Freeform: Shape 8">
                <a:extLst>
                  <a:ext uri="{FF2B5EF4-FFF2-40B4-BE49-F238E27FC236}">
                    <a16:creationId xmlns:a16="http://schemas.microsoft.com/office/drawing/2014/main" id="{AF65E266-57AF-0884-9D57-02E6B3A46013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1DA942A-F4F0-5EA6-8E5F-A416B10D7C28}"/>
                </a:ext>
              </a:extLst>
            </p:cNvPr>
            <p:cNvGrpSpPr/>
            <p:nvPr userDrawn="1"/>
          </p:nvGrpSpPr>
          <p:grpSpPr>
            <a:xfrm>
              <a:off x="8923020" y="2043013"/>
              <a:ext cx="370429" cy="655374"/>
              <a:chOff x="879972" y="1417638"/>
              <a:chExt cx="123825" cy="219075"/>
            </a:xfrm>
          </p:grpSpPr>
          <p:sp>
            <p:nvSpPr>
              <p:cNvPr id="63" name="Freeform: Shape 4">
                <a:extLst>
                  <a:ext uri="{FF2B5EF4-FFF2-40B4-BE49-F238E27FC236}">
                    <a16:creationId xmlns:a16="http://schemas.microsoft.com/office/drawing/2014/main" id="{9A667464-448B-E76E-C247-7DDBE44C0197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2" name="Freeform: Shape 5">
                <a:extLst>
                  <a:ext uri="{FF2B5EF4-FFF2-40B4-BE49-F238E27FC236}">
                    <a16:creationId xmlns:a16="http://schemas.microsoft.com/office/drawing/2014/main" id="{E1910745-861F-40D6-5C90-6DA5C4E7552C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3" name="Freeform: Shape 6">
                <a:extLst>
                  <a:ext uri="{FF2B5EF4-FFF2-40B4-BE49-F238E27FC236}">
                    <a16:creationId xmlns:a16="http://schemas.microsoft.com/office/drawing/2014/main" id="{782363D1-9330-4AAD-DF9C-E25A05E8A40B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4" name="Freeform: Shape 7">
                <a:extLst>
                  <a:ext uri="{FF2B5EF4-FFF2-40B4-BE49-F238E27FC236}">
                    <a16:creationId xmlns:a16="http://schemas.microsoft.com/office/drawing/2014/main" id="{ABB96D6D-05E5-DBAA-7384-1EA806949BCB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5" name="Freeform: Shape 8">
                <a:extLst>
                  <a:ext uri="{FF2B5EF4-FFF2-40B4-BE49-F238E27FC236}">
                    <a16:creationId xmlns:a16="http://schemas.microsoft.com/office/drawing/2014/main" id="{6C461AE0-24EC-D29B-1CC6-9D858E49246C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B90EDABB-B9FF-634D-5E22-47AB35AF5ED6}"/>
              </a:ext>
            </a:extLst>
          </p:cNvPr>
          <p:cNvGrpSpPr/>
          <p:nvPr userDrawn="1"/>
        </p:nvGrpSpPr>
        <p:grpSpPr>
          <a:xfrm>
            <a:off x="4322445" y="3917610"/>
            <a:ext cx="7412354" cy="977240"/>
            <a:chOff x="4322445" y="2043013"/>
            <a:chExt cx="4971004" cy="655374"/>
          </a:xfrm>
        </p:grpSpPr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F06F57AD-5068-56DD-D5BE-F1BD4967339D}"/>
                </a:ext>
              </a:extLst>
            </p:cNvPr>
            <p:cNvGrpSpPr/>
            <p:nvPr userDrawn="1"/>
          </p:nvGrpSpPr>
          <p:grpSpPr>
            <a:xfrm>
              <a:off x="4322445" y="2043013"/>
              <a:ext cx="370429" cy="655374"/>
              <a:chOff x="879972" y="1417638"/>
              <a:chExt cx="123825" cy="219075"/>
            </a:xfrm>
          </p:grpSpPr>
          <p:sp>
            <p:nvSpPr>
              <p:cNvPr id="259" name="Freeform: Shape 4">
                <a:extLst>
                  <a:ext uri="{FF2B5EF4-FFF2-40B4-BE49-F238E27FC236}">
                    <a16:creationId xmlns:a16="http://schemas.microsoft.com/office/drawing/2014/main" id="{82323C5C-9396-781E-87AE-259DD30DEE17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0" name="Freeform: Shape 5">
                <a:extLst>
                  <a:ext uri="{FF2B5EF4-FFF2-40B4-BE49-F238E27FC236}">
                    <a16:creationId xmlns:a16="http://schemas.microsoft.com/office/drawing/2014/main" id="{98581D35-6001-AD1D-A3DD-7EC8B63C9DE8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1" name="Freeform: Shape 6">
                <a:extLst>
                  <a:ext uri="{FF2B5EF4-FFF2-40B4-BE49-F238E27FC236}">
                    <a16:creationId xmlns:a16="http://schemas.microsoft.com/office/drawing/2014/main" id="{AA92343E-AA86-D986-0321-8B8B3F7B7D26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2" name="Freeform: Shape 7">
                <a:extLst>
                  <a:ext uri="{FF2B5EF4-FFF2-40B4-BE49-F238E27FC236}">
                    <a16:creationId xmlns:a16="http://schemas.microsoft.com/office/drawing/2014/main" id="{1D17D671-993F-567D-D487-DAA20159870C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3" name="Freeform: Shape 8">
                <a:extLst>
                  <a:ext uri="{FF2B5EF4-FFF2-40B4-BE49-F238E27FC236}">
                    <a16:creationId xmlns:a16="http://schemas.microsoft.com/office/drawing/2014/main" id="{82746038-073B-8C60-0FDE-00B91361C8F7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40F4B183-171D-101A-DB0F-A4F6E5A8F11B}"/>
                </a:ext>
              </a:extLst>
            </p:cNvPr>
            <p:cNvGrpSpPr/>
            <p:nvPr userDrawn="1"/>
          </p:nvGrpSpPr>
          <p:grpSpPr>
            <a:xfrm>
              <a:off x="4833620" y="2043013"/>
              <a:ext cx="370429" cy="655374"/>
              <a:chOff x="879972" y="1417638"/>
              <a:chExt cx="123825" cy="219075"/>
            </a:xfrm>
          </p:grpSpPr>
          <p:sp>
            <p:nvSpPr>
              <p:cNvPr id="254" name="Freeform: Shape 4">
                <a:extLst>
                  <a:ext uri="{FF2B5EF4-FFF2-40B4-BE49-F238E27FC236}">
                    <a16:creationId xmlns:a16="http://schemas.microsoft.com/office/drawing/2014/main" id="{99BD0607-16CE-B1A3-1137-C333C479D104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5" name="Freeform: Shape 5">
                <a:extLst>
                  <a:ext uri="{FF2B5EF4-FFF2-40B4-BE49-F238E27FC236}">
                    <a16:creationId xmlns:a16="http://schemas.microsoft.com/office/drawing/2014/main" id="{92EF96D6-1C10-89FF-6030-AB54B6A3F172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6" name="Freeform: Shape 6">
                <a:extLst>
                  <a:ext uri="{FF2B5EF4-FFF2-40B4-BE49-F238E27FC236}">
                    <a16:creationId xmlns:a16="http://schemas.microsoft.com/office/drawing/2014/main" id="{6D88558E-4930-C684-C25F-E5CD5596A3D5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7" name="Freeform: Shape 7">
                <a:extLst>
                  <a:ext uri="{FF2B5EF4-FFF2-40B4-BE49-F238E27FC236}">
                    <a16:creationId xmlns:a16="http://schemas.microsoft.com/office/drawing/2014/main" id="{A8323BC5-ECBF-0130-0E22-6473902D33D1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8" name="Freeform: Shape 8">
                <a:extLst>
                  <a:ext uri="{FF2B5EF4-FFF2-40B4-BE49-F238E27FC236}">
                    <a16:creationId xmlns:a16="http://schemas.microsoft.com/office/drawing/2014/main" id="{7D94B957-6656-3AF2-AB26-7D83F21BC498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50205DFA-7D96-A42C-9919-476478349DC6}"/>
                </a:ext>
              </a:extLst>
            </p:cNvPr>
            <p:cNvGrpSpPr/>
            <p:nvPr userDrawn="1"/>
          </p:nvGrpSpPr>
          <p:grpSpPr>
            <a:xfrm>
              <a:off x="5344795" y="2043013"/>
              <a:ext cx="370429" cy="655374"/>
              <a:chOff x="879972" y="1417638"/>
              <a:chExt cx="123825" cy="219075"/>
            </a:xfrm>
          </p:grpSpPr>
          <p:sp>
            <p:nvSpPr>
              <p:cNvPr id="249" name="Freeform: Shape 4">
                <a:extLst>
                  <a:ext uri="{FF2B5EF4-FFF2-40B4-BE49-F238E27FC236}">
                    <a16:creationId xmlns:a16="http://schemas.microsoft.com/office/drawing/2014/main" id="{7047D312-C030-BA50-DA16-0BC778F7D321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0" name="Freeform: Shape 5">
                <a:extLst>
                  <a:ext uri="{FF2B5EF4-FFF2-40B4-BE49-F238E27FC236}">
                    <a16:creationId xmlns:a16="http://schemas.microsoft.com/office/drawing/2014/main" id="{9885AD50-3228-7FC5-51EE-41485014D4E4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1" name="Freeform: Shape 6">
                <a:extLst>
                  <a:ext uri="{FF2B5EF4-FFF2-40B4-BE49-F238E27FC236}">
                    <a16:creationId xmlns:a16="http://schemas.microsoft.com/office/drawing/2014/main" id="{F1A0D0D7-C0A1-23E4-8174-27296DEA3892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2" name="Freeform: Shape 7">
                <a:extLst>
                  <a:ext uri="{FF2B5EF4-FFF2-40B4-BE49-F238E27FC236}">
                    <a16:creationId xmlns:a16="http://schemas.microsoft.com/office/drawing/2014/main" id="{FFBC87F4-26E8-E78D-763F-87A8575F7D1C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3" name="Freeform: Shape 8">
                <a:extLst>
                  <a:ext uri="{FF2B5EF4-FFF2-40B4-BE49-F238E27FC236}">
                    <a16:creationId xmlns:a16="http://schemas.microsoft.com/office/drawing/2014/main" id="{C4AFA4FD-6A54-4430-FDBE-903295EB1A1C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41867C5B-07CF-ADD5-A835-D4AB0D45E301}"/>
                </a:ext>
              </a:extLst>
            </p:cNvPr>
            <p:cNvGrpSpPr/>
            <p:nvPr userDrawn="1"/>
          </p:nvGrpSpPr>
          <p:grpSpPr>
            <a:xfrm>
              <a:off x="5855970" y="2043013"/>
              <a:ext cx="370429" cy="655374"/>
              <a:chOff x="879972" y="1417638"/>
              <a:chExt cx="123825" cy="219075"/>
            </a:xfrm>
          </p:grpSpPr>
          <p:sp>
            <p:nvSpPr>
              <p:cNvPr id="244" name="Freeform: Shape 4">
                <a:extLst>
                  <a:ext uri="{FF2B5EF4-FFF2-40B4-BE49-F238E27FC236}">
                    <a16:creationId xmlns:a16="http://schemas.microsoft.com/office/drawing/2014/main" id="{7168464E-C9DD-87C2-F35F-31CC755536C3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5" name="Freeform: Shape 5">
                <a:extLst>
                  <a:ext uri="{FF2B5EF4-FFF2-40B4-BE49-F238E27FC236}">
                    <a16:creationId xmlns:a16="http://schemas.microsoft.com/office/drawing/2014/main" id="{4DD0045A-9D1B-F399-4981-D709770F206B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6" name="Freeform: Shape 6">
                <a:extLst>
                  <a:ext uri="{FF2B5EF4-FFF2-40B4-BE49-F238E27FC236}">
                    <a16:creationId xmlns:a16="http://schemas.microsoft.com/office/drawing/2014/main" id="{C5EC8468-9164-E10B-2427-C67DE54CF000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7" name="Freeform: Shape 7">
                <a:extLst>
                  <a:ext uri="{FF2B5EF4-FFF2-40B4-BE49-F238E27FC236}">
                    <a16:creationId xmlns:a16="http://schemas.microsoft.com/office/drawing/2014/main" id="{7F4D9041-13A1-30A6-6936-3FB80DAB8882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8" name="Freeform: Shape 8">
                <a:extLst>
                  <a:ext uri="{FF2B5EF4-FFF2-40B4-BE49-F238E27FC236}">
                    <a16:creationId xmlns:a16="http://schemas.microsoft.com/office/drawing/2014/main" id="{1A9AF32E-3786-D5C0-147D-FDC01EA24FC4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F338FD35-5183-51FE-4E33-B7CBE86C8B64}"/>
                </a:ext>
              </a:extLst>
            </p:cNvPr>
            <p:cNvGrpSpPr/>
            <p:nvPr userDrawn="1"/>
          </p:nvGrpSpPr>
          <p:grpSpPr>
            <a:xfrm>
              <a:off x="6367145" y="2043013"/>
              <a:ext cx="370429" cy="655374"/>
              <a:chOff x="879972" y="1417638"/>
              <a:chExt cx="123825" cy="219075"/>
            </a:xfrm>
          </p:grpSpPr>
          <p:sp>
            <p:nvSpPr>
              <p:cNvPr id="233" name="Freeform: Shape 4">
                <a:extLst>
                  <a:ext uri="{FF2B5EF4-FFF2-40B4-BE49-F238E27FC236}">
                    <a16:creationId xmlns:a16="http://schemas.microsoft.com/office/drawing/2014/main" id="{6949F8AF-E161-EE44-E621-8D26680D51C6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4" name="Freeform: Shape 5">
                <a:extLst>
                  <a:ext uri="{FF2B5EF4-FFF2-40B4-BE49-F238E27FC236}">
                    <a16:creationId xmlns:a16="http://schemas.microsoft.com/office/drawing/2014/main" id="{FFE2177B-2E76-1A84-60A5-49983D551EA0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1" name="Freeform: Shape 6">
                <a:extLst>
                  <a:ext uri="{FF2B5EF4-FFF2-40B4-BE49-F238E27FC236}">
                    <a16:creationId xmlns:a16="http://schemas.microsoft.com/office/drawing/2014/main" id="{5EF4E33C-9CE8-A633-6FA1-3A1806723D56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2" name="Freeform: Shape 7">
                <a:extLst>
                  <a:ext uri="{FF2B5EF4-FFF2-40B4-BE49-F238E27FC236}">
                    <a16:creationId xmlns:a16="http://schemas.microsoft.com/office/drawing/2014/main" id="{4D136941-FBB1-4B9F-E054-9EFED75A5BF2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3" name="Freeform: Shape 8">
                <a:extLst>
                  <a:ext uri="{FF2B5EF4-FFF2-40B4-BE49-F238E27FC236}">
                    <a16:creationId xmlns:a16="http://schemas.microsoft.com/office/drawing/2014/main" id="{6DCFC734-5089-2EBD-4570-489FE60FFB58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AFAF8BF2-3C98-8C74-E9FA-38206E5B9446}"/>
                </a:ext>
              </a:extLst>
            </p:cNvPr>
            <p:cNvGrpSpPr/>
            <p:nvPr userDrawn="1"/>
          </p:nvGrpSpPr>
          <p:grpSpPr>
            <a:xfrm>
              <a:off x="6878320" y="2043013"/>
              <a:ext cx="370429" cy="655374"/>
              <a:chOff x="879972" y="1417638"/>
              <a:chExt cx="123825" cy="219075"/>
            </a:xfrm>
          </p:grpSpPr>
          <p:sp>
            <p:nvSpPr>
              <p:cNvPr id="228" name="Freeform: Shape 4">
                <a:extLst>
                  <a:ext uri="{FF2B5EF4-FFF2-40B4-BE49-F238E27FC236}">
                    <a16:creationId xmlns:a16="http://schemas.microsoft.com/office/drawing/2014/main" id="{AD35FC21-E027-A950-C177-E367A6520CD0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9" name="Freeform: Shape 5">
                <a:extLst>
                  <a:ext uri="{FF2B5EF4-FFF2-40B4-BE49-F238E27FC236}">
                    <a16:creationId xmlns:a16="http://schemas.microsoft.com/office/drawing/2014/main" id="{2C025780-5A03-55CF-A4C4-6D09AC2B27AD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0" name="Freeform: Shape 6">
                <a:extLst>
                  <a:ext uri="{FF2B5EF4-FFF2-40B4-BE49-F238E27FC236}">
                    <a16:creationId xmlns:a16="http://schemas.microsoft.com/office/drawing/2014/main" id="{19698331-D869-D200-2F78-0CEC2B032A72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1" name="Freeform: Shape 7">
                <a:extLst>
                  <a:ext uri="{FF2B5EF4-FFF2-40B4-BE49-F238E27FC236}">
                    <a16:creationId xmlns:a16="http://schemas.microsoft.com/office/drawing/2014/main" id="{0A0BAFD5-BEBE-51C0-A825-582056CFA183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2" name="Freeform: Shape 8">
                <a:extLst>
                  <a:ext uri="{FF2B5EF4-FFF2-40B4-BE49-F238E27FC236}">
                    <a16:creationId xmlns:a16="http://schemas.microsoft.com/office/drawing/2014/main" id="{94B9D173-D297-8379-8788-8CE025AF8801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98970593-ADFA-59E8-EC21-1B5DBED36581}"/>
                </a:ext>
              </a:extLst>
            </p:cNvPr>
            <p:cNvGrpSpPr/>
            <p:nvPr userDrawn="1"/>
          </p:nvGrpSpPr>
          <p:grpSpPr>
            <a:xfrm>
              <a:off x="7389495" y="2043013"/>
              <a:ext cx="370429" cy="655374"/>
              <a:chOff x="879972" y="1417638"/>
              <a:chExt cx="123825" cy="219075"/>
            </a:xfrm>
          </p:grpSpPr>
          <p:sp>
            <p:nvSpPr>
              <p:cNvPr id="223" name="Freeform: Shape 4">
                <a:extLst>
                  <a:ext uri="{FF2B5EF4-FFF2-40B4-BE49-F238E27FC236}">
                    <a16:creationId xmlns:a16="http://schemas.microsoft.com/office/drawing/2014/main" id="{BE756AB4-5B56-1256-AE32-46B7021CD013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4" name="Freeform: Shape 5">
                <a:extLst>
                  <a:ext uri="{FF2B5EF4-FFF2-40B4-BE49-F238E27FC236}">
                    <a16:creationId xmlns:a16="http://schemas.microsoft.com/office/drawing/2014/main" id="{40D1A873-59A8-CB42-B23B-973CCC7AFB44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5" name="Freeform: Shape 6">
                <a:extLst>
                  <a:ext uri="{FF2B5EF4-FFF2-40B4-BE49-F238E27FC236}">
                    <a16:creationId xmlns:a16="http://schemas.microsoft.com/office/drawing/2014/main" id="{5E96E79E-C030-EBD6-BA7C-CF6B8BBD0F61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6" name="Freeform: Shape 7">
                <a:extLst>
                  <a:ext uri="{FF2B5EF4-FFF2-40B4-BE49-F238E27FC236}">
                    <a16:creationId xmlns:a16="http://schemas.microsoft.com/office/drawing/2014/main" id="{5B640048-4588-AB1F-7FCB-833965D0F8C0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7" name="Freeform: Shape 8">
                <a:extLst>
                  <a:ext uri="{FF2B5EF4-FFF2-40B4-BE49-F238E27FC236}">
                    <a16:creationId xmlns:a16="http://schemas.microsoft.com/office/drawing/2014/main" id="{5E2E8F73-1A8A-4EC9-219C-D6FEE7901F12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312156CC-458B-3D95-EA84-19E9BD538245}"/>
                </a:ext>
              </a:extLst>
            </p:cNvPr>
            <p:cNvGrpSpPr/>
            <p:nvPr userDrawn="1"/>
          </p:nvGrpSpPr>
          <p:grpSpPr>
            <a:xfrm>
              <a:off x="7900670" y="2043013"/>
              <a:ext cx="370429" cy="655374"/>
              <a:chOff x="879972" y="1417638"/>
              <a:chExt cx="123825" cy="219075"/>
            </a:xfrm>
          </p:grpSpPr>
          <p:sp>
            <p:nvSpPr>
              <p:cNvPr id="218" name="Freeform: Shape 4">
                <a:extLst>
                  <a:ext uri="{FF2B5EF4-FFF2-40B4-BE49-F238E27FC236}">
                    <a16:creationId xmlns:a16="http://schemas.microsoft.com/office/drawing/2014/main" id="{EA57BD6E-2377-5419-8D31-C9122EDB00E9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9" name="Freeform: Shape 5">
                <a:extLst>
                  <a:ext uri="{FF2B5EF4-FFF2-40B4-BE49-F238E27FC236}">
                    <a16:creationId xmlns:a16="http://schemas.microsoft.com/office/drawing/2014/main" id="{DBC9A50C-9750-C790-C597-1B591F10F0C3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0" name="Freeform: Shape 6">
                <a:extLst>
                  <a:ext uri="{FF2B5EF4-FFF2-40B4-BE49-F238E27FC236}">
                    <a16:creationId xmlns:a16="http://schemas.microsoft.com/office/drawing/2014/main" id="{356899C3-DC0D-C870-F017-B399C2EFFE90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1" name="Freeform: Shape 7">
                <a:extLst>
                  <a:ext uri="{FF2B5EF4-FFF2-40B4-BE49-F238E27FC236}">
                    <a16:creationId xmlns:a16="http://schemas.microsoft.com/office/drawing/2014/main" id="{5E5B26F6-0AA2-5EA7-EC23-40ECFE01A59F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2" name="Freeform: Shape 8">
                <a:extLst>
                  <a:ext uri="{FF2B5EF4-FFF2-40B4-BE49-F238E27FC236}">
                    <a16:creationId xmlns:a16="http://schemas.microsoft.com/office/drawing/2014/main" id="{E0149D81-2926-9A09-F838-52826B02D020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AA32E450-F34A-8F1A-71E9-988F8E7B77E7}"/>
                </a:ext>
              </a:extLst>
            </p:cNvPr>
            <p:cNvGrpSpPr/>
            <p:nvPr userDrawn="1"/>
          </p:nvGrpSpPr>
          <p:grpSpPr>
            <a:xfrm>
              <a:off x="8411845" y="2043013"/>
              <a:ext cx="370429" cy="655374"/>
              <a:chOff x="879972" y="1417638"/>
              <a:chExt cx="123825" cy="219075"/>
            </a:xfrm>
          </p:grpSpPr>
          <p:sp>
            <p:nvSpPr>
              <p:cNvPr id="213" name="Freeform: Shape 4">
                <a:extLst>
                  <a:ext uri="{FF2B5EF4-FFF2-40B4-BE49-F238E27FC236}">
                    <a16:creationId xmlns:a16="http://schemas.microsoft.com/office/drawing/2014/main" id="{6693BC65-2C7B-30A7-0136-33C7499D3F11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4" name="Freeform: Shape 5">
                <a:extLst>
                  <a:ext uri="{FF2B5EF4-FFF2-40B4-BE49-F238E27FC236}">
                    <a16:creationId xmlns:a16="http://schemas.microsoft.com/office/drawing/2014/main" id="{FDCBB8F9-8550-759D-AD9D-D7AB7ACCD2AF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5" name="Freeform: Shape 6">
                <a:extLst>
                  <a:ext uri="{FF2B5EF4-FFF2-40B4-BE49-F238E27FC236}">
                    <a16:creationId xmlns:a16="http://schemas.microsoft.com/office/drawing/2014/main" id="{73BB0364-912E-615B-19D5-48A98535E933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6" name="Freeform: Shape 7">
                <a:extLst>
                  <a:ext uri="{FF2B5EF4-FFF2-40B4-BE49-F238E27FC236}">
                    <a16:creationId xmlns:a16="http://schemas.microsoft.com/office/drawing/2014/main" id="{E8BA034B-7B04-9961-C4D2-F2DDD4DDDCC8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7" name="Freeform: Shape 8">
                <a:extLst>
                  <a:ext uri="{FF2B5EF4-FFF2-40B4-BE49-F238E27FC236}">
                    <a16:creationId xmlns:a16="http://schemas.microsoft.com/office/drawing/2014/main" id="{FC086353-8B21-34A0-5D75-CCDDB8BBE243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919E0D2E-F1BD-EB29-5C4E-1E40D1389CD9}"/>
                </a:ext>
              </a:extLst>
            </p:cNvPr>
            <p:cNvGrpSpPr/>
            <p:nvPr userDrawn="1"/>
          </p:nvGrpSpPr>
          <p:grpSpPr>
            <a:xfrm>
              <a:off x="8923020" y="2043013"/>
              <a:ext cx="370429" cy="655374"/>
              <a:chOff x="879972" y="1417638"/>
              <a:chExt cx="123825" cy="219075"/>
            </a:xfrm>
          </p:grpSpPr>
          <p:sp>
            <p:nvSpPr>
              <p:cNvPr id="208" name="Freeform: Shape 4">
                <a:extLst>
                  <a:ext uri="{FF2B5EF4-FFF2-40B4-BE49-F238E27FC236}">
                    <a16:creationId xmlns:a16="http://schemas.microsoft.com/office/drawing/2014/main" id="{43EC7092-4295-C872-D6D1-1475C5CD1A9A}"/>
                  </a:ext>
                </a:extLst>
              </p:cNvPr>
              <p:cNvSpPr/>
              <p:nvPr/>
            </p:nvSpPr>
            <p:spPr>
              <a:xfrm>
                <a:off x="939503" y="1615281"/>
                <a:ext cx="9525" cy="9525"/>
              </a:xfrm>
              <a:custGeom>
                <a:avLst/>
                <a:gdLst>
                  <a:gd name="connsiteX0" fmla="*/ 2381 w 0"/>
                  <a:gd name="connsiteY0" fmla="*/ 0 h 0"/>
                  <a:gd name="connsiteX1" fmla="*/ 2381 w 0"/>
                  <a:gd name="connsiteY1" fmla="*/ 0 h 0"/>
                  <a:gd name="connsiteX2" fmla="*/ 4763 w 0"/>
                  <a:gd name="connsiteY2" fmla="*/ 2381 h 0"/>
                  <a:gd name="connsiteX3" fmla="*/ 4763 w 0"/>
                  <a:gd name="connsiteY3" fmla="*/ 2381 h 0"/>
                  <a:gd name="connsiteX4" fmla="*/ 2381 w 0"/>
                  <a:gd name="connsiteY4" fmla="*/ 4763 h 0"/>
                  <a:gd name="connsiteX5" fmla="*/ 2381 w 0"/>
                  <a:gd name="connsiteY5" fmla="*/ 4763 h 0"/>
                  <a:gd name="connsiteX6" fmla="*/ 0 w 0"/>
                  <a:gd name="connsiteY6" fmla="*/ 2381 h 0"/>
                  <a:gd name="connsiteX7" fmla="*/ 0 w 0"/>
                  <a:gd name="connsiteY7" fmla="*/ 2381 h 0"/>
                  <a:gd name="connsiteX8" fmla="*/ 2381 w 0"/>
                  <a:gd name="connsiteY8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2381" y="0"/>
                    </a:moveTo>
                    <a:lnTo>
                      <a:pt x="2381" y="0"/>
                    </a:lnTo>
                    <a:cubicBezTo>
                      <a:pt x="3715" y="0"/>
                      <a:pt x="4763" y="1048"/>
                      <a:pt x="4763" y="2381"/>
                    </a:cubicBezTo>
                    <a:lnTo>
                      <a:pt x="4763" y="2381"/>
                    </a:lnTo>
                    <a:cubicBezTo>
                      <a:pt x="4763" y="3715"/>
                      <a:pt x="3715" y="4763"/>
                      <a:pt x="2381" y="4763"/>
                    </a:cubicBezTo>
                    <a:lnTo>
                      <a:pt x="2381" y="4763"/>
                    </a:lnTo>
                    <a:cubicBezTo>
                      <a:pt x="1048" y="4763"/>
                      <a:pt x="0" y="3715"/>
                      <a:pt x="0" y="2381"/>
                    </a:cubicBezTo>
                    <a:lnTo>
                      <a:pt x="0" y="2381"/>
                    </a:lnTo>
                    <a:cubicBezTo>
                      <a:pt x="0" y="1048"/>
                      <a:pt x="1048" y="0"/>
                      <a:pt x="2381" y="0"/>
                    </a:cubicBez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9" name="Freeform: Shape 5">
                <a:extLst>
                  <a:ext uri="{FF2B5EF4-FFF2-40B4-BE49-F238E27FC236}">
                    <a16:creationId xmlns:a16="http://schemas.microsoft.com/office/drawing/2014/main" id="{AF8CF975-CEB0-BD15-26B7-E1CF51C2957D}"/>
                  </a:ext>
                </a:extLst>
              </p:cNvPr>
              <p:cNvSpPr/>
              <p:nvPr/>
            </p:nvSpPr>
            <p:spPr>
              <a:xfrm>
                <a:off x="879972" y="1417638"/>
                <a:ext cx="123825" cy="219075"/>
              </a:xfrm>
              <a:custGeom>
                <a:avLst/>
                <a:gdLst>
                  <a:gd name="connsiteX0" fmla="*/ 0 w 123825"/>
                  <a:gd name="connsiteY0" fmla="*/ 19050 h 219075"/>
                  <a:gd name="connsiteX1" fmla="*/ 19050 w 123825"/>
                  <a:gd name="connsiteY1" fmla="*/ 0 h 219075"/>
                  <a:gd name="connsiteX2" fmla="*/ 104775 w 123825"/>
                  <a:gd name="connsiteY2" fmla="*/ 0 h 219075"/>
                  <a:gd name="connsiteX3" fmla="*/ 123825 w 123825"/>
                  <a:gd name="connsiteY3" fmla="*/ 19050 h 219075"/>
                  <a:gd name="connsiteX4" fmla="*/ 123825 w 123825"/>
                  <a:gd name="connsiteY4" fmla="*/ 200025 h 219075"/>
                  <a:gd name="connsiteX5" fmla="*/ 104775 w 123825"/>
                  <a:gd name="connsiteY5" fmla="*/ 219075 h 219075"/>
                  <a:gd name="connsiteX6" fmla="*/ 19050 w 123825"/>
                  <a:gd name="connsiteY6" fmla="*/ 219075 h 219075"/>
                  <a:gd name="connsiteX7" fmla="*/ 0 w 123825"/>
                  <a:gd name="connsiteY7" fmla="*/ 200025 h 219075"/>
                  <a:gd name="connsiteX8" fmla="*/ 0 w 123825"/>
                  <a:gd name="connsiteY8" fmla="*/ 19050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" h="219075">
                    <a:moveTo>
                      <a:pt x="0" y="19050"/>
                    </a:moveTo>
                    <a:cubicBezTo>
                      <a:pt x="0" y="8573"/>
                      <a:pt x="8573" y="0"/>
                      <a:pt x="19050" y="0"/>
                    </a:cubicBezTo>
                    <a:lnTo>
                      <a:pt x="104775" y="0"/>
                    </a:lnTo>
                    <a:cubicBezTo>
                      <a:pt x="115253" y="0"/>
                      <a:pt x="123825" y="8573"/>
                      <a:pt x="123825" y="19050"/>
                    </a:cubicBezTo>
                    <a:lnTo>
                      <a:pt x="123825" y="200025"/>
                    </a:lnTo>
                    <a:cubicBezTo>
                      <a:pt x="123825" y="210503"/>
                      <a:pt x="115253" y="219075"/>
                      <a:pt x="104775" y="219075"/>
                    </a:cubicBezTo>
                    <a:lnTo>
                      <a:pt x="19050" y="219075"/>
                    </a:lnTo>
                    <a:cubicBezTo>
                      <a:pt x="8573" y="219075"/>
                      <a:pt x="0" y="210503"/>
                      <a:pt x="0" y="200025"/>
                    </a:cubicBezTo>
                    <a:lnTo>
                      <a:pt x="0" y="19050"/>
                    </a:lnTo>
                    <a:close/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0" name="Freeform: Shape 6">
                <a:extLst>
                  <a:ext uri="{FF2B5EF4-FFF2-40B4-BE49-F238E27FC236}">
                    <a16:creationId xmlns:a16="http://schemas.microsoft.com/office/drawing/2014/main" id="{9909C6C4-EDF8-8125-1302-E785BF04250C}"/>
                  </a:ext>
                </a:extLst>
              </p:cNvPr>
              <p:cNvSpPr/>
              <p:nvPr/>
            </p:nvSpPr>
            <p:spPr>
              <a:xfrm>
                <a:off x="879972" y="1598613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1" name="Freeform: Shape 7">
                <a:extLst>
                  <a:ext uri="{FF2B5EF4-FFF2-40B4-BE49-F238E27FC236}">
                    <a16:creationId xmlns:a16="http://schemas.microsoft.com/office/drawing/2014/main" id="{DB410DE3-FBCD-0FE6-D2C2-0F6F0BE772A6}"/>
                  </a:ext>
                </a:extLst>
              </p:cNvPr>
              <p:cNvSpPr/>
              <p:nvPr/>
            </p:nvSpPr>
            <p:spPr>
              <a:xfrm>
                <a:off x="879972" y="1455738"/>
                <a:ext cx="123825" cy="9525"/>
              </a:xfrm>
              <a:custGeom>
                <a:avLst/>
                <a:gdLst>
                  <a:gd name="connsiteX0" fmla="*/ 123825 w 123825"/>
                  <a:gd name="connsiteY0" fmla="*/ 0 h 0"/>
                  <a:gd name="connsiteX1" fmla="*/ 0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123825" y="0"/>
                    </a:move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2" name="Freeform: Shape 8">
                <a:extLst>
                  <a:ext uri="{FF2B5EF4-FFF2-40B4-BE49-F238E27FC236}">
                    <a16:creationId xmlns:a16="http://schemas.microsoft.com/office/drawing/2014/main" id="{0EB6A2C7-3083-07A9-4450-A8479D9D5009}"/>
                  </a:ext>
                </a:extLst>
              </p:cNvPr>
              <p:cNvSpPr/>
              <p:nvPr/>
            </p:nvSpPr>
            <p:spPr>
              <a:xfrm>
                <a:off x="927597" y="1436688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noFill/>
              <a:ln w="9525" cap="rnd">
                <a:solidFill>
                  <a:schemeClr val="tx2">
                    <a:lumMod val="25000"/>
                    <a:lumOff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652378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20" y="4652640"/>
            <a:ext cx="3283544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phone number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4500" y="4652640"/>
            <a:ext cx="3283544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email</a:t>
            </a:r>
          </a:p>
        </p:txBody>
      </p:sp>
      <p:sp>
        <p:nvSpPr>
          <p:cNvPr id="61" name="Text Placeholder 58">
            <a:extLst>
              <a:ext uri="{FF2B5EF4-FFF2-40B4-BE49-F238E27FC236}">
                <a16:creationId xmlns:a16="http://schemas.microsoft.com/office/drawing/2014/main" id="{36E4675D-8646-CDA3-D6AD-AD6415FAC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3761" y="4652640"/>
            <a:ext cx="3283544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Websit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2FE19AF-F403-8115-2882-0C5ACF7B7A52}"/>
              </a:ext>
            </a:extLst>
          </p:cNvPr>
          <p:cNvGrpSpPr/>
          <p:nvPr userDrawn="1"/>
        </p:nvGrpSpPr>
        <p:grpSpPr>
          <a:xfrm>
            <a:off x="464820" y="3299694"/>
            <a:ext cx="370429" cy="655374"/>
            <a:chOff x="879972" y="1417638"/>
            <a:chExt cx="123825" cy="21907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AC9705B-4881-0859-6F04-FC77250E1922}"/>
                </a:ext>
              </a:extLst>
            </p:cNvPr>
            <p:cNvSpPr/>
            <p:nvPr/>
          </p:nvSpPr>
          <p:spPr>
            <a:xfrm>
              <a:off x="939503" y="1615281"/>
              <a:ext cx="9525" cy="9525"/>
            </a:xfrm>
            <a:custGeom>
              <a:avLst/>
              <a:gdLst>
                <a:gd name="connsiteX0" fmla="*/ 2381 w 0"/>
                <a:gd name="connsiteY0" fmla="*/ 0 h 0"/>
                <a:gd name="connsiteX1" fmla="*/ 2381 w 0"/>
                <a:gd name="connsiteY1" fmla="*/ 0 h 0"/>
                <a:gd name="connsiteX2" fmla="*/ 4763 w 0"/>
                <a:gd name="connsiteY2" fmla="*/ 2381 h 0"/>
                <a:gd name="connsiteX3" fmla="*/ 4763 w 0"/>
                <a:gd name="connsiteY3" fmla="*/ 2381 h 0"/>
                <a:gd name="connsiteX4" fmla="*/ 2381 w 0"/>
                <a:gd name="connsiteY4" fmla="*/ 4763 h 0"/>
                <a:gd name="connsiteX5" fmla="*/ 2381 w 0"/>
                <a:gd name="connsiteY5" fmla="*/ 4763 h 0"/>
                <a:gd name="connsiteX6" fmla="*/ 0 w 0"/>
                <a:gd name="connsiteY6" fmla="*/ 2381 h 0"/>
                <a:gd name="connsiteX7" fmla="*/ 0 w 0"/>
                <a:gd name="connsiteY7" fmla="*/ 2381 h 0"/>
                <a:gd name="connsiteX8" fmla="*/ 2381 w 0"/>
                <a:gd name="connsiteY8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2381" y="0"/>
                  </a:moveTo>
                  <a:lnTo>
                    <a:pt x="2381" y="0"/>
                  </a:lnTo>
                  <a:cubicBezTo>
                    <a:pt x="3715" y="0"/>
                    <a:pt x="4763" y="1048"/>
                    <a:pt x="4763" y="2381"/>
                  </a:cubicBezTo>
                  <a:lnTo>
                    <a:pt x="4763" y="2381"/>
                  </a:lnTo>
                  <a:cubicBezTo>
                    <a:pt x="4763" y="3715"/>
                    <a:pt x="3715" y="4763"/>
                    <a:pt x="2381" y="4763"/>
                  </a:cubicBezTo>
                  <a:lnTo>
                    <a:pt x="2381" y="4763"/>
                  </a:lnTo>
                  <a:cubicBezTo>
                    <a:pt x="1048" y="4763"/>
                    <a:pt x="0" y="3715"/>
                    <a:pt x="0" y="2381"/>
                  </a:cubicBezTo>
                  <a:lnTo>
                    <a:pt x="0" y="2381"/>
                  </a:lnTo>
                  <a:cubicBezTo>
                    <a:pt x="0" y="1048"/>
                    <a:pt x="1048" y="0"/>
                    <a:pt x="2381" y="0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DA2848E-AA8D-3060-6140-5BC0CDB17864}"/>
                </a:ext>
              </a:extLst>
            </p:cNvPr>
            <p:cNvSpPr/>
            <p:nvPr/>
          </p:nvSpPr>
          <p:spPr>
            <a:xfrm>
              <a:off x="879972" y="1417638"/>
              <a:ext cx="123825" cy="219075"/>
            </a:xfrm>
            <a:custGeom>
              <a:avLst/>
              <a:gdLst>
                <a:gd name="connsiteX0" fmla="*/ 0 w 123825"/>
                <a:gd name="connsiteY0" fmla="*/ 19050 h 219075"/>
                <a:gd name="connsiteX1" fmla="*/ 19050 w 123825"/>
                <a:gd name="connsiteY1" fmla="*/ 0 h 219075"/>
                <a:gd name="connsiteX2" fmla="*/ 104775 w 123825"/>
                <a:gd name="connsiteY2" fmla="*/ 0 h 219075"/>
                <a:gd name="connsiteX3" fmla="*/ 123825 w 123825"/>
                <a:gd name="connsiteY3" fmla="*/ 19050 h 219075"/>
                <a:gd name="connsiteX4" fmla="*/ 123825 w 123825"/>
                <a:gd name="connsiteY4" fmla="*/ 200025 h 219075"/>
                <a:gd name="connsiteX5" fmla="*/ 104775 w 123825"/>
                <a:gd name="connsiteY5" fmla="*/ 219075 h 219075"/>
                <a:gd name="connsiteX6" fmla="*/ 19050 w 123825"/>
                <a:gd name="connsiteY6" fmla="*/ 219075 h 219075"/>
                <a:gd name="connsiteX7" fmla="*/ 0 w 123825"/>
                <a:gd name="connsiteY7" fmla="*/ 200025 h 219075"/>
                <a:gd name="connsiteX8" fmla="*/ 0 w 123825"/>
                <a:gd name="connsiteY8" fmla="*/ 19050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825" h="219075">
                  <a:moveTo>
                    <a:pt x="0" y="19050"/>
                  </a:moveTo>
                  <a:cubicBezTo>
                    <a:pt x="0" y="8573"/>
                    <a:pt x="8573" y="0"/>
                    <a:pt x="19050" y="0"/>
                  </a:cubicBezTo>
                  <a:lnTo>
                    <a:pt x="104775" y="0"/>
                  </a:lnTo>
                  <a:cubicBezTo>
                    <a:pt x="115253" y="0"/>
                    <a:pt x="123825" y="8573"/>
                    <a:pt x="123825" y="19050"/>
                  </a:cubicBezTo>
                  <a:lnTo>
                    <a:pt x="123825" y="200025"/>
                  </a:lnTo>
                  <a:cubicBezTo>
                    <a:pt x="123825" y="210503"/>
                    <a:pt x="115253" y="219075"/>
                    <a:pt x="104775" y="219075"/>
                  </a:cubicBezTo>
                  <a:lnTo>
                    <a:pt x="19050" y="219075"/>
                  </a:lnTo>
                  <a:cubicBezTo>
                    <a:pt x="8573" y="219075"/>
                    <a:pt x="0" y="210503"/>
                    <a:pt x="0" y="200025"/>
                  </a:cubicBezTo>
                  <a:lnTo>
                    <a:pt x="0" y="1905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id="{96618DB6-84F0-B38A-74E6-418FBBA591D2}"/>
                </a:ext>
              </a:extLst>
            </p:cNvPr>
            <p:cNvSpPr/>
            <p:nvPr/>
          </p:nvSpPr>
          <p:spPr>
            <a:xfrm>
              <a:off x="879972" y="1598613"/>
              <a:ext cx="123825" cy="9525"/>
            </a:xfrm>
            <a:custGeom>
              <a:avLst/>
              <a:gdLst>
                <a:gd name="connsiteX0" fmla="*/ 123825 w 123825"/>
                <a:gd name="connsiteY0" fmla="*/ 0 h 0"/>
                <a:gd name="connsiteX1" fmla="*/ 0 w 1238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>
                  <a:moveTo>
                    <a:pt x="12382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9" name="Freeform: Shape 7">
              <a:extLst>
                <a:ext uri="{FF2B5EF4-FFF2-40B4-BE49-F238E27FC236}">
                  <a16:creationId xmlns:a16="http://schemas.microsoft.com/office/drawing/2014/main" id="{48F36C65-3183-4D6B-E419-1956A83733A2}"/>
                </a:ext>
              </a:extLst>
            </p:cNvPr>
            <p:cNvSpPr/>
            <p:nvPr/>
          </p:nvSpPr>
          <p:spPr>
            <a:xfrm>
              <a:off x="879972" y="1455738"/>
              <a:ext cx="123825" cy="9525"/>
            </a:xfrm>
            <a:custGeom>
              <a:avLst/>
              <a:gdLst>
                <a:gd name="connsiteX0" fmla="*/ 123825 w 123825"/>
                <a:gd name="connsiteY0" fmla="*/ 0 h 0"/>
                <a:gd name="connsiteX1" fmla="*/ 0 w 1238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>
                  <a:moveTo>
                    <a:pt x="12382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0" name="Freeform: Shape 8">
              <a:extLst>
                <a:ext uri="{FF2B5EF4-FFF2-40B4-BE49-F238E27FC236}">
                  <a16:creationId xmlns:a16="http://schemas.microsoft.com/office/drawing/2014/main" id="{2F75151C-F70D-6BF7-507D-6536E68A30EE}"/>
                </a:ext>
              </a:extLst>
            </p:cNvPr>
            <p:cNvSpPr/>
            <p:nvPr/>
          </p:nvSpPr>
          <p:spPr>
            <a:xfrm>
              <a:off x="927597" y="1436688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4D2740B-FC20-6407-8CC7-AD0520711DAD}"/>
              </a:ext>
            </a:extLst>
          </p:cNvPr>
          <p:cNvGrpSpPr/>
          <p:nvPr userDrawn="1"/>
        </p:nvGrpSpPr>
        <p:grpSpPr>
          <a:xfrm>
            <a:off x="4254500" y="3299694"/>
            <a:ext cx="793361" cy="655374"/>
            <a:chOff x="3055659" y="1428389"/>
            <a:chExt cx="177632" cy="146737"/>
          </a:xfrm>
        </p:grpSpPr>
        <p:sp>
          <p:nvSpPr>
            <p:cNvPr id="17" name="Freeform: Shape 33">
              <a:extLst>
                <a:ext uri="{FF2B5EF4-FFF2-40B4-BE49-F238E27FC236}">
                  <a16:creationId xmlns:a16="http://schemas.microsoft.com/office/drawing/2014/main" id="{1AB5E116-8550-A3F8-572B-03340C8B10AD}"/>
                </a:ext>
              </a:extLst>
            </p:cNvPr>
            <p:cNvSpPr/>
            <p:nvPr/>
          </p:nvSpPr>
          <p:spPr>
            <a:xfrm>
              <a:off x="3055659" y="1428389"/>
              <a:ext cx="177628" cy="100399"/>
            </a:xfrm>
            <a:custGeom>
              <a:avLst/>
              <a:gdLst>
                <a:gd name="connsiteX0" fmla="*/ 177632 w 177628"/>
                <a:gd name="connsiteY0" fmla="*/ 0 h 100398"/>
                <a:gd name="connsiteX1" fmla="*/ 3324 w 177628"/>
                <a:gd name="connsiteY1" fmla="*/ 71978 h 100398"/>
                <a:gd name="connsiteX2" fmla="*/ 3 w 177628"/>
                <a:gd name="connsiteY2" fmla="*/ 77307 h 100398"/>
                <a:gd name="connsiteX3" fmla="*/ 3942 w 177628"/>
                <a:gd name="connsiteY3" fmla="*/ 82172 h 100398"/>
                <a:gd name="connsiteX4" fmla="*/ 69510 w 177628"/>
                <a:gd name="connsiteY4" fmla="*/ 100399 h 100398"/>
                <a:gd name="connsiteX5" fmla="*/ 177632 w 177628"/>
                <a:gd name="connsiteY5" fmla="*/ 0 h 10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628" h="100398">
                  <a:moveTo>
                    <a:pt x="177632" y="0"/>
                  </a:moveTo>
                  <a:lnTo>
                    <a:pt x="3324" y="71978"/>
                  </a:lnTo>
                  <a:cubicBezTo>
                    <a:pt x="1239" y="72905"/>
                    <a:pt x="-74" y="74990"/>
                    <a:pt x="3" y="77307"/>
                  </a:cubicBezTo>
                  <a:cubicBezTo>
                    <a:pt x="158" y="79624"/>
                    <a:pt x="1702" y="81555"/>
                    <a:pt x="3942" y="82172"/>
                  </a:cubicBezTo>
                  <a:lnTo>
                    <a:pt x="69510" y="100399"/>
                  </a:lnTo>
                  <a:lnTo>
                    <a:pt x="177632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8" name="Freeform: Shape 34">
              <a:extLst>
                <a:ext uri="{FF2B5EF4-FFF2-40B4-BE49-F238E27FC236}">
                  <a16:creationId xmlns:a16="http://schemas.microsoft.com/office/drawing/2014/main" id="{A49ECF13-464F-51F9-B962-144B4B64BBDA}"/>
                </a:ext>
              </a:extLst>
            </p:cNvPr>
            <p:cNvSpPr/>
            <p:nvPr/>
          </p:nvSpPr>
          <p:spPr>
            <a:xfrm>
              <a:off x="3125169" y="1428389"/>
              <a:ext cx="108122" cy="139014"/>
            </a:xfrm>
            <a:custGeom>
              <a:avLst/>
              <a:gdLst>
                <a:gd name="connsiteX0" fmla="*/ 108122 w 108121"/>
                <a:gd name="connsiteY0" fmla="*/ 0 h 139013"/>
                <a:gd name="connsiteX1" fmla="*/ 78388 w 108121"/>
                <a:gd name="connsiteY1" fmla="*/ 141253 h 139013"/>
                <a:gd name="connsiteX2" fmla="*/ 74218 w 108121"/>
                <a:gd name="connsiteY2" fmla="*/ 146196 h 139013"/>
                <a:gd name="connsiteX3" fmla="*/ 67730 w 108121"/>
                <a:gd name="connsiteY3" fmla="*/ 145578 h 139013"/>
                <a:gd name="connsiteX4" fmla="*/ 0 w 108121"/>
                <a:gd name="connsiteY4" fmla="*/ 100399 h 139013"/>
                <a:gd name="connsiteX5" fmla="*/ 108122 w 108121"/>
                <a:gd name="connsiteY5" fmla="*/ 0 h 13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121" h="139013">
                  <a:moveTo>
                    <a:pt x="108122" y="0"/>
                  </a:moveTo>
                  <a:lnTo>
                    <a:pt x="78388" y="141253"/>
                  </a:lnTo>
                  <a:cubicBezTo>
                    <a:pt x="77925" y="143493"/>
                    <a:pt x="76380" y="145346"/>
                    <a:pt x="74218" y="146196"/>
                  </a:cubicBezTo>
                  <a:cubicBezTo>
                    <a:pt x="72055" y="147045"/>
                    <a:pt x="69661" y="146814"/>
                    <a:pt x="67730" y="145578"/>
                  </a:cubicBezTo>
                  <a:lnTo>
                    <a:pt x="0" y="100399"/>
                  </a:lnTo>
                  <a:lnTo>
                    <a:pt x="108122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eform: Shape 35">
              <a:extLst>
                <a:ext uri="{FF2B5EF4-FFF2-40B4-BE49-F238E27FC236}">
                  <a16:creationId xmlns:a16="http://schemas.microsoft.com/office/drawing/2014/main" id="{A47B56BD-A891-0E21-9833-DB5B83720883}"/>
                </a:ext>
              </a:extLst>
            </p:cNvPr>
            <p:cNvSpPr/>
            <p:nvPr/>
          </p:nvSpPr>
          <p:spPr>
            <a:xfrm>
              <a:off x="3125169" y="1528788"/>
              <a:ext cx="23169" cy="46338"/>
            </a:xfrm>
            <a:custGeom>
              <a:avLst/>
              <a:gdLst>
                <a:gd name="connsiteX0" fmla="*/ 0 w 23168"/>
                <a:gd name="connsiteY0" fmla="*/ 0 h 46337"/>
                <a:gd name="connsiteX1" fmla="*/ 0 w 23168"/>
                <a:gd name="connsiteY1" fmla="*/ 50045 h 46337"/>
                <a:gd name="connsiteX2" fmla="*/ 2935 w 23168"/>
                <a:gd name="connsiteY2" fmla="*/ 53906 h 46337"/>
                <a:gd name="connsiteX3" fmla="*/ 7414 w 23168"/>
                <a:gd name="connsiteY3" fmla="*/ 52053 h 46337"/>
                <a:gd name="connsiteX4" fmla="*/ 27185 w 23168"/>
                <a:gd name="connsiteY4" fmla="*/ 18149 h 4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68" h="46337">
                  <a:moveTo>
                    <a:pt x="0" y="0"/>
                  </a:moveTo>
                  <a:lnTo>
                    <a:pt x="0" y="50045"/>
                  </a:lnTo>
                  <a:cubicBezTo>
                    <a:pt x="0" y="51821"/>
                    <a:pt x="1236" y="53443"/>
                    <a:pt x="2935" y="53906"/>
                  </a:cubicBezTo>
                  <a:cubicBezTo>
                    <a:pt x="4711" y="54370"/>
                    <a:pt x="6487" y="53597"/>
                    <a:pt x="7414" y="52053"/>
                  </a:cubicBezTo>
                  <a:lnTo>
                    <a:pt x="27185" y="18149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BB98A7-4969-437A-CA9D-C41BB12291CF}"/>
              </a:ext>
            </a:extLst>
          </p:cNvPr>
          <p:cNvGrpSpPr/>
          <p:nvPr userDrawn="1"/>
        </p:nvGrpSpPr>
        <p:grpSpPr>
          <a:xfrm>
            <a:off x="8073761" y="3299693"/>
            <a:ext cx="626880" cy="655375"/>
            <a:chOff x="1289451" y="1417638"/>
            <a:chExt cx="209550" cy="219075"/>
          </a:xfrm>
        </p:grpSpPr>
        <p:sp>
          <p:nvSpPr>
            <p:cNvPr id="21" name="Freeform: Shape 14">
              <a:extLst>
                <a:ext uri="{FF2B5EF4-FFF2-40B4-BE49-F238E27FC236}">
                  <a16:creationId xmlns:a16="http://schemas.microsoft.com/office/drawing/2014/main" id="{E20B2AC1-3489-76E1-1CB2-3CCA72B24EE4}"/>
                </a:ext>
              </a:extLst>
            </p:cNvPr>
            <p:cNvSpPr/>
            <p:nvPr/>
          </p:nvSpPr>
          <p:spPr>
            <a:xfrm>
              <a:off x="1302786" y="1579563"/>
              <a:ext cx="66675" cy="9525"/>
            </a:xfrm>
            <a:custGeom>
              <a:avLst/>
              <a:gdLst>
                <a:gd name="connsiteX0" fmla="*/ 0 w 66675"/>
                <a:gd name="connsiteY0" fmla="*/ 0 h 0"/>
                <a:gd name="connsiteX1" fmla="*/ 72390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0" y="0"/>
                  </a:moveTo>
                  <a:lnTo>
                    <a:pt x="7239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2" name="Freeform: Shape 15">
              <a:extLst>
                <a:ext uri="{FF2B5EF4-FFF2-40B4-BE49-F238E27FC236}">
                  <a16:creationId xmlns:a16="http://schemas.microsoft.com/office/drawing/2014/main" id="{71CC477D-B161-9BD0-91AC-EE850CDCD938}"/>
                </a:ext>
              </a:extLst>
            </p:cNvPr>
            <p:cNvSpPr/>
            <p:nvPr/>
          </p:nvSpPr>
          <p:spPr>
            <a:xfrm>
              <a:off x="1308597" y="1465263"/>
              <a:ext cx="171450" cy="9525"/>
            </a:xfrm>
            <a:custGeom>
              <a:avLst/>
              <a:gdLst>
                <a:gd name="connsiteX0" fmla="*/ 0 w 171450"/>
                <a:gd name="connsiteY0" fmla="*/ 0 h 0"/>
                <a:gd name="connsiteX1" fmla="*/ 180785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80785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3" name="Freeform: Shape 16">
              <a:extLst>
                <a:ext uri="{FF2B5EF4-FFF2-40B4-BE49-F238E27FC236}">
                  <a16:creationId xmlns:a16="http://schemas.microsoft.com/office/drawing/2014/main" id="{52DB05C5-ABC8-9B5D-4105-05279712FEFD}"/>
                </a:ext>
              </a:extLst>
            </p:cNvPr>
            <p:cNvSpPr/>
            <p:nvPr/>
          </p:nvSpPr>
          <p:spPr>
            <a:xfrm>
              <a:off x="1289547" y="1522413"/>
              <a:ext cx="66675" cy="9525"/>
            </a:xfrm>
            <a:custGeom>
              <a:avLst/>
              <a:gdLst>
                <a:gd name="connsiteX0" fmla="*/ 76105 w 66675"/>
                <a:gd name="connsiteY0" fmla="*/ 0 h 0"/>
                <a:gd name="connsiteX1" fmla="*/ 0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7610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4" name="Freeform: Shape 17">
              <a:extLst>
                <a:ext uri="{FF2B5EF4-FFF2-40B4-BE49-F238E27FC236}">
                  <a16:creationId xmlns:a16="http://schemas.microsoft.com/office/drawing/2014/main" id="{1A0A8DDB-DB21-C703-546F-EA7EB069DFA8}"/>
                </a:ext>
              </a:extLst>
            </p:cNvPr>
            <p:cNvSpPr/>
            <p:nvPr/>
          </p:nvSpPr>
          <p:spPr>
            <a:xfrm>
              <a:off x="1349693" y="1417923"/>
              <a:ext cx="38100" cy="209550"/>
            </a:xfrm>
            <a:custGeom>
              <a:avLst/>
              <a:gdLst>
                <a:gd name="connsiteX0" fmla="*/ 42342 w 38100"/>
                <a:gd name="connsiteY0" fmla="*/ 0 h 209550"/>
                <a:gd name="connsiteX1" fmla="*/ 43390 w 38100"/>
                <a:gd name="connsiteY1" fmla="*/ 21869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209550">
                  <a:moveTo>
                    <a:pt x="42342" y="0"/>
                  </a:moveTo>
                  <a:cubicBezTo>
                    <a:pt x="-14808" y="61913"/>
                    <a:pt x="-13760" y="142494"/>
                    <a:pt x="43390" y="218694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5" name="Freeform: Shape 18">
              <a:extLst>
                <a:ext uri="{FF2B5EF4-FFF2-40B4-BE49-F238E27FC236}">
                  <a16:creationId xmlns:a16="http://schemas.microsoft.com/office/drawing/2014/main" id="{61307327-F359-1B44-D577-50D992ACC17F}"/>
                </a:ext>
              </a:extLst>
            </p:cNvPr>
            <p:cNvSpPr/>
            <p:nvPr/>
          </p:nvSpPr>
          <p:spPr>
            <a:xfrm>
              <a:off x="1405942" y="1417923"/>
              <a:ext cx="38100" cy="76200"/>
            </a:xfrm>
            <a:custGeom>
              <a:avLst/>
              <a:gdLst>
                <a:gd name="connsiteX0" fmla="*/ 0 w 38100"/>
                <a:gd name="connsiteY0" fmla="*/ 0 h 76200"/>
                <a:gd name="connsiteX1" fmla="*/ 40672 w 38100"/>
                <a:gd name="connsiteY1" fmla="*/ 8067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76200">
                  <a:moveTo>
                    <a:pt x="0" y="0"/>
                  </a:moveTo>
                  <a:cubicBezTo>
                    <a:pt x="21336" y="22193"/>
                    <a:pt x="35528" y="50292"/>
                    <a:pt x="40672" y="80677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6" name="Freeform: Shape 19">
              <a:extLst>
                <a:ext uri="{FF2B5EF4-FFF2-40B4-BE49-F238E27FC236}">
                  <a16:creationId xmlns:a16="http://schemas.microsoft.com/office/drawing/2014/main" id="{E989F878-0D1E-4D23-9CFC-59ACF401CFB3}"/>
                </a:ext>
              </a:extLst>
            </p:cNvPr>
            <p:cNvSpPr/>
            <p:nvPr/>
          </p:nvSpPr>
          <p:spPr>
            <a:xfrm>
              <a:off x="1289451" y="1417638"/>
              <a:ext cx="209550" cy="219075"/>
            </a:xfrm>
            <a:custGeom>
              <a:avLst/>
              <a:gdLst>
                <a:gd name="connsiteX0" fmla="*/ 219075 w 209550"/>
                <a:gd name="connsiteY0" fmla="*/ 109538 h 219075"/>
                <a:gd name="connsiteX1" fmla="*/ 109538 w 209550"/>
                <a:gd name="connsiteY1" fmla="*/ 0 h 219075"/>
                <a:gd name="connsiteX2" fmla="*/ 0 w 209550"/>
                <a:gd name="connsiteY2" fmla="*/ 109538 h 219075"/>
                <a:gd name="connsiteX3" fmla="*/ 109538 w 209550"/>
                <a:gd name="connsiteY3" fmla="*/ 21907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0" h="219075">
                  <a:moveTo>
                    <a:pt x="219075" y="109538"/>
                  </a:moveTo>
                  <a:cubicBezTo>
                    <a:pt x="219075" y="49054"/>
                    <a:pt x="170021" y="0"/>
                    <a:pt x="109538" y="0"/>
                  </a:cubicBezTo>
                  <a:cubicBezTo>
                    <a:pt x="49054" y="0"/>
                    <a:pt x="0" y="49054"/>
                    <a:pt x="0" y="109538"/>
                  </a:cubicBezTo>
                  <a:cubicBezTo>
                    <a:pt x="0" y="170021"/>
                    <a:pt x="49054" y="219075"/>
                    <a:pt x="109538" y="219075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7" name="Freeform: Shape 20">
              <a:extLst>
                <a:ext uri="{FF2B5EF4-FFF2-40B4-BE49-F238E27FC236}">
                  <a16:creationId xmlns:a16="http://schemas.microsoft.com/office/drawing/2014/main" id="{56D8BA0E-0D6A-B88B-CEBC-3E95CAAA6570}"/>
                </a:ext>
              </a:extLst>
            </p:cNvPr>
            <p:cNvSpPr/>
            <p:nvPr/>
          </p:nvSpPr>
          <p:spPr>
            <a:xfrm>
              <a:off x="1383662" y="1510610"/>
              <a:ext cx="114300" cy="123825"/>
            </a:xfrm>
            <a:custGeom>
              <a:avLst/>
              <a:gdLst>
                <a:gd name="connsiteX0" fmla="*/ 91145 w 114300"/>
                <a:gd name="connsiteY0" fmla="*/ 58570 h 123825"/>
                <a:gd name="connsiteX1" fmla="*/ 112005 w 114300"/>
                <a:gd name="connsiteY1" fmla="*/ 37710 h 123825"/>
                <a:gd name="connsiteX2" fmla="*/ 113243 w 114300"/>
                <a:gd name="connsiteY2" fmla="*/ 33138 h 123825"/>
                <a:gd name="connsiteX3" fmla="*/ 109910 w 114300"/>
                <a:gd name="connsiteY3" fmla="*/ 29804 h 123825"/>
                <a:gd name="connsiteX4" fmla="*/ 6087 w 114300"/>
                <a:gd name="connsiteY4" fmla="*/ 182 h 123825"/>
                <a:gd name="connsiteX5" fmla="*/ 1420 w 114300"/>
                <a:gd name="connsiteY5" fmla="*/ 1420 h 123825"/>
                <a:gd name="connsiteX6" fmla="*/ 182 w 114300"/>
                <a:gd name="connsiteY6" fmla="*/ 6087 h 123825"/>
                <a:gd name="connsiteX7" fmla="*/ 29709 w 114300"/>
                <a:gd name="connsiteY7" fmla="*/ 109910 h 123825"/>
                <a:gd name="connsiteX8" fmla="*/ 33138 w 114300"/>
                <a:gd name="connsiteY8" fmla="*/ 113243 h 123825"/>
                <a:gd name="connsiteX9" fmla="*/ 37710 w 114300"/>
                <a:gd name="connsiteY9" fmla="*/ 112005 h 123825"/>
                <a:gd name="connsiteX10" fmla="*/ 57236 w 114300"/>
                <a:gd name="connsiteY10" fmla="*/ 92479 h 123825"/>
                <a:gd name="connsiteX11" fmla="*/ 87526 w 114300"/>
                <a:gd name="connsiteY11" fmla="*/ 122768 h 123825"/>
                <a:gd name="connsiteX12" fmla="*/ 94289 w 114300"/>
                <a:gd name="connsiteY12" fmla="*/ 122768 h 123825"/>
                <a:gd name="connsiteX13" fmla="*/ 121435 w 114300"/>
                <a:gd name="connsiteY13" fmla="*/ 95717 h 123825"/>
                <a:gd name="connsiteX14" fmla="*/ 121435 w 114300"/>
                <a:gd name="connsiteY14" fmla="*/ 88955 h 123825"/>
                <a:gd name="connsiteX15" fmla="*/ 91145 w 114300"/>
                <a:gd name="connsiteY15" fmla="*/ 5857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4300" h="123825">
                  <a:moveTo>
                    <a:pt x="91145" y="58570"/>
                  </a:moveTo>
                  <a:lnTo>
                    <a:pt x="112005" y="37710"/>
                  </a:lnTo>
                  <a:cubicBezTo>
                    <a:pt x="113243" y="36472"/>
                    <a:pt x="113624" y="34757"/>
                    <a:pt x="113243" y="33138"/>
                  </a:cubicBezTo>
                  <a:cubicBezTo>
                    <a:pt x="112862" y="31519"/>
                    <a:pt x="111529" y="30185"/>
                    <a:pt x="109910" y="29804"/>
                  </a:cubicBezTo>
                  <a:lnTo>
                    <a:pt x="6087" y="182"/>
                  </a:lnTo>
                  <a:cubicBezTo>
                    <a:pt x="4468" y="-295"/>
                    <a:pt x="2658" y="182"/>
                    <a:pt x="1420" y="1420"/>
                  </a:cubicBezTo>
                  <a:cubicBezTo>
                    <a:pt x="182" y="2658"/>
                    <a:pt x="-295" y="4468"/>
                    <a:pt x="182" y="6087"/>
                  </a:cubicBezTo>
                  <a:lnTo>
                    <a:pt x="29709" y="109910"/>
                  </a:lnTo>
                  <a:cubicBezTo>
                    <a:pt x="30185" y="111529"/>
                    <a:pt x="31424" y="112767"/>
                    <a:pt x="33138" y="113243"/>
                  </a:cubicBezTo>
                  <a:cubicBezTo>
                    <a:pt x="34757" y="113624"/>
                    <a:pt x="36472" y="113148"/>
                    <a:pt x="37710" y="112005"/>
                  </a:cubicBezTo>
                  <a:lnTo>
                    <a:pt x="57236" y="92479"/>
                  </a:lnTo>
                  <a:lnTo>
                    <a:pt x="87526" y="122768"/>
                  </a:lnTo>
                  <a:cubicBezTo>
                    <a:pt x="89431" y="124673"/>
                    <a:pt x="92384" y="124673"/>
                    <a:pt x="94289" y="122768"/>
                  </a:cubicBezTo>
                  <a:lnTo>
                    <a:pt x="121435" y="95717"/>
                  </a:lnTo>
                  <a:cubicBezTo>
                    <a:pt x="123340" y="93812"/>
                    <a:pt x="123340" y="90860"/>
                    <a:pt x="121435" y="88955"/>
                  </a:cubicBezTo>
                  <a:lnTo>
                    <a:pt x="91145" y="5857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B6AD793-9363-27CD-E2D2-FD392715288C}"/>
              </a:ext>
            </a:extLst>
          </p:cNvPr>
          <p:cNvSpPr txBox="1"/>
          <p:nvPr userDrawn="1"/>
        </p:nvSpPr>
        <p:spPr>
          <a:xfrm>
            <a:off x="464820" y="4148255"/>
            <a:ext cx="3283544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Contact: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4EEE2BD-332E-ED65-BAFE-67B5F8EC3513}"/>
              </a:ext>
            </a:extLst>
          </p:cNvPr>
          <p:cNvSpPr txBox="1"/>
          <p:nvPr userDrawn="1"/>
        </p:nvSpPr>
        <p:spPr>
          <a:xfrm>
            <a:off x="4254500" y="4148255"/>
            <a:ext cx="3283544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Email: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E11392C-83D3-DB97-567A-96252D8A860D}"/>
              </a:ext>
            </a:extLst>
          </p:cNvPr>
          <p:cNvSpPr txBox="1"/>
          <p:nvPr userDrawn="1"/>
        </p:nvSpPr>
        <p:spPr>
          <a:xfrm>
            <a:off x="8073761" y="4148255"/>
            <a:ext cx="3283544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Website:</a:t>
            </a: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B3705D5E-5578-A674-4FB9-96F31564C4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820" y="1640041"/>
            <a:ext cx="11269980" cy="99679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1DBFD28-AD06-A5E5-C2BE-1CF7EBACBF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76131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 to a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19" y="5232628"/>
            <a:ext cx="4905105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phone number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0713C0C6-B33D-3F9A-83E9-C506779F2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5232628"/>
            <a:ext cx="4905105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emai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2FE19AF-F403-8115-2882-0C5ACF7B7A52}"/>
              </a:ext>
            </a:extLst>
          </p:cNvPr>
          <p:cNvGrpSpPr/>
          <p:nvPr userDrawn="1"/>
        </p:nvGrpSpPr>
        <p:grpSpPr>
          <a:xfrm>
            <a:off x="464820" y="3457575"/>
            <a:ext cx="609011" cy="1077481"/>
            <a:chOff x="879972" y="1417638"/>
            <a:chExt cx="123825" cy="21907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AC9705B-4881-0859-6F04-FC77250E1922}"/>
                </a:ext>
              </a:extLst>
            </p:cNvPr>
            <p:cNvSpPr/>
            <p:nvPr/>
          </p:nvSpPr>
          <p:spPr>
            <a:xfrm>
              <a:off x="939503" y="1615281"/>
              <a:ext cx="9525" cy="9525"/>
            </a:xfrm>
            <a:custGeom>
              <a:avLst/>
              <a:gdLst>
                <a:gd name="connsiteX0" fmla="*/ 2381 w 0"/>
                <a:gd name="connsiteY0" fmla="*/ 0 h 0"/>
                <a:gd name="connsiteX1" fmla="*/ 2381 w 0"/>
                <a:gd name="connsiteY1" fmla="*/ 0 h 0"/>
                <a:gd name="connsiteX2" fmla="*/ 4763 w 0"/>
                <a:gd name="connsiteY2" fmla="*/ 2381 h 0"/>
                <a:gd name="connsiteX3" fmla="*/ 4763 w 0"/>
                <a:gd name="connsiteY3" fmla="*/ 2381 h 0"/>
                <a:gd name="connsiteX4" fmla="*/ 2381 w 0"/>
                <a:gd name="connsiteY4" fmla="*/ 4763 h 0"/>
                <a:gd name="connsiteX5" fmla="*/ 2381 w 0"/>
                <a:gd name="connsiteY5" fmla="*/ 4763 h 0"/>
                <a:gd name="connsiteX6" fmla="*/ 0 w 0"/>
                <a:gd name="connsiteY6" fmla="*/ 2381 h 0"/>
                <a:gd name="connsiteX7" fmla="*/ 0 w 0"/>
                <a:gd name="connsiteY7" fmla="*/ 2381 h 0"/>
                <a:gd name="connsiteX8" fmla="*/ 2381 w 0"/>
                <a:gd name="connsiteY8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2381" y="0"/>
                  </a:moveTo>
                  <a:lnTo>
                    <a:pt x="2381" y="0"/>
                  </a:lnTo>
                  <a:cubicBezTo>
                    <a:pt x="3715" y="0"/>
                    <a:pt x="4763" y="1048"/>
                    <a:pt x="4763" y="2381"/>
                  </a:cubicBezTo>
                  <a:lnTo>
                    <a:pt x="4763" y="2381"/>
                  </a:lnTo>
                  <a:cubicBezTo>
                    <a:pt x="4763" y="3715"/>
                    <a:pt x="3715" y="4763"/>
                    <a:pt x="2381" y="4763"/>
                  </a:cubicBezTo>
                  <a:lnTo>
                    <a:pt x="2381" y="4763"/>
                  </a:lnTo>
                  <a:cubicBezTo>
                    <a:pt x="1048" y="4763"/>
                    <a:pt x="0" y="3715"/>
                    <a:pt x="0" y="2381"/>
                  </a:cubicBezTo>
                  <a:lnTo>
                    <a:pt x="0" y="2381"/>
                  </a:lnTo>
                  <a:cubicBezTo>
                    <a:pt x="0" y="1048"/>
                    <a:pt x="1048" y="0"/>
                    <a:pt x="2381" y="0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DA2848E-AA8D-3060-6140-5BC0CDB17864}"/>
                </a:ext>
              </a:extLst>
            </p:cNvPr>
            <p:cNvSpPr/>
            <p:nvPr/>
          </p:nvSpPr>
          <p:spPr>
            <a:xfrm>
              <a:off x="879972" y="1417638"/>
              <a:ext cx="123825" cy="219075"/>
            </a:xfrm>
            <a:custGeom>
              <a:avLst/>
              <a:gdLst>
                <a:gd name="connsiteX0" fmla="*/ 0 w 123825"/>
                <a:gd name="connsiteY0" fmla="*/ 19050 h 219075"/>
                <a:gd name="connsiteX1" fmla="*/ 19050 w 123825"/>
                <a:gd name="connsiteY1" fmla="*/ 0 h 219075"/>
                <a:gd name="connsiteX2" fmla="*/ 104775 w 123825"/>
                <a:gd name="connsiteY2" fmla="*/ 0 h 219075"/>
                <a:gd name="connsiteX3" fmla="*/ 123825 w 123825"/>
                <a:gd name="connsiteY3" fmla="*/ 19050 h 219075"/>
                <a:gd name="connsiteX4" fmla="*/ 123825 w 123825"/>
                <a:gd name="connsiteY4" fmla="*/ 200025 h 219075"/>
                <a:gd name="connsiteX5" fmla="*/ 104775 w 123825"/>
                <a:gd name="connsiteY5" fmla="*/ 219075 h 219075"/>
                <a:gd name="connsiteX6" fmla="*/ 19050 w 123825"/>
                <a:gd name="connsiteY6" fmla="*/ 219075 h 219075"/>
                <a:gd name="connsiteX7" fmla="*/ 0 w 123825"/>
                <a:gd name="connsiteY7" fmla="*/ 200025 h 219075"/>
                <a:gd name="connsiteX8" fmla="*/ 0 w 123825"/>
                <a:gd name="connsiteY8" fmla="*/ 19050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825" h="219075">
                  <a:moveTo>
                    <a:pt x="0" y="19050"/>
                  </a:moveTo>
                  <a:cubicBezTo>
                    <a:pt x="0" y="8573"/>
                    <a:pt x="8573" y="0"/>
                    <a:pt x="19050" y="0"/>
                  </a:cubicBezTo>
                  <a:lnTo>
                    <a:pt x="104775" y="0"/>
                  </a:lnTo>
                  <a:cubicBezTo>
                    <a:pt x="115253" y="0"/>
                    <a:pt x="123825" y="8573"/>
                    <a:pt x="123825" y="19050"/>
                  </a:cubicBezTo>
                  <a:lnTo>
                    <a:pt x="123825" y="200025"/>
                  </a:lnTo>
                  <a:cubicBezTo>
                    <a:pt x="123825" y="210503"/>
                    <a:pt x="115253" y="219075"/>
                    <a:pt x="104775" y="219075"/>
                  </a:cubicBezTo>
                  <a:lnTo>
                    <a:pt x="19050" y="219075"/>
                  </a:lnTo>
                  <a:cubicBezTo>
                    <a:pt x="8573" y="219075"/>
                    <a:pt x="0" y="210503"/>
                    <a:pt x="0" y="200025"/>
                  </a:cubicBezTo>
                  <a:lnTo>
                    <a:pt x="0" y="1905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id="{96618DB6-84F0-B38A-74E6-418FBBA591D2}"/>
                </a:ext>
              </a:extLst>
            </p:cNvPr>
            <p:cNvSpPr/>
            <p:nvPr/>
          </p:nvSpPr>
          <p:spPr>
            <a:xfrm>
              <a:off x="879972" y="1598613"/>
              <a:ext cx="123825" cy="9525"/>
            </a:xfrm>
            <a:custGeom>
              <a:avLst/>
              <a:gdLst>
                <a:gd name="connsiteX0" fmla="*/ 123825 w 123825"/>
                <a:gd name="connsiteY0" fmla="*/ 0 h 0"/>
                <a:gd name="connsiteX1" fmla="*/ 0 w 1238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>
                  <a:moveTo>
                    <a:pt x="12382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9" name="Freeform: Shape 7">
              <a:extLst>
                <a:ext uri="{FF2B5EF4-FFF2-40B4-BE49-F238E27FC236}">
                  <a16:creationId xmlns:a16="http://schemas.microsoft.com/office/drawing/2014/main" id="{48F36C65-3183-4D6B-E419-1956A83733A2}"/>
                </a:ext>
              </a:extLst>
            </p:cNvPr>
            <p:cNvSpPr/>
            <p:nvPr/>
          </p:nvSpPr>
          <p:spPr>
            <a:xfrm>
              <a:off x="879972" y="1455738"/>
              <a:ext cx="123825" cy="9525"/>
            </a:xfrm>
            <a:custGeom>
              <a:avLst/>
              <a:gdLst>
                <a:gd name="connsiteX0" fmla="*/ 123825 w 123825"/>
                <a:gd name="connsiteY0" fmla="*/ 0 h 0"/>
                <a:gd name="connsiteX1" fmla="*/ 0 w 1238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>
                  <a:moveTo>
                    <a:pt x="12382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0" name="Freeform: Shape 8">
              <a:extLst>
                <a:ext uri="{FF2B5EF4-FFF2-40B4-BE49-F238E27FC236}">
                  <a16:creationId xmlns:a16="http://schemas.microsoft.com/office/drawing/2014/main" id="{2F75151C-F70D-6BF7-507D-6536E68A30EE}"/>
                </a:ext>
              </a:extLst>
            </p:cNvPr>
            <p:cNvSpPr/>
            <p:nvPr/>
          </p:nvSpPr>
          <p:spPr>
            <a:xfrm>
              <a:off x="927597" y="1436688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4D2740B-FC20-6407-8CC7-AD0520711DAD}"/>
              </a:ext>
            </a:extLst>
          </p:cNvPr>
          <p:cNvGrpSpPr/>
          <p:nvPr userDrawn="1"/>
        </p:nvGrpSpPr>
        <p:grpSpPr>
          <a:xfrm>
            <a:off x="6096000" y="3457575"/>
            <a:ext cx="1304341" cy="1077481"/>
            <a:chOff x="3055659" y="1428389"/>
            <a:chExt cx="177632" cy="146737"/>
          </a:xfrm>
        </p:grpSpPr>
        <p:sp>
          <p:nvSpPr>
            <p:cNvPr id="17" name="Freeform: Shape 33">
              <a:extLst>
                <a:ext uri="{FF2B5EF4-FFF2-40B4-BE49-F238E27FC236}">
                  <a16:creationId xmlns:a16="http://schemas.microsoft.com/office/drawing/2014/main" id="{1AB5E116-8550-A3F8-572B-03340C8B10AD}"/>
                </a:ext>
              </a:extLst>
            </p:cNvPr>
            <p:cNvSpPr/>
            <p:nvPr/>
          </p:nvSpPr>
          <p:spPr>
            <a:xfrm>
              <a:off x="3055659" y="1428389"/>
              <a:ext cx="177628" cy="100399"/>
            </a:xfrm>
            <a:custGeom>
              <a:avLst/>
              <a:gdLst>
                <a:gd name="connsiteX0" fmla="*/ 177632 w 177628"/>
                <a:gd name="connsiteY0" fmla="*/ 0 h 100398"/>
                <a:gd name="connsiteX1" fmla="*/ 3324 w 177628"/>
                <a:gd name="connsiteY1" fmla="*/ 71978 h 100398"/>
                <a:gd name="connsiteX2" fmla="*/ 3 w 177628"/>
                <a:gd name="connsiteY2" fmla="*/ 77307 h 100398"/>
                <a:gd name="connsiteX3" fmla="*/ 3942 w 177628"/>
                <a:gd name="connsiteY3" fmla="*/ 82172 h 100398"/>
                <a:gd name="connsiteX4" fmla="*/ 69510 w 177628"/>
                <a:gd name="connsiteY4" fmla="*/ 100399 h 100398"/>
                <a:gd name="connsiteX5" fmla="*/ 177632 w 177628"/>
                <a:gd name="connsiteY5" fmla="*/ 0 h 10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628" h="100398">
                  <a:moveTo>
                    <a:pt x="177632" y="0"/>
                  </a:moveTo>
                  <a:lnTo>
                    <a:pt x="3324" y="71978"/>
                  </a:lnTo>
                  <a:cubicBezTo>
                    <a:pt x="1239" y="72905"/>
                    <a:pt x="-74" y="74990"/>
                    <a:pt x="3" y="77307"/>
                  </a:cubicBezTo>
                  <a:cubicBezTo>
                    <a:pt x="158" y="79624"/>
                    <a:pt x="1702" y="81555"/>
                    <a:pt x="3942" y="82172"/>
                  </a:cubicBezTo>
                  <a:lnTo>
                    <a:pt x="69510" y="100399"/>
                  </a:lnTo>
                  <a:lnTo>
                    <a:pt x="177632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8" name="Freeform: Shape 34">
              <a:extLst>
                <a:ext uri="{FF2B5EF4-FFF2-40B4-BE49-F238E27FC236}">
                  <a16:creationId xmlns:a16="http://schemas.microsoft.com/office/drawing/2014/main" id="{A49ECF13-464F-51F9-B962-144B4B64BBDA}"/>
                </a:ext>
              </a:extLst>
            </p:cNvPr>
            <p:cNvSpPr/>
            <p:nvPr/>
          </p:nvSpPr>
          <p:spPr>
            <a:xfrm>
              <a:off x="3125169" y="1428389"/>
              <a:ext cx="108122" cy="139014"/>
            </a:xfrm>
            <a:custGeom>
              <a:avLst/>
              <a:gdLst>
                <a:gd name="connsiteX0" fmla="*/ 108122 w 108121"/>
                <a:gd name="connsiteY0" fmla="*/ 0 h 139013"/>
                <a:gd name="connsiteX1" fmla="*/ 78388 w 108121"/>
                <a:gd name="connsiteY1" fmla="*/ 141253 h 139013"/>
                <a:gd name="connsiteX2" fmla="*/ 74218 w 108121"/>
                <a:gd name="connsiteY2" fmla="*/ 146196 h 139013"/>
                <a:gd name="connsiteX3" fmla="*/ 67730 w 108121"/>
                <a:gd name="connsiteY3" fmla="*/ 145578 h 139013"/>
                <a:gd name="connsiteX4" fmla="*/ 0 w 108121"/>
                <a:gd name="connsiteY4" fmla="*/ 100399 h 139013"/>
                <a:gd name="connsiteX5" fmla="*/ 108122 w 108121"/>
                <a:gd name="connsiteY5" fmla="*/ 0 h 13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121" h="139013">
                  <a:moveTo>
                    <a:pt x="108122" y="0"/>
                  </a:moveTo>
                  <a:lnTo>
                    <a:pt x="78388" y="141253"/>
                  </a:lnTo>
                  <a:cubicBezTo>
                    <a:pt x="77925" y="143493"/>
                    <a:pt x="76380" y="145346"/>
                    <a:pt x="74218" y="146196"/>
                  </a:cubicBezTo>
                  <a:cubicBezTo>
                    <a:pt x="72055" y="147045"/>
                    <a:pt x="69661" y="146814"/>
                    <a:pt x="67730" y="145578"/>
                  </a:cubicBezTo>
                  <a:lnTo>
                    <a:pt x="0" y="100399"/>
                  </a:lnTo>
                  <a:lnTo>
                    <a:pt x="108122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eform: Shape 35">
              <a:extLst>
                <a:ext uri="{FF2B5EF4-FFF2-40B4-BE49-F238E27FC236}">
                  <a16:creationId xmlns:a16="http://schemas.microsoft.com/office/drawing/2014/main" id="{A47B56BD-A891-0E21-9833-DB5B83720883}"/>
                </a:ext>
              </a:extLst>
            </p:cNvPr>
            <p:cNvSpPr/>
            <p:nvPr/>
          </p:nvSpPr>
          <p:spPr>
            <a:xfrm>
              <a:off x="3125169" y="1528788"/>
              <a:ext cx="23169" cy="46338"/>
            </a:xfrm>
            <a:custGeom>
              <a:avLst/>
              <a:gdLst>
                <a:gd name="connsiteX0" fmla="*/ 0 w 23168"/>
                <a:gd name="connsiteY0" fmla="*/ 0 h 46337"/>
                <a:gd name="connsiteX1" fmla="*/ 0 w 23168"/>
                <a:gd name="connsiteY1" fmla="*/ 50045 h 46337"/>
                <a:gd name="connsiteX2" fmla="*/ 2935 w 23168"/>
                <a:gd name="connsiteY2" fmla="*/ 53906 h 46337"/>
                <a:gd name="connsiteX3" fmla="*/ 7414 w 23168"/>
                <a:gd name="connsiteY3" fmla="*/ 52053 h 46337"/>
                <a:gd name="connsiteX4" fmla="*/ 27185 w 23168"/>
                <a:gd name="connsiteY4" fmla="*/ 18149 h 4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68" h="46337">
                  <a:moveTo>
                    <a:pt x="0" y="0"/>
                  </a:moveTo>
                  <a:lnTo>
                    <a:pt x="0" y="50045"/>
                  </a:lnTo>
                  <a:cubicBezTo>
                    <a:pt x="0" y="51821"/>
                    <a:pt x="1236" y="53443"/>
                    <a:pt x="2935" y="53906"/>
                  </a:cubicBezTo>
                  <a:cubicBezTo>
                    <a:pt x="4711" y="54370"/>
                    <a:pt x="6487" y="53597"/>
                    <a:pt x="7414" y="52053"/>
                  </a:cubicBezTo>
                  <a:lnTo>
                    <a:pt x="27185" y="18149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B6AD793-9363-27CD-E2D2-FD392715288C}"/>
              </a:ext>
            </a:extLst>
          </p:cNvPr>
          <p:cNvSpPr txBox="1"/>
          <p:nvPr userDrawn="1"/>
        </p:nvSpPr>
        <p:spPr>
          <a:xfrm>
            <a:off x="464819" y="4728243"/>
            <a:ext cx="4905105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Contact: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4EEE2BD-332E-ED65-BAFE-67B5F8EC3513}"/>
              </a:ext>
            </a:extLst>
          </p:cNvPr>
          <p:cNvSpPr txBox="1"/>
          <p:nvPr userDrawn="1"/>
        </p:nvSpPr>
        <p:spPr>
          <a:xfrm>
            <a:off x="6095999" y="4728243"/>
            <a:ext cx="4905105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Email:</a:t>
            </a: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B3705D5E-5578-A674-4FB9-96F31564C4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820" y="1640041"/>
            <a:ext cx="11269980" cy="99679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0771A22-2879-F6B3-C457-729C29B3D3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58793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 to a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A7C78B90-A29B-49E6-F1B7-FA2A7109CD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819" y="5232628"/>
            <a:ext cx="4905105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phone number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2FE19AF-F403-8115-2882-0C5ACF7B7A52}"/>
              </a:ext>
            </a:extLst>
          </p:cNvPr>
          <p:cNvGrpSpPr/>
          <p:nvPr userDrawn="1"/>
        </p:nvGrpSpPr>
        <p:grpSpPr>
          <a:xfrm>
            <a:off x="464820" y="3457575"/>
            <a:ext cx="609011" cy="1077481"/>
            <a:chOff x="879972" y="1417638"/>
            <a:chExt cx="123825" cy="21907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AC9705B-4881-0859-6F04-FC77250E1922}"/>
                </a:ext>
              </a:extLst>
            </p:cNvPr>
            <p:cNvSpPr/>
            <p:nvPr/>
          </p:nvSpPr>
          <p:spPr>
            <a:xfrm>
              <a:off x="939503" y="1615281"/>
              <a:ext cx="9525" cy="9525"/>
            </a:xfrm>
            <a:custGeom>
              <a:avLst/>
              <a:gdLst>
                <a:gd name="connsiteX0" fmla="*/ 2381 w 0"/>
                <a:gd name="connsiteY0" fmla="*/ 0 h 0"/>
                <a:gd name="connsiteX1" fmla="*/ 2381 w 0"/>
                <a:gd name="connsiteY1" fmla="*/ 0 h 0"/>
                <a:gd name="connsiteX2" fmla="*/ 4763 w 0"/>
                <a:gd name="connsiteY2" fmla="*/ 2381 h 0"/>
                <a:gd name="connsiteX3" fmla="*/ 4763 w 0"/>
                <a:gd name="connsiteY3" fmla="*/ 2381 h 0"/>
                <a:gd name="connsiteX4" fmla="*/ 2381 w 0"/>
                <a:gd name="connsiteY4" fmla="*/ 4763 h 0"/>
                <a:gd name="connsiteX5" fmla="*/ 2381 w 0"/>
                <a:gd name="connsiteY5" fmla="*/ 4763 h 0"/>
                <a:gd name="connsiteX6" fmla="*/ 0 w 0"/>
                <a:gd name="connsiteY6" fmla="*/ 2381 h 0"/>
                <a:gd name="connsiteX7" fmla="*/ 0 w 0"/>
                <a:gd name="connsiteY7" fmla="*/ 2381 h 0"/>
                <a:gd name="connsiteX8" fmla="*/ 2381 w 0"/>
                <a:gd name="connsiteY8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2381" y="0"/>
                  </a:moveTo>
                  <a:lnTo>
                    <a:pt x="2381" y="0"/>
                  </a:lnTo>
                  <a:cubicBezTo>
                    <a:pt x="3715" y="0"/>
                    <a:pt x="4763" y="1048"/>
                    <a:pt x="4763" y="2381"/>
                  </a:cubicBezTo>
                  <a:lnTo>
                    <a:pt x="4763" y="2381"/>
                  </a:lnTo>
                  <a:cubicBezTo>
                    <a:pt x="4763" y="3715"/>
                    <a:pt x="3715" y="4763"/>
                    <a:pt x="2381" y="4763"/>
                  </a:cubicBezTo>
                  <a:lnTo>
                    <a:pt x="2381" y="4763"/>
                  </a:lnTo>
                  <a:cubicBezTo>
                    <a:pt x="1048" y="4763"/>
                    <a:pt x="0" y="3715"/>
                    <a:pt x="0" y="2381"/>
                  </a:cubicBezTo>
                  <a:lnTo>
                    <a:pt x="0" y="2381"/>
                  </a:lnTo>
                  <a:cubicBezTo>
                    <a:pt x="0" y="1048"/>
                    <a:pt x="1048" y="0"/>
                    <a:pt x="2381" y="0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DA2848E-AA8D-3060-6140-5BC0CDB17864}"/>
                </a:ext>
              </a:extLst>
            </p:cNvPr>
            <p:cNvSpPr/>
            <p:nvPr/>
          </p:nvSpPr>
          <p:spPr>
            <a:xfrm>
              <a:off x="879972" y="1417638"/>
              <a:ext cx="123825" cy="219075"/>
            </a:xfrm>
            <a:custGeom>
              <a:avLst/>
              <a:gdLst>
                <a:gd name="connsiteX0" fmla="*/ 0 w 123825"/>
                <a:gd name="connsiteY0" fmla="*/ 19050 h 219075"/>
                <a:gd name="connsiteX1" fmla="*/ 19050 w 123825"/>
                <a:gd name="connsiteY1" fmla="*/ 0 h 219075"/>
                <a:gd name="connsiteX2" fmla="*/ 104775 w 123825"/>
                <a:gd name="connsiteY2" fmla="*/ 0 h 219075"/>
                <a:gd name="connsiteX3" fmla="*/ 123825 w 123825"/>
                <a:gd name="connsiteY3" fmla="*/ 19050 h 219075"/>
                <a:gd name="connsiteX4" fmla="*/ 123825 w 123825"/>
                <a:gd name="connsiteY4" fmla="*/ 200025 h 219075"/>
                <a:gd name="connsiteX5" fmla="*/ 104775 w 123825"/>
                <a:gd name="connsiteY5" fmla="*/ 219075 h 219075"/>
                <a:gd name="connsiteX6" fmla="*/ 19050 w 123825"/>
                <a:gd name="connsiteY6" fmla="*/ 219075 h 219075"/>
                <a:gd name="connsiteX7" fmla="*/ 0 w 123825"/>
                <a:gd name="connsiteY7" fmla="*/ 200025 h 219075"/>
                <a:gd name="connsiteX8" fmla="*/ 0 w 123825"/>
                <a:gd name="connsiteY8" fmla="*/ 19050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825" h="219075">
                  <a:moveTo>
                    <a:pt x="0" y="19050"/>
                  </a:moveTo>
                  <a:cubicBezTo>
                    <a:pt x="0" y="8573"/>
                    <a:pt x="8573" y="0"/>
                    <a:pt x="19050" y="0"/>
                  </a:cubicBezTo>
                  <a:lnTo>
                    <a:pt x="104775" y="0"/>
                  </a:lnTo>
                  <a:cubicBezTo>
                    <a:pt x="115253" y="0"/>
                    <a:pt x="123825" y="8573"/>
                    <a:pt x="123825" y="19050"/>
                  </a:cubicBezTo>
                  <a:lnTo>
                    <a:pt x="123825" y="200025"/>
                  </a:lnTo>
                  <a:cubicBezTo>
                    <a:pt x="123825" y="210503"/>
                    <a:pt x="115253" y="219075"/>
                    <a:pt x="104775" y="219075"/>
                  </a:cubicBezTo>
                  <a:lnTo>
                    <a:pt x="19050" y="219075"/>
                  </a:lnTo>
                  <a:cubicBezTo>
                    <a:pt x="8573" y="219075"/>
                    <a:pt x="0" y="210503"/>
                    <a:pt x="0" y="200025"/>
                  </a:cubicBezTo>
                  <a:lnTo>
                    <a:pt x="0" y="1905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id="{96618DB6-84F0-B38A-74E6-418FBBA591D2}"/>
                </a:ext>
              </a:extLst>
            </p:cNvPr>
            <p:cNvSpPr/>
            <p:nvPr/>
          </p:nvSpPr>
          <p:spPr>
            <a:xfrm>
              <a:off x="879972" y="1598613"/>
              <a:ext cx="123825" cy="9525"/>
            </a:xfrm>
            <a:custGeom>
              <a:avLst/>
              <a:gdLst>
                <a:gd name="connsiteX0" fmla="*/ 123825 w 123825"/>
                <a:gd name="connsiteY0" fmla="*/ 0 h 0"/>
                <a:gd name="connsiteX1" fmla="*/ 0 w 1238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>
                  <a:moveTo>
                    <a:pt x="12382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9" name="Freeform: Shape 7">
              <a:extLst>
                <a:ext uri="{FF2B5EF4-FFF2-40B4-BE49-F238E27FC236}">
                  <a16:creationId xmlns:a16="http://schemas.microsoft.com/office/drawing/2014/main" id="{48F36C65-3183-4D6B-E419-1956A83733A2}"/>
                </a:ext>
              </a:extLst>
            </p:cNvPr>
            <p:cNvSpPr/>
            <p:nvPr/>
          </p:nvSpPr>
          <p:spPr>
            <a:xfrm>
              <a:off x="879972" y="1455738"/>
              <a:ext cx="123825" cy="9525"/>
            </a:xfrm>
            <a:custGeom>
              <a:avLst/>
              <a:gdLst>
                <a:gd name="connsiteX0" fmla="*/ 123825 w 123825"/>
                <a:gd name="connsiteY0" fmla="*/ 0 h 0"/>
                <a:gd name="connsiteX1" fmla="*/ 0 w 1238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>
                  <a:moveTo>
                    <a:pt x="12382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0" name="Freeform: Shape 8">
              <a:extLst>
                <a:ext uri="{FF2B5EF4-FFF2-40B4-BE49-F238E27FC236}">
                  <a16:creationId xmlns:a16="http://schemas.microsoft.com/office/drawing/2014/main" id="{2F75151C-F70D-6BF7-507D-6536E68A30EE}"/>
                </a:ext>
              </a:extLst>
            </p:cNvPr>
            <p:cNvSpPr/>
            <p:nvPr/>
          </p:nvSpPr>
          <p:spPr>
            <a:xfrm>
              <a:off x="927597" y="1436688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B6AD793-9363-27CD-E2D2-FD392715288C}"/>
              </a:ext>
            </a:extLst>
          </p:cNvPr>
          <p:cNvSpPr txBox="1"/>
          <p:nvPr userDrawn="1"/>
        </p:nvSpPr>
        <p:spPr>
          <a:xfrm>
            <a:off x="464819" y="4728243"/>
            <a:ext cx="4905105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Contact:</a:t>
            </a: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B3705D5E-5578-A674-4FB9-96F31564C4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820" y="1640041"/>
            <a:ext cx="11269980" cy="99679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0" name="Text Placeholder 58">
            <a:extLst>
              <a:ext uri="{FF2B5EF4-FFF2-40B4-BE49-F238E27FC236}">
                <a16:creationId xmlns:a16="http://schemas.microsoft.com/office/drawing/2014/main" id="{1D5BFA37-1197-FC80-3985-C0D07CDB97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8" y="5232628"/>
            <a:ext cx="4905105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Websi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4D1E646-63F8-69A2-65DF-DE194EA2781D}"/>
              </a:ext>
            </a:extLst>
          </p:cNvPr>
          <p:cNvGrpSpPr/>
          <p:nvPr userDrawn="1"/>
        </p:nvGrpSpPr>
        <p:grpSpPr>
          <a:xfrm>
            <a:off x="6095999" y="3457575"/>
            <a:ext cx="1030634" cy="1077481"/>
            <a:chOff x="1289451" y="1417638"/>
            <a:chExt cx="209550" cy="219075"/>
          </a:xfrm>
        </p:grpSpPr>
        <p:sp>
          <p:nvSpPr>
            <p:cNvPr id="22" name="Freeform: Shape 14">
              <a:extLst>
                <a:ext uri="{FF2B5EF4-FFF2-40B4-BE49-F238E27FC236}">
                  <a16:creationId xmlns:a16="http://schemas.microsoft.com/office/drawing/2014/main" id="{13BD3C7A-50E8-F588-5067-6F82A48A964C}"/>
                </a:ext>
              </a:extLst>
            </p:cNvPr>
            <p:cNvSpPr/>
            <p:nvPr/>
          </p:nvSpPr>
          <p:spPr>
            <a:xfrm>
              <a:off x="1302786" y="1579563"/>
              <a:ext cx="66675" cy="9525"/>
            </a:xfrm>
            <a:custGeom>
              <a:avLst/>
              <a:gdLst>
                <a:gd name="connsiteX0" fmla="*/ 0 w 66675"/>
                <a:gd name="connsiteY0" fmla="*/ 0 h 0"/>
                <a:gd name="connsiteX1" fmla="*/ 72390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0" y="0"/>
                  </a:moveTo>
                  <a:lnTo>
                    <a:pt x="7239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3" name="Freeform: Shape 15">
              <a:extLst>
                <a:ext uri="{FF2B5EF4-FFF2-40B4-BE49-F238E27FC236}">
                  <a16:creationId xmlns:a16="http://schemas.microsoft.com/office/drawing/2014/main" id="{CD39A4AB-BE68-BCF6-584B-9FFA9E497DE3}"/>
                </a:ext>
              </a:extLst>
            </p:cNvPr>
            <p:cNvSpPr/>
            <p:nvPr/>
          </p:nvSpPr>
          <p:spPr>
            <a:xfrm>
              <a:off x="1308597" y="1465263"/>
              <a:ext cx="171450" cy="9525"/>
            </a:xfrm>
            <a:custGeom>
              <a:avLst/>
              <a:gdLst>
                <a:gd name="connsiteX0" fmla="*/ 0 w 171450"/>
                <a:gd name="connsiteY0" fmla="*/ 0 h 0"/>
                <a:gd name="connsiteX1" fmla="*/ 180785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80785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4" name="Freeform: Shape 16">
              <a:extLst>
                <a:ext uri="{FF2B5EF4-FFF2-40B4-BE49-F238E27FC236}">
                  <a16:creationId xmlns:a16="http://schemas.microsoft.com/office/drawing/2014/main" id="{2491913D-DB7F-68D8-85C4-180F891FC117}"/>
                </a:ext>
              </a:extLst>
            </p:cNvPr>
            <p:cNvSpPr/>
            <p:nvPr/>
          </p:nvSpPr>
          <p:spPr>
            <a:xfrm>
              <a:off x="1289547" y="1522413"/>
              <a:ext cx="66675" cy="9525"/>
            </a:xfrm>
            <a:custGeom>
              <a:avLst/>
              <a:gdLst>
                <a:gd name="connsiteX0" fmla="*/ 76105 w 66675"/>
                <a:gd name="connsiteY0" fmla="*/ 0 h 0"/>
                <a:gd name="connsiteX1" fmla="*/ 0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7610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5" name="Freeform: Shape 17">
              <a:extLst>
                <a:ext uri="{FF2B5EF4-FFF2-40B4-BE49-F238E27FC236}">
                  <a16:creationId xmlns:a16="http://schemas.microsoft.com/office/drawing/2014/main" id="{BCF1D34E-0DBF-48D2-9677-C0E3EEB6D856}"/>
                </a:ext>
              </a:extLst>
            </p:cNvPr>
            <p:cNvSpPr/>
            <p:nvPr/>
          </p:nvSpPr>
          <p:spPr>
            <a:xfrm>
              <a:off x="1349693" y="1417923"/>
              <a:ext cx="38100" cy="209550"/>
            </a:xfrm>
            <a:custGeom>
              <a:avLst/>
              <a:gdLst>
                <a:gd name="connsiteX0" fmla="*/ 42342 w 38100"/>
                <a:gd name="connsiteY0" fmla="*/ 0 h 209550"/>
                <a:gd name="connsiteX1" fmla="*/ 43390 w 38100"/>
                <a:gd name="connsiteY1" fmla="*/ 21869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209550">
                  <a:moveTo>
                    <a:pt x="42342" y="0"/>
                  </a:moveTo>
                  <a:cubicBezTo>
                    <a:pt x="-14808" y="61913"/>
                    <a:pt x="-13760" y="142494"/>
                    <a:pt x="43390" y="218694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6" name="Freeform: Shape 18">
              <a:extLst>
                <a:ext uri="{FF2B5EF4-FFF2-40B4-BE49-F238E27FC236}">
                  <a16:creationId xmlns:a16="http://schemas.microsoft.com/office/drawing/2014/main" id="{FE2DBED8-7AF7-131A-E1D1-F12E12C2350D}"/>
                </a:ext>
              </a:extLst>
            </p:cNvPr>
            <p:cNvSpPr/>
            <p:nvPr/>
          </p:nvSpPr>
          <p:spPr>
            <a:xfrm>
              <a:off x="1405942" y="1417923"/>
              <a:ext cx="38100" cy="76200"/>
            </a:xfrm>
            <a:custGeom>
              <a:avLst/>
              <a:gdLst>
                <a:gd name="connsiteX0" fmla="*/ 0 w 38100"/>
                <a:gd name="connsiteY0" fmla="*/ 0 h 76200"/>
                <a:gd name="connsiteX1" fmla="*/ 40672 w 38100"/>
                <a:gd name="connsiteY1" fmla="*/ 8067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76200">
                  <a:moveTo>
                    <a:pt x="0" y="0"/>
                  </a:moveTo>
                  <a:cubicBezTo>
                    <a:pt x="21336" y="22193"/>
                    <a:pt x="35528" y="50292"/>
                    <a:pt x="40672" y="80677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7" name="Freeform: Shape 19">
              <a:extLst>
                <a:ext uri="{FF2B5EF4-FFF2-40B4-BE49-F238E27FC236}">
                  <a16:creationId xmlns:a16="http://schemas.microsoft.com/office/drawing/2014/main" id="{E36707B0-F2FF-231E-B0D4-176AF9FA8EFF}"/>
                </a:ext>
              </a:extLst>
            </p:cNvPr>
            <p:cNvSpPr/>
            <p:nvPr/>
          </p:nvSpPr>
          <p:spPr>
            <a:xfrm>
              <a:off x="1289451" y="1417638"/>
              <a:ext cx="209550" cy="219075"/>
            </a:xfrm>
            <a:custGeom>
              <a:avLst/>
              <a:gdLst>
                <a:gd name="connsiteX0" fmla="*/ 219075 w 209550"/>
                <a:gd name="connsiteY0" fmla="*/ 109538 h 219075"/>
                <a:gd name="connsiteX1" fmla="*/ 109538 w 209550"/>
                <a:gd name="connsiteY1" fmla="*/ 0 h 219075"/>
                <a:gd name="connsiteX2" fmla="*/ 0 w 209550"/>
                <a:gd name="connsiteY2" fmla="*/ 109538 h 219075"/>
                <a:gd name="connsiteX3" fmla="*/ 109538 w 209550"/>
                <a:gd name="connsiteY3" fmla="*/ 21907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0" h="219075">
                  <a:moveTo>
                    <a:pt x="219075" y="109538"/>
                  </a:moveTo>
                  <a:cubicBezTo>
                    <a:pt x="219075" y="49054"/>
                    <a:pt x="170021" y="0"/>
                    <a:pt x="109538" y="0"/>
                  </a:cubicBezTo>
                  <a:cubicBezTo>
                    <a:pt x="49054" y="0"/>
                    <a:pt x="0" y="49054"/>
                    <a:pt x="0" y="109538"/>
                  </a:cubicBezTo>
                  <a:cubicBezTo>
                    <a:pt x="0" y="170021"/>
                    <a:pt x="49054" y="219075"/>
                    <a:pt x="109538" y="219075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30" name="Freeform: Shape 20">
              <a:extLst>
                <a:ext uri="{FF2B5EF4-FFF2-40B4-BE49-F238E27FC236}">
                  <a16:creationId xmlns:a16="http://schemas.microsoft.com/office/drawing/2014/main" id="{810129A7-E93B-CACF-0084-B84B86EC8BC7}"/>
                </a:ext>
              </a:extLst>
            </p:cNvPr>
            <p:cNvSpPr/>
            <p:nvPr/>
          </p:nvSpPr>
          <p:spPr>
            <a:xfrm>
              <a:off x="1383662" y="1510610"/>
              <a:ext cx="114300" cy="123825"/>
            </a:xfrm>
            <a:custGeom>
              <a:avLst/>
              <a:gdLst>
                <a:gd name="connsiteX0" fmla="*/ 91145 w 114300"/>
                <a:gd name="connsiteY0" fmla="*/ 58570 h 123825"/>
                <a:gd name="connsiteX1" fmla="*/ 112005 w 114300"/>
                <a:gd name="connsiteY1" fmla="*/ 37710 h 123825"/>
                <a:gd name="connsiteX2" fmla="*/ 113243 w 114300"/>
                <a:gd name="connsiteY2" fmla="*/ 33138 h 123825"/>
                <a:gd name="connsiteX3" fmla="*/ 109910 w 114300"/>
                <a:gd name="connsiteY3" fmla="*/ 29804 h 123825"/>
                <a:gd name="connsiteX4" fmla="*/ 6087 w 114300"/>
                <a:gd name="connsiteY4" fmla="*/ 182 h 123825"/>
                <a:gd name="connsiteX5" fmla="*/ 1420 w 114300"/>
                <a:gd name="connsiteY5" fmla="*/ 1420 h 123825"/>
                <a:gd name="connsiteX6" fmla="*/ 182 w 114300"/>
                <a:gd name="connsiteY6" fmla="*/ 6087 h 123825"/>
                <a:gd name="connsiteX7" fmla="*/ 29709 w 114300"/>
                <a:gd name="connsiteY7" fmla="*/ 109910 h 123825"/>
                <a:gd name="connsiteX8" fmla="*/ 33138 w 114300"/>
                <a:gd name="connsiteY8" fmla="*/ 113243 h 123825"/>
                <a:gd name="connsiteX9" fmla="*/ 37710 w 114300"/>
                <a:gd name="connsiteY9" fmla="*/ 112005 h 123825"/>
                <a:gd name="connsiteX10" fmla="*/ 57236 w 114300"/>
                <a:gd name="connsiteY10" fmla="*/ 92479 h 123825"/>
                <a:gd name="connsiteX11" fmla="*/ 87526 w 114300"/>
                <a:gd name="connsiteY11" fmla="*/ 122768 h 123825"/>
                <a:gd name="connsiteX12" fmla="*/ 94289 w 114300"/>
                <a:gd name="connsiteY12" fmla="*/ 122768 h 123825"/>
                <a:gd name="connsiteX13" fmla="*/ 121435 w 114300"/>
                <a:gd name="connsiteY13" fmla="*/ 95717 h 123825"/>
                <a:gd name="connsiteX14" fmla="*/ 121435 w 114300"/>
                <a:gd name="connsiteY14" fmla="*/ 88955 h 123825"/>
                <a:gd name="connsiteX15" fmla="*/ 91145 w 114300"/>
                <a:gd name="connsiteY15" fmla="*/ 5857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4300" h="123825">
                  <a:moveTo>
                    <a:pt x="91145" y="58570"/>
                  </a:moveTo>
                  <a:lnTo>
                    <a:pt x="112005" y="37710"/>
                  </a:lnTo>
                  <a:cubicBezTo>
                    <a:pt x="113243" y="36472"/>
                    <a:pt x="113624" y="34757"/>
                    <a:pt x="113243" y="33138"/>
                  </a:cubicBezTo>
                  <a:cubicBezTo>
                    <a:pt x="112862" y="31519"/>
                    <a:pt x="111529" y="30185"/>
                    <a:pt x="109910" y="29804"/>
                  </a:cubicBezTo>
                  <a:lnTo>
                    <a:pt x="6087" y="182"/>
                  </a:lnTo>
                  <a:cubicBezTo>
                    <a:pt x="4468" y="-295"/>
                    <a:pt x="2658" y="182"/>
                    <a:pt x="1420" y="1420"/>
                  </a:cubicBezTo>
                  <a:cubicBezTo>
                    <a:pt x="182" y="2658"/>
                    <a:pt x="-295" y="4468"/>
                    <a:pt x="182" y="6087"/>
                  </a:cubicBezTo>
                  <a:lnTo>
                    <a:pt x="29709" y="109910"/>
                  </a:lnTo>
                  <a:cubicBezTo>
                    <a:pt x="30185" y="111529"/>
                    <a:pt x="31424" y="112767"/>
                    <a:pt x="33138" y="113243"/>
                  </a:cubicBezTo>
                  <a:cubicBezTo>
                    <a:pt x="34757" y="113624"/>
                    <a:pt x="36472" y="113148"/>
                    <a:pt x="37710" y="112005"/>
                  </a:cubicBezTo>
                  <a:lnTo>
                    <a:pt x="57236" y="92479"/>
                  </a:lnTo>
                  <a:lnTo>
                    <a:pt x="87526" y="122768"/>
                  </a:lnTo>
                  <a:cubicBezTo>
                    <a:pt x="89431" y="124673"/>
                    <a:pt x="92384" y="124673"/>
                    <a:pt x="94289" y="122768"/>
                  </a:cubicBezTo>
                  <a:lnTo>
                    <a:pt x="121435" y="95717"/>
                  </a:lnTo>
                  <a:cubicBezTo>
                    <a:pt x="123340" y="93812"/>
                    <a:pt x="123340" y="90860"/>
                    <a:pt x="121435" y="88955"/>
                  </a:cubicBezTo>
                  <a:lnTo>
                    <a:pt x="91145" y="5857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CE6C5DB4-D31D-E870-59FC-24EB3689EE72}"/>
              </a:ext>
            </a:extLst>
          </p:cNvPr>
          <p:cNvSpPr txBox="1"/>
          <p:nvPr userDrawn="1"/>
        </p:nvSpPr>
        <p:spPr>
          <a:xfrm>
            <a:off x="6095998" y="4728243"/>
            <a:ext cx="4905105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Website: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E0B69AD-6BB9-3A55-1EE4-F53297F0F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786108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ll to a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58">
            <a:extLst>
              <a:ext uri="{FF2B5EF4-FFF2-40B4-BE49-F238E27FC236}">
                <a16:creationId xmlns:a16="http://schemas.microsoft.com/office/drawing/2014/main" id="{685F02F3-0F99-F711-DA12-C3E6155591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19" y="5232628"/>
            <a:ext cx="4905105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emai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96B4E48-21CE-A3C9-D10D-F1C5FF835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50820" y="6400801"/>
            <a:ext cx="669036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484FD09-1FB2-EC14-707F-2E9AE2FB1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2450" y="6400801"/>
            <a:ext cx="102235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8A9D12F-C966-2EEF-93D6-8B80E7A38DD7}"/>
              </a:ext>
            </a:extLst>
          </p:cNvPr>
          <p:cNvSpPr txBox="1"/>
          <p:nvPr userDrawn="1"/>
        </p:nvSpPr>
        <p:spPr>
          <a:xfrm>
            <a:off x="464819" y="4728243"/>
            <a:ext cx="4905105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Email:</a:t>
            </a: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B3705D5E-5578-A674-4FB9-96F31564C4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820" y="1640041"/>
            <a:ext cx="11269980" cy="99679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0" name="Text Placeholder 58">
            <a:extLst>
              <a:ext uri="{FF2B5EF4-FFF2-40B4-BE49-F238E27FC236}">
                <a16:creationId xmlns:a16="http://schemas.microsoft.com/office/drawing/2014/main" id="{1D5BFA37-1197-FC80-3985-C0D07CDB97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8" y="5232628"/>
            <a:ext cx="4905105" cy="4476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Websi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4D1E646-63F8-69A2-65DF-DE194EA2781D}"/>
              </a:ext>
            </a:extLst>
          </p:cNvPr>
          <p:cNvGrpSpPr/>
          <p:nvPr userDrawn="1"/>
        </p:nvGrpSpPr>
        <p:grpSpPr>
          <a:xfrm>
            <a:off x="6095999" y="3457575"/>
            <a:ext cx="1030634" cy="1077481"/>
            <a:chOff x="1289451" y="1417638"/>
            <a:chExt cx="209550" cy="219075"/>
          </a:xfrm>
        </p:grpSpPr>
        <p:sp>
          <p:nvSpPr>
            <p:cNvPr id="22" name="Freeform: Shape 14">
              <a:extLst>
                <a:ext uri="{FF2B5EF4-FFF2-40B4-BE49-F238E27FC236}">
                  <a16:creationId xmlns:a16="http://schemas.microsoft.com/office/drawing/2014/main" id="{13BD3C7A-50E8-F588-5067-6F82A48A964C}"/>
                </a:ext>
              </a:extLst>
            </p:cNvPr>
            <p:cNvSpPr/>
            <p:nvPr/>
          </p:nvSpPr>
          <p:spPr>
            <a:xfrm>
              <a:off x="1302786" y="1579563"/>
              <a:ext cx="66675" cy="9525"/>
            </a:xfrm>
            <a:custGeom>
              <a:avLst/>
              <a:gdLst>
                <a:gd name="connsiteX0" fmla="*/ 0 w 66675"/>
                <a:gd name="connsiteY0" fmla="*/ 0 h 0"/>
                <a:gd name="connsiteX1" fmla="*/ 72390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0" y="0"/>
                  </a:moveTo>
                  <a:lnTo>
                    <a:pt x="7239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3" name="Freeform: Shape 15">
              <a:extLst>
                <a:ext uri="{FF2B5EF4-FFF2-40B4-BE49-F238E27FC236}">
                  <a16:creationId xmlns:a16="http://schemas.microsoft.com/office/drawing/2014/main" id="{CD39A4AB-BE68-BCF6-584B-9FFA9E497DE3}"/>
                </a:ext>
              </a:extLst>
            </p:cNvPr>
            <p:cNvSpPr/>
            <p:nvPr/>
          </p:nvSpPr>
          <p:spPr>
            <a:xfrm>
              <a:off x="1308597" y="1465263"/>
              <a:ext cx="171450" cy="9525"/>
            </a:xfrm>
            <a:custGeom>
              <a:avLst/>
              <a:gdLst>
                <a:gd name="connsiteX0" fmla="*/ 0 w 171450"/>
                <a:gd name="connsiteY0" fmla="*/ 0 h 0"/>
                <a:gd name="connsiteX1" fmla="*/ 180785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80785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4" name="Freeform: Shape 16">
              <a:extLst>
                <a:ext uri="{FF2B5EF4-FFF2-40B4-BE49-F238E27FC236}">
                  <a16:creationId xmlns:a16="http://schemas.microsoft.com/office/drawing/2014/main" id="{2491913D-DB7F-68D8-85C4-180F891FC117}"/>
                </a:ext>
              </a:extLst>
            </p:cNvPr>
            <p:cNvSpPr/>
            <p:nvPr/>
          </p:nvSpPr>
          <p:spPr>
            <a:xfrm>
              <a:off x="1289547" y="1522413"/>
              <a:ext cx="66675" cy="9525"/>
            </a:xfrm>
            <a:custGeom>
              <a:avLst/>
              <a:gdLst>
                <a:gd name="connsiteX0" fmla="*/ 76105 w 66675"/>
                <a:gd name="connsiteY0" fmla="*/ 0 h 0"/>
                <a:gd name="connsiteX1" fmla="*/ 0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76105" y="0"/>
                  </a:move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5" name="Freeform: Shape 17">
              <a:extLst>
                <a:ext uri="{FF2B5EF4-FFF2-40B4-BE49-F238E27FC236}">
                  <a16:creationId xmlns:a16="http://schemas.microsoft.com/office/drawing/2014/main" id="{BCF1D34E-0DBF-48D2-9677-C0E3EEB6D856}"/>
                </a:ext>
              </a:extLst>
            </p:cNvPr>
            <p:cNvSpPr/>
            <p:nvPr/>
          </p:nvSpPr>
          <p:spPr>
            <a:xfrm>
              <a:off x="1349693" y="1417923"/>
              <a:ext cx="38100" cy="209550"/>
            </a:xfrm>
            <a:custGeom>
              <a:avLst/>
              <a:gdLst>
                <a:gd name="connsiteX0" fmla="*/ 42342 w 38100"/>
                <a:gd name="connsiteY0" fmla="*/ 0 h 209550"/>
                <a:gd name="connsiteX1" fmla="*/ 43390 w 38100"/>
                <a:gd name="connsiteY1" fmla="*/ 21869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209550">
                  <a:moveTo>
                    <a:pt x="42342" y="0"/>
                  </a:moveTo>
                  <a:cubicBezTo>
                    <a:pt x="-14808" y="61913"/>
                    <a:pt x="-13760" y="142494"/>
                    <a:pt x="43390" y="218694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6" name="Freeform: Shape 18">
              <a:extLst>
                <a:ext uri="{FF2B5EF4-FFF2-40B4-BE49-F238E27FC236}">
                  <a16:creationId xmlns:a16="http://schemas.microsoft.com/office/drawing/2014/main" id="{FE2DBED8-7AF7-131A-E1D1-F12E12C2350D}"/>
                </a:ext>
              </a:extLst>
            </p:cNvPr>
            <p:cNvSpPr/>
            <p:nvPr/>
          </p:nvSpPr>
          <p:spPr>
            <a:xfrm>
              <a:off x="1405942" y="1417923"/>
              <a:ext cx="38100" cy="76200"/>
            </a:xfrm>
            <a:custGeom>
              <a:avLst/>
              <a:gdLst>
                <a:gd name="connsiteX0" fmla="*/ 0 w 38100"/>
                <a:gd name="connsiteY0" fmla="*/ 0 h 76200"/>
                <a:gd name="connsiteX1" fmla="*/ 40672 w 38100"/>
                <a:gd name="connsiteY1" fmla="*/ 8067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76200">
                  <a:moveTo>
                    <a:pt x="0" y="0"/>
                  </a:moveTo>
                  <a:cubicBezTo>
                    <a:pt x="21336" y="22193"/>
                    <a:pt x="35528" y="50292"/>
                    <a:pt x="40672" y="80677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7" name="Freeform: Shape 19">
              <a:extLst>
                <a:ext uri="{FF2B5EF4-FFF2-40B4-BE49-F238E27FC236}">
                  <a16:creationId xmlns:a16="http://schemas.microsoft.com/office/drawing/2014/main" id="{E36707B0-F2FF-231E-B0D4-176AF9FA8EFF}"/>
                </a:ext>
              </a:extLst>
            </p:cNvPr>
            <p:cNvSpPr/>
            <p:nvPr/>
          </p:nvSpPr>
          <p:spPr>
            <a:xfrm>
              <a:off x="1289451" y="1417638"/>
              <a:ext cx="209550" cy="219075"/>
            </a:xfrm>
            <a:custGeom>
              <a:avLst/>
              <a:gdLst>
                <a:gd name="connsiteX0" fmla="*/ 219075 w 209550"/>
                <a:gd name="connsiteY0" fmla="*/ 109538 h 219075"/>
                <a:gd name="connsiteX1" fmla="*/ 109538 w 209550"/>
                <a:gd name="connsiteY1" fmla="*/ 0 h 219075"/>
                <a:gd name="connsiteX2" fmla="*/ 0 w 209550"/>
                <a:gd name="connsiteY2" fmla="*/ 109538 h 219075"/>
                <a:gd name="connsiteX3" fmla="*/ 109538 w 209550"/>
                <a:gd name="connsiteY3" fmla="*/ 21907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0" h="219075">
                  <a:moveTo>
                    <a:pt x="219075" y="109538"/>
                  </a:moveTo>
                  <a:cubicBezTo>
                    <a:pt x="219075" y="49054"/>
                    <a:pt x="170021" y="0"/>
                    <a:pt x="109538" y="0"/>
                  </a:cubicBezTo>
                  <a:cubicBezTo>
                    <a:pt x="49054" y="0"/>
                    <a:pt x="0" y="49054"/>
                    <a:pt x="0" y="109538"/>
                  </a:cubicBezTo>
                  <a:cubicBezTo>
                    <a:pt x="0" y="170021"/>
                    <a:pt x="49054" y="219075"/>
                    <a:pt x="109538" y="219075"/>
                  </a:cubicBez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30" name="Freeform: Shape 20">
              <a:extLst>
                <a:ext uri="{FF2B5EF4-FFF2-40B4-BE49-F238E27FC236}">
                  <a16:creationId xmlns:a16="http://schemas.microsoft.com/office/drawing/2014/main" id="{810129A7-E93B-CACF-0084-B84B86EC8BC7}"/>
                </a:ext>
              </a:extLst>
            </p:cNvPr>
            <p:cNvSpPr/>
            <p:nvPr/>
          </p:nvSpPr>
          <p:spPr>
            <a:xfrm>
              <a:off x="1383662" y="1510610"/>
              <a:ext cx="114300" cy="123825"/>
            </a:xfrm>
            <a:custGeom>
              <a:avLst/>
              <a:gdLst>
                <a:gd name="connsiteX0" fmla="*/ 91145 w 114300"/>
                <a:gd name="connsiteY0" fmla="*/ 58570 h 123825"/>
                <a:gd name="connsiteX1" fmla="*/ 112005 w 114300"/>
                <a:gd name="connsiteY1" fmla="*/ 37710 h 123825"/>
                <a:gd name="connsiteX2" fmla="*/ 113243 w 114300"/>
                <a:gd name="connsiteY2" fmla="*/ 33138 h 123825"/>
                <a:gd name="connsiteX3" fmla="*/ 109910 w 114300"/>
                <a:gd name="connsiteY3" fmla="*/ 29804 h 123825"/>
                <a:gd name="connsiteX4" fmla="*/ 6087 w 114300"/>
                <a:gd name="connsiteY4" fmla="*/ 182 h 123825"/>
                <a:gd name="connsiteX5" fmla="*/ 1420 w 114300"/>
                <a:gd name="connsiteY5" fmla="*/ 1420 h 123825"/>
                <a:gd name="connsiteX6" fmla="*/ 182 w 114300"/>
                <a:gd name="connsiteY6" fmla="*/ 6087 h 123825"/>
                <a:gd name="connsiteX7" fmla="*/ 29709 w 114300"/>
                <a:gd name="connsiteY7" fmla="*/ 109910 h 123825"/>
                <a:gd name="connsiteX8" fmla="*/ 33138 w 114300"/>
                <a:gd name="connsiteY8" fmla="*/ 113243 h 123825"/>
                <a:gd name="connsiteX9" fmla="*/ 37710 w 114300"/>
                <a:gd name="connsiteY9" fmla="*/ 112005 h 123825"/>
                <a:gd name="connsiteX10" fmla="*/ 57236 w 114300"/>
                <a:gd name="connsiteY10" fmla="*/ 92479 h 123825"/>
                <a:gd name="connsiteX11" fmla="*/ 87526 w 114300"/>
                <a:gd name="connsiteY11" fmla="*/ 122768 h 123825"/>
                <a:gd name="connsiteX12" fmla="*/ 94289 w 114300"/>
                <a:gd name="connsiteY12" fmla="*/ 122768 h 123825"/>
                <a:gd name="connsiteX13" fmla="*/ 121435 w 114300"/>
                <a:gd name="connsiteY13" fmla="*/ 95717 h 123825"/>
                <a:gd name="connsiteX14" fmla="*/ 121435 w 114300"/>
                <a:gd name="connsiteY14" fmla="*/ 88955 h 123825"/>
                <a:gd name="connsiteX15" fmla="*/ 91145 w 114300"/>
                <a:gd name="connsiteY15" fmla="*/ 5857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4300" h="123825">
                  <a:moveTo>
                    <a:pt x="91145" y="58570"/>
                  </a:moveTo>
                  <a:lnTo>
                    <a:pt x="112005" y="37710"/>
                  </a:lnTo>
                  <a:cubicBezTo>
                    <a:pt x="113243" y="36472"/>
                    <a:pt x="113624" y="34757"/>
                    <a:pt x="113243" y="33138"/>
                  </a:cubicBezTo>
                  <a:cubicBezTo>
                    <a:pt x="112862" y="31519"/>
                    <a:pt x="111529" y="30185"/>
                    <a:pt x="109910" y="29804"/>
                  </a:cubicBezTo>
                  <a:lnTo>
                    <a:pt x="6087" y="182"/>
                  </a:lnTo>
                  <a:cubicBezTo>
                    <a:pt x="4468" y="-295"/>
                    <a:pt x="2658" y="182"/>
                    <a:pt x="1420" y="1420"/>
                  </a:cubicBezTo>
                  <a:cubicBezTo>
                    <a:pt x="182" y="2658"/>
                    <a:pt x="-295" y="4468"/>
                    <a:pt x="182" y="6087"/>
                  </a:cubicBezTo>
                  <a:lnTo>
                    <a:pt x="29709" y="109910"/>
                  </a:lnTo>
                  <a:cubicBezTo>
                    <a:pt x="30185" y="111529"/>
                    <a:pt x="31424" y="112767"/>
                    <a:pt x="33138" y="113243"/>
                  </a:cubicBezTo>
                  <a:cubicBezTo>
                    <a:pt x="34757" y="113624"/>
                    <a:pt x="36472" y="113148"/>
                    <a:pt x="37710" y="112005"/>
                  </a:cubicBezTo>
                  <a:lnTo>
                    <a:pt x="57236" y="92479"/>
                  </a:lnTo>
                  <a:lnTo>
                    <a:pt x="87526" y="122768"/>
                  </a:lnTo>
                  <a:cubicBezTo>
                    <a:pt x="89431" y="124673"/>
                    <a:pt x="92384" y="124673"/>
                    <a:pt x="94289" y="122768"/>
                  </a:cubicBezTo>
                  <a:lnTo>
                    <a:pt x="121435" y="95717"/>
                  </a:lnTo>
                  <a:cubicBezTo>
                    <a:pt x="123340" y="93812"/>
                    <a:pt x="123340" y="90860"/>
                    <a:pt x="121435" y="88955"/>
                  </a:cubicBezTo>
                  <a:lnTo>
                    <a:pt x="91145" y="5857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CE6C5DB4-D31D-E870-59FC-24EB3689EE72}"/>
              </a:ext>
            </a:extLst>
          </p:cNvPr>
          <p:cNvSpPr txBox="1"/>
          <p:nvPr userDrawn="1"/>
        </p:nvSpPr>
        <p:spPr>
          <a:xfrm>
            <a:off x="6095998" y="4728243"/>
            <a:ext cx="4905105" cy="447675"/>
          </a:xfrm>
          <a:prstGeom prst="rect">
            <a:avLst/>
          </a:prstGeom>
          <a:noFill/>
        </p:spPr>
        <p:txBody>
          <a:bodyPr wrap="square" lIns="0" rtlCol="0">
            <a:norm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Website: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EC13235-3025-C9A7-B32B-2973F00FD5A5}"/>
              </a:ext>
            </a:extLst>
          </p:cNvPr>
          <p:cNvGrpSpPr/>
          <p:nvPr userDrawn="1"/>
        </p:nvGrpSpPr>
        <p:grpSpPr>
          <a:xfrm>
            <a:off x="464819" y="3457575"/>
            <a:ext cx="1304341" cy="1077481"/>
            <a:chOff x="3055659" y="1428389"/>
            <a:chExt cx="177632" cy="146737"/>
          </a:xfrm>
        </p:grpSpPr>
        <p:sp>
          <p:nvSpPr>
            <p:cNvPr id="18" name="Freeform: Shape 33">
              <a:extLst>
                <a:ext uri="{FF2B5EF4-FFF2-40B4-BE49-F238E27FC236}">
                  <a16:creationId xmlns:a16="http://schemas.microsoft.com/office/drawing/2014/main" id="{D5ABD943-F178-0C80-677A-4CAAAB4EC654}"/>
                </a:ext>
              </a:extLst>
            </p:cNvPr>
            <p:cNvSpPr/>
            <p:nvPr/>
          </p:nvSpPr>
          <p:spPr>
            <a:xfrm>
              <a:off x="3055659" y="1428389"/>
              <a:ext cx="177628" cy="100399"/>
            </a:xfrm>
            <a:custGeom>
              <a:avLst/>
              <a:gdLst>
                <a:gd name="connsiteX0" fmla="*/ 177632 w 177628"/>
                <a:gd name="connsiteY0" fmla="*/ 0 h 100398"/>
                <a:gd name="connsiteX1" fmla="*/ 3324 w 177628"/>
                <a:gd name="connsiteY1" fmla="*/ 71978 h 100398"/>
                <a:gd name="connsiteX2" fmla="*/ 3 w 177628"/>
                <a:gd name="connsiteY2" fmla="*/ 77307 h 100398"/>
                <a:gd name="connsiteX3" fmla="*/ 3942 w 177628"/>
                <a:gd name="connsiteY3" fmla="*/ 82172 h 100398"/>
                <a:gd name="connsiteX4" fmla="*/ 69510 w 177628"/>
                <a:gd name="connsiteY4" fmla="*/ 100399 h 100398"/>
                <a:gd name="connsiteX5" fmla="*/ 177632 w 177628"/>
                <a:gd name="connsiteY5" fmla="*/ 0 h 10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628" h="100398">
                  <a:moveTo>
                    <a:pt x="177632" y="0"/>
                  </a:moveTo>
                  <a:lnTo>
                    <a:pt x="3324" y="71978"/>
                  </a:lnTo>
                  <a:cubicBezTo>
                    <a:pt x="1239" y="72905"/>
                    <a:pt x="-74" y="74990"/>
                    <a:pt x="3" y="77307"/>
                  </a:cubicBezTo>
                  <a:cubicBezTo>
                    <a:pt x="158" y="79624"/>
                    <a:pt x="1702" y="81555"/>
                    <a:pt x="3942" y="82172"/>
                  </a:cubicBezTo>
                  <a:lnTo>
                    <a:pt x="69510" y="100399"/>
                  </a:lnTo>
                  <a:lnTo>
                    <a:pt x="177632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eform: Shape 34">
              <a:extLst>
                <a:ext uri="{FF2B5EF4-FFF2-40B4-BE49-F238E27FC236}">
                  <a16:creationId xmlns:a16="http://schemas.microsoft.com/office/drawing/2014/main" id="{811171AB-C991-B8F7-931E-607473ADBCA5}"/>
                </a:ext>
              </a:extLst>
            </p:cNvPr>
            <p:cNvSpPr/>
            <p:nvPr/>
          </p:nvSpPr>
          <p:spPr>
            <a:xfrm>
              <a:off x="3125169" y="1428389"/>
              <a:ext cx="108122" cy="139014"/>
            </a:xfrm>
            <a:custGeom>
              <a:avLst/>
              <a:gdLst>
                <a:gd name="connsiteX0" fmla="*/ 108122 w 108121"/>
                <a:gd name="connsiteY0" fmla="*/ 0 h 139013"/>
                <a:gd name="connsiteX1" fmla="*/ 78388 w 108121"/>
                <a:gd name="connsiteY1" fmla="*/ 141253 h 139013"/>
                <a:gd name="connsiteX2" fmla="*/ 74218 w 108121"/>
                <a:gd name="connsiteY2" fmla="*/ 146196 h 139013"/>
                <a:gd name="connsiteX3" fmla="*/ 67730 w 108121"/>
                <a:gd name="connsiteY3" fmla="*/ 145578 h 139013"/>
                <a:gd name="connsiteX4" fmla="*/ 0 w 108121"/>
                <a:gd name="connsiteY4" fmla="*/ 100399 h 139013"/>
                <a:gd name="connsiteX5" fmla="*/ 108122 w 108121"/>
                <a:gd name="connsiteY5" fmla="*/ 0 h 139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121" h="139013">
                  <a:moveTo>
                    <a:pt x="108122" y="0"/>
                  </a:moveTo>
                  <a:lnTo>
                    <a:pt x="78388" y="141253"/>
                  </a:lnTo>
                  <a:cubicBezTo>
                    <a:pt x="77925" y="143493"/>
                    <a:pt x="76380" y="145346"/>
                    <a:pt x="74218" y="146196"/>
                  </a:cubicBezTo>
                  <a:cubicBezTo>
                    <a:pt x="72055" y="147045"/>
                    <a:pt x="69661" y="146814"/>
                    <a:pt x="67730" y="145578"/>
                  </a:cubicBezTo>
                  <a:lnTo>
                    <a:pt x="0" y="100399"/>
                  </a:lnTo>
                  <a:lnTo>
                    <a:pt x="108122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9" name="Freeform: Shape 35">
              <a:extLst>
                <a:ext uri="{FF2B5EF4-FFF2-40B4-BE49-F238E27FC236}">
                  <a16:creationId xmlns:a16="http://schemas.microsoft.com/office/drawing/2014/main" id="{E771FF9B-BFFA-1C28-F46E-0EFF2506D5A3}"/>
                </a:ext>
              </a:extLst>
            </p:cNvPr>
            <p:cNvSpPr/>
            <p:nvPr/>
          </p:nvSpPr>
          <p:spPr>
            <a:xfrm>
              <a:off x="3125169" y="1528788"/>
              <a:ext cx="23169" cy="46338"/>
            </a:xfrm>
            <a:custGeom>
              <a:avLst/>
              <a:gdLst>
                <a:gd name="connsiteX0" fmla="*/ 0 w 23168"/>
                <a:gd name="connsiteY0" fmla="*/ 0 h 46337"/>
                <a:gd name="connsiteX1" fmla="*/ 0 w 23168"/>
                <a:gd name="connsiteY1" fmla="*/ 50045 h 46337"/>
                <a:gd name="connsiteX2" fmla="*/ 2935 w 23168"/>
                <a:gd name="connsiteY2" fmla="*/ 53906 h 46337"/>
                <a:gd name="connsiteX3" fmla="*/ 7414 w 23168"/>
                <a:gd name="connsiteY3" fmla="*/ 52053 h 46337"/>
                <a:gd name="connsiteX4" fmla="*/ 27185 w 23168"/>
                <a:gd name="connsiteY4" fmla="*/ 18149 h 4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68" h="46337">
                  <a:moveTo>
                    <a:pt x="0" y="0"/>
                  </a:moveTo>
                  <a:lnTo>
                    <a:pt x="0" y="50045"/>
                  </a:lnTo>
                  <a:cubicBezTo>
                    <a:pt x="0" y="51821"/>
                    <a:pt x="1236" y="53443"/>
                    <a:pt x="2935" y="53906"/>
                  </a:cubicBezTo>
                  <a:cubicBezTo>
                    <a:pt x="4711" y="54370"/>
                    <a:pt x="6487" y="53597"/>
                    <a:pt x="7414" y="52053"/>
                  </a:cubicBezTo>
                  <a:lnTo>
                    <a:pt x="27185" y="18149"/>
                  </a:lnTo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FE631FB-9779-8C6B-0088-B4D64C7F7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08048"/>
            <a:ext cx="11277600" cy="61251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62270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147D9E0-B335-747C-F882-A596B65042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chemeClr val="accent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white dotted line in a black background&#10;&#10;Description automatically generated" hidden="1">
            <a:extLst>
              <a:ext uri="{FF2B5EF4-FFF2-40B4-BE49-F238E27FC236}">
                <a16:creationId xmlns:a16="http://schemas.microsoft.com/office/drawing/2014/main" id="{6FA78C57-9E0C-36DC-67A9-B0CF61E98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91" t="14612" r="25893" b="23024"/>
          <a:stretch/>
        </p:blipFill>
        <p:spPr>
          <a:xfrm>
            <a:off x="1" y="0"/>
            <a:ext cx="12191999" cy="6858001"/>
          </a:xfrm>
          <a:prstGeom prst="rect">
            <a:avLst/>
          </a:prstGeom>
        </p:spPr>
      </p:pic>
      <p:sp>
        <p:nvSpPr>
          <p:cNvPr id="4" name="Google Shape;204;p1">
            <a:extLst>
              <a:ext uri="{FF2B5EF4-FFF2-40B4-BE49-F238E27FC236}">
                <a16:creationId xmlns:a16="http://schemas.microsoft.com/office/drawing/2014/main" id="{9C32E1E8-1C59-B2C2-0506-96B33661DFDE}"/>
              </a:ext>
            </a:extLst>
          </p:cNvPr>
          <p:cNvSpPr txBox="1"/>
          <p:nvPr userDrawn="1"/>
        </p:nvSpPr>
        <p:spPr>
          <a:xfrm>
            <a:off x="5033963" y="4896426"/>
            <a:ext cx="6767512" cy="1323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Segoe UI" panose="020B0502040204020203" pitchFamily="34" charset="0"/>
              <a:buNone/>
            </a:pPr>
            <a:r>
              <a:rPr lang="en-GB" sz="8000" b="1" i="0" u="none" strike="noStrike" cap="none">
                <a:solidFill>
                  <a:schemeClr val="accent1"/>
                </a:solidFill>
                <a:latin typeface="+mj-lt"/>
                <a:sym typeface="Segoe UI" panose="020B0502040204020203" pitchFamily="34" charset="0"/>
              </a:rPr>
              <a:t>Thank you </a:t>
            </a:r>
          </a:p>
        </p:txBody>
      </p:sp>
      <p:pic>
        <p:nvPicPr>
          <p:cNvPr id="6" name="Picture 5" descr="A white dotted line in a black background&#10;&#10;Description automatically generated">
            <a:extLst>
              <a:ext uri="{FF2B5EF4-FFF2-40B4-BE49-F238E27FC236}">
                <a16:creationId xmlns:a16="http://schemas.microsoft.com/office/drawing/2014/main" id="{19A4B9CA-DA9C-E0FA-C18E-B3C5648C8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91" t="14612" r="25893" b="23024"/>
          <a:stretch/>
        </p:blipFill>
        <p:spPr>
          <a:xfrm>
            <a:off x="0" y="0"/>
            <a:ext cx="12191999" cy="6858001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893013E-A71E-3E8F-A32F-785E6DA8DB7F}"/>
              </a:ext>
            </a:extLst>
          </p:cNvPr>
          <p:cNvGrpSpPr/>
          <p:nvPr userDrawn="1"/>
        </p:nvGrpSpPr>
        <p:grpSpPr>
          <a:xfrm>
            <a:off x="459579" y="685800"/>
            <a:ext cx="2653292" cy="1125639"/>
            <a:chOff x="27671456" y="-6603999"/>
            <a:chExt cx="11892864" cy="5015951"/>
          </a:xfrm>
        </p:grpSpPr>
        <p:sp>
          <p:nvSpPr>
            <p:cNvPr id="15" name="Free-form: Shape 14">
              <a:extLst>
                <a:ext uri="{FF2B5EF4-FFF2-40B4-BE49-F238E27FC236}">
                  <a16:creationId xmlns:a16="http://schemas.microsoft.com/office/drawing/2014/main" id="{68DC257F-9E4B-FDD6-529D-47CDB579A548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6" name="Free-form: Shape 15">
              <a:extLst>
                <a:ext uri="{FF2B5EF4-FFF2-40B4-BE49-F238E27FC236}">
                  <a16:creationId xmlns:a16="http://schemas.microsoft.com/office/drawing/2014/main" id="{02EBF81C-1486-51A8-3562-D1B0003252D1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7" name="Free-form: Shape 16">
              <a:extLst>
                <a:ext uri="{FF2B5EF4-FFF2-40B4-BE49-F238E27FC236}">
                  <a16:creationId xmlns:a16="http://schemas.microsoft.com/office/drawing/2014/main" id="{BA61ED93-55A6-BAD7-A16B-C0BBDBAB7753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8" name="Free-form: Shape 17">
              <a:extLst>
                <a:ext uri="{FF2B5EF4-FFF2-40B4-BE49-F238E27FC236}">
                  <a16:creationId xmlns:a16="http://schemas.microsoft.com/office/drawing/2014/main" id="{E2D8CBC1-2885-D4C0-641E-A598E3774398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2275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26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oleObject" Target="../embeddings/oleObject13.bin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70.xml"/><Relationship Id="rId47" Type="http://schemas.openxmlformats.org/officeDocument/2006/relationships/slideLayout" Target="../slideLayouts/slideLayout75.xml"/><Relationship Id="rId63" Type="http://schemas.openxmlformats.org/officeDocument/2006/relationships/slideLayout" Target="../slideLayouts/slideLayout91.xml"/><Relationship Id="rId68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slideLayout" Target="../slideLayouts/slideLayout65.xml"/><Relationship Id="rId40" Type="http://schemas.openxmlformats.org/officeDocument/2006/relationships/slideLayout" Target="../slideLayouts/slideLayout68.xml"/><Relationship Id="rId45" Type="http://schemas.openxmlformats.org/officeDocument/2006/relationships/slideLayout" Target="../slideLayouts/slideLayout73.xml"/><Relationship Id="rId53" Type="http://schemas.openxmlformats.org/officeDocument/2006/relationships/slideLayout" Target="../slideLayouts/slideLayout81.xml"/><Relationship Id="rId58" Type="http://schemas.openxmlformats.org/officeDocument/2006/relationships/slideLayout" Target="../slideLayouts/slideLayout86.xml"/><Relationship Id="rId66" Type="http://schemas.openxmlformats.org/officeDocument/2006/relationships/slideLayout" Target="../slideLayouts/slideLayout94.xml"/><Relationship Id="rId7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33.xml"/><Relationship Id="rId61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43" Type="http://schemas.openxmlformats.org/officeDocument/2006/relationships/slideLayout" Target="../slideLayouts/slideLayout71.xml"/><Relationship Id="rId48" Type="http://schemas.openxmlformats.org/officeDocument/2006/relationships/slideLayout" Target="../slideLayouts/slideLayout76.xml"/><Relationship Id="rId56" Type="http://schemas.openxmlformats.org/officeDocument/2006/relationships/slideLayout" Target="../slideLayouts/slideLayout84.xml"/><Relationship Id="rId64" Type="http://schemas.openxmlformats.org/officeDocument/2006/relationships/slideLayout" Target="../slideLayouts/slideLayout92.xml"/><Relationship Id="rId69" Type="http://schemas.openxmlformats.org/officeDocument/2006/relationships/slideLayout" Target="../slideLayouts/slideLayout97.xml"/><Relationship Id="rId77" Type="http://schemas.openxmlformats.org/officeDocument/2006/relationships/oleObject" Target="../embeddings/oleObject21.bin"/><Relationship Id="rId8" Type="http://schemas.openxmlformats.org/officeDocument/2006/relationships/slideLayout" Target="../slideLayouts/slideLayout36.xml"/><Relationship Id="rId51" Type="http://schemas.openxmlformats.org/officeDocument/2006/relationships/slideLayout" Target="../slideLayouts/slideLayout79.xml"/><Relationship Id="rId72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slideLayout" Target="../slideLayouts/slideLayout66.xml"/><Relationship Id="rId46" Type="http://schemas.openxmlformats.org/officeDocument/2006/relationships/slideLayout" Target="../slideLayouts/slideLayout74.xml"/><Relationship Id="rId59" Type="http://schemas.openxmlformats.org/officeDocument/2006/relationships/slideLayout" Target="../slideLayouts/slideLayout87.xml"/><Relationship Id="rId67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69.xml"/><Relationship Id="rId54" Type="http://schemas.openxmlformats.org/officeDocument/2006/relationships/slideLayout" Target="../slideLayouts/slideLayout82.xml"/><Relationship Id="rId62" Type="http://schemas.openxmlformats.org/officeDocument/2006/relationships/slideLayout" Target="../slideLayouts/slideLayout90.xml"/><Relationship Id="rId70" Type="http://schemas.openxmlformats.org/officeDocument/2006/relationships/slideLayout" Target="../slideLayouts/slideLayout98.xml"/><Relationship Id="rId75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slideLayout" Target="../slideLayouts/slideLayout64.xml"/><Relationship Id="rId49" Type="http://schemas.openxmlformats.org/officeDocument/2006/relationships/slideLayout" Target="../slideLayouts/slideLayout77.xml"/><Relationship Id="rId57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9.xml"/><Relationship Id="rId44" Type="http://schemas.openxmlformats.org/officeDocument/2006/relationships/slideLayout" Target="../slideLayouts/slideLayout72.xml"/><Relationship Id="rId52" Type="http://schemas.openxmlformats.org/officeDocument/2006/relationships/slideLayout" Target="../slideLayouts/slideLayout80.xml"/><Relationship Id="rId60" Type="http://schemas.openxmlformats.org/officeDocument/2006/relationships/slideLayout" Target="../slideLayouts/slideLayout88.xml"/><Relationship Id="rId65" Type="http://schemas.openxmlformats.org/officeDocument/2006/relationships/slideLayout" Target="../slideLayouts/slideLayout93.xml"/><Relationship Id="rId73" Type="http://schemas.openxmlformats.org/officeDocument/2006/relationships/slideLayout" Target="../slideLayouts/slideLayout101.xml"/><Relationship Id="rId78" Type="http://schemas.openxmlformats.org/officeDocument/2006/relationships/image" Target="../media/image18.emf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9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62.xml"/><Relationship Id="rId50" Type="http://schemas.openxmlformats.org/officeDocument/2006/relationships/slideLayout" Target="../slideLayouts/slideLayout78.xml"/><Relationship Id="rId55" Type="http://schemas.openxmlformats.org/officeDocument/2006/relationships/slideLayout" Target="../slideLayouts/slideLayout83.xml"/><Relationship Id="rId76" Type="http://schemas.openxmlformats.org/officeDocument/2006/relationships/tags" Target="../tags/tag35.xml"/><Relationship Id="rId7" Type="http://schemas.openxmlformats.org/officeDocument/2006/relationships/slideLayout" Target="../slideLayouts/slideLayout35.xml"/><Relationship Id="rId71" Type="http://schemas.openxmlformats.org/officeDocument/2006/relationships/slideLayout" Target="../slideLayouts/slideLayout99.xml"/><Relationship Id="rId2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D67EA59-DC99-3AAF-AE9C-927D445C850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071237" y="6642100"/>
            <a:ext cx="21256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E" sz="1000">
                <a:solidFill>
                  <a:srgbClr val="FF6600">
                    <a:alpha val="50000"/>
                  </a:srgbClr>
                </a:solidFill>
                <a:latin typeface="Aptos" panose="020B0004020202020204" pitchFamily="34" charset="0"/>
              </a:rPr>
              <a:t>Document Classified as: Confidential  </a:t>
            </a:r>
          </a:p>
        </p:txBody>
      </p:sp>
    </p:spTree>
    <p:extLst>
      <p:ext uri="{BB962C8B-B14F-4D97-AF65-F5344CB8AC3E}">
        <p14:creationId xmlns:p14="http://schemas.microsoft.com/office/powerpoint/2010/main" val="222185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702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7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5657B8-EBB1-2617-D84B-DF272B7FF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96325229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657B8-EBB1-2617-D84B-DF272B7FF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object 37">
            <a:extLst>
              <a:ext uri="{FF2B5EF4-FFF2-40B4-BE49-F238E27FC236}">
                <a16:creationId xmlns:a16="http://schemas.microsoft.com/office/drawing/2014/main" id="{776CA753-87E3-5B47-A922-F882F14A84EB}"/>
              </a:ext>
            </a:extLst>
          </p:cNvPr>
          <p:cNvSpPr txBox="1"/>
          <p:nvPr userDrawn="1"/>
        </p:nvSpPr>
        <p:spPr>
          <a:xfrm>
            <a:off x="11187842" y="6391628"/>
            <a:ext cx="525615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668" algn="r" rtl="0">
              <a:lnSpc>
                <a:spcPts val="2145"/>
              </a:lnSpc>
            </a:pPr>
            <a:r>
              <a:rPr lang="en-US" sz="1873" spc="7">
                <a:solidFill>
                  <a:schemeClr val="bg1"/>
                </a:solidFill>
                <a:latin typeface="Arial"/>
                <a:cs typeface="Arial"/>
              </a:rPr>
              <a:t>tii.ae</a:t>
            </a:r>
            <a:endParaRPr lang="en-US" sz="187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2" name="Title Placeholder 110">
            <a:extLst>
              <a:ext uri="{FF2B5EF4-FFF2-40B4-BE49-F238E27FC236}">
                <a16:creationId xmlns:a16="http://schemas.microsoft.com/office/drawing/2014/main" id="{63BAE5F2-023D-C045-AFA8-B75BC2F00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208200"/>
            <a:ext cx="7492800" cy="441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1034D0-3CA0-9D42-B712-410898AC59D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633" y="483716"/>
            <a:ext cx="1828800" cy="101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C30D630-47CD-C9FF-8B8F-6B19A2AC583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071237" y="6642100"/>
            <a:ext cx="21256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E" sz="1000">
                <a:solidFill>
                  <a:srgbClr val="FF6600">
                    <a:alpha val="50000"/>
                  </a:srgbClr>
                </a:solidFill>
                <a:latin typeface="Aptos" panose="020B0004020202020204" pitchFamily="34" charset="0"/>
              </a:rPr>
              <a:t>Document Classified as: Confidential  </a:t>
            </a:r>
          </a:p>
        </p:txBody>
      </p:sp>
    </p:spTree>
    <p:extLst>
      <p:ext uri="{BB962C8B-B14F-4D97-AF65-F5344CB8AC3E}">
        <p14:creationId xmlns:p14="http://schemas.microsoft.com/office/powerpoint/2010/main" val="345812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985" r:id="rId10"/>
    <p:sldLayoutId id="2147483986" r:id="rId11"/>
  </p:sldLayoutIdLst>
  <p:txStyles>
    <p:titleStyle>
      <a:lvl1pPr rtl="0">
        <a:defRPr sz="2484" b="1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0538" indent="0">
        <a:tabLst/>
        <a:defRPr sz="2469" b="1">
          <a:solidFill>
            <a:srgbClr val="8EE2DC"/>
          </a:solidFill>
          <a:latin typeface="+mn-lt"/>
          <a:ea typeface="+mn-ea"/>
          <a:cs typeface="+mn-cs"/>
        </a:defRPr>
      </a:lvl1pPr>
      <a:lvl2pPr marL="10538" indent="0">
        <a:tabLst/>
        <a:defRPr sz="2469" b="0">
          <a:latin typeface="+mn-lt"/>
          <a:ea typeface="+mn-ea"/>
          <a:cs typeface="+mn-cs"/>
        </a:defRPr>
      </a:lvl2pPr>
      <a:lvl3pPr marL="10538" indent="0">
        <a:tabLst/>
        <a:defRPr sz="2469" b="0">
          <a:latin typeface="+mn-lt"/>
          <a:ea typeface="+mn-ea"/>
          <a:cs typeface="+mn-cs"/>
        </a:defRPr>
      </a:lvl3pPr>
      <a:lvl4pPr marL="10538" indent="0">
        <a:tabLst/>
        <a:defRPr sz="2469" b="0">
          <a:latin typeface="+mn-lt"/>
          <a:ea typeface="+mn-ea"/>
          <a:cs typeface="+mn-cs"/>
        </a:defRPr>
      </a:lvl4pPr>
      <a:lvl5pPr marL="10538" indent="0">
        <a:tabLst/>
        <a:defRPr sz="2469" b="0">
          <a:latin typeface="+mn-lt"/>
          <a:ea typeface="+mn-ea"/>
          <a:cs typeface="+mn-cs"/>
        </a:defRPr>
      </a:lvl5pPr>
      <a:lvl6pPr marL="1380167">
        <a:defRPr>
          <a:latin typeface="+mn-lt"/>
          <a:ea typeface="+mn-ea"/>
          <a:cs typeface="+mn-cs"/>
        </a:defRPr>
      </a:lvl6pPr>
      <a:lvl7pPr marL="1656199">
        <a:defRPr>
          <a:latin typeface="+mn-lt"/>
          <a:ea typeface="+mn-ea"/>
          <a:cs typeface="+mn-cs"/>
        </a:defRPr>
      </a:lvl7pPr>
      <a:lvl8pPr marL="1932233">
        <a:defRPr>
          <a:latin typeface="+mn-lt"/>
          <a:ea typeface="+mn-ea"/>
          <a:cs typeface="+mn-cs"/>
        </a:defRPr>
      </a:lvl8pPr>
      <a:lvl9pPr marL="2208265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6033">
        <a:defRPr>
          <a:latin typeface="+mn-lt"/>
          <a:ea typeface="+mn-ea"/>
          <a:cs typeface="+mn-cs"/>
        </a:defRPr>
      </a:lvl2pPr>
      <a:lvl3pPr marL="552068">
        <a:defRPr>
          <a:latin typeface="+mn-lt"/>
          <a:ea typeface="+mn-ea"/>
          <a:cs typeface="+mn-cs"/>
        </a:defRPr>
      </a:lvl3pPr>
      <a:lvl4pPr marL="828101">
        <a:defRPr>
          <a:latin typeface="+mn-lt"/>
          <a:ea typeface="+mn-ea"/>
          <a:cs typeface="+mn-cs"/>
        </a:defRPr>
      </a:lvl4pPr>
      <a:lvl5pPr marL="1104135">
        <a:defRPr>
          <a:latin typeface="+mn-lt"/>
          <a:ea typeface="+mn-ea"/>
          <a:cs typeface="+mn-cs"/>
        </a:defRPr>
      </a:lvl5pPr>
      <a:lvl6pPr marL="1380167">
        <a:defRPr>
          <a:latin typeface="+mn-lt"/>
          <a:ea typeface="+mn-ea"/>
          <a:cs typeface="+mn-cs"/>
        </a:defRPr>
      </a:lvl6pPr>
      <a:lvl7pPr marL="1656199">
        <a:defRPr>
          <a:latin typeface="+mn-lt"/>
          <a:ea typeface="+mn-ea"/>
          <a:cs typeface="+mn-cs"/>
        </a:defRPr>
      </a:lvl7pPr>
      <a:lvl8pPr marL="1932233">
        <a:defRPr>
          <a:latin typeface="+mn-lt"/>
          <a:ea typeface="+mn-ea"/>
          <a:cs typeface="+mn-cs"/>
        </a:defRPr>
      </a:lvl8pPr>
      <a:lvl9pPr marL="2208265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BD377C3-13E5-9CAC-609B-B7E73C18B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175296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473" imgH="473" progId="TCLayout.ActiveDocument.1">
                  <p:embed/>
                </p:oleObj>
              </mc:Choice>
              <mc:Fallback>
                <p:oleObj name="think-cell Slide" r:id="rId77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D377C3-13E5-9CAC-609B-B7E73C18B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2B68C3F-2FF8-9A49-1CE1-80DCDFA0A4D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7000">
                <a:schemeClr val="bg1"/>
              </a:gs>
              <a:gs pos="0">
                <a:srgbClr val="ECF2FA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B21BAB-6F28-E449-6542-16E146366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90957"/>
            <a:ext cx="11277600" cy="105727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3C2EA-776A-7BCA-58A5-0C283A39F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36914"/>
            <a:ext cx="11277600" cy="474004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8D24C5-9F33-1F0C-7400-71AB79637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7878A5-B76E-AA7D-4FD4-8CF6B23FC8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91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8C90823-23BA-4DA3-8E31-B1F1283F24D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0406E2E-D80F-7430-F709-D94CB8260D05}"/>
              </a:ext>
            </a:extLst>
          </p:cNvPr>
          <p:cNvGrpSpPr/>
          <p:nvPr userDrawn="1"/>
        </p:nvGrpSpPr>
        <p:grpSpPr>
          <a:xfrm>
            <a:off x="10989532" y="185738"/>
            <a:ext cx="745268" cy="314324"/>
            <a:chOff x="27671456" y="-6603999"/>
            <a:chExt cx="11892864" cy="5015951"/>
          </a:xfrm>
        </p:grpSpPr>
        <p:sp>
          <p:nvSpPr>
            <p:cNvPr id="14" name="Free-form: Shape 13">
              <a:extLst>
                <a:ext uri="{FF2B5EF4-FFF2-40B4-BE49-F238E27FC236}">
                  <a16:creationId xmlns:a16="http://schemas.microsoft.com/office/drawing/2014/main" id="{FAFB5192-BEF0-E910-3878-07CE55CF65C6}"/>
                </a:ext>
              </a:extLst>
            </p:cNvPr>
            <p:cNvSpPr/>
            <p:nvPr/>
          </p:nvSpPr>
          <p:spPr>
            <a:xfrm>
              <a:off x="32989559" y="-6585848"/>
              <a:ext cx="1002549" cy="4997800"/>
            </a:xfrm>
            <a:custGeom>
              <a:avLst/>
              <a:gdLst>
                <a:gd name="connsiteX0" fmla="*/ 0 w 1002549"/>
                <a:gd name="connsiteY0" fmla="*/ 0 h 4997800"/>
                <a:gd name="connsiteX1" fmla="*/ 1002549 w 1002549"/>
                <a:gd name="connsiteY1" fmla="*/ 0 h 4997800"/>
                <a:gd name="connsiteX2" fmla="*/ 1002549 w 1002549"/>
                <a:gd name="connsiteY2" fmla="*/ 4997800 h 4997800"/>
                <a:gd name="connsiteX3" fmla="*/ 0 w 1002549"/>
                <a:gd name="connsiteY3" fmla="*/ 4997800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549" h="4997800">
                  <a:moveTo>
                    <a:pt x="0" y="0"/>
                  </a:moveTo>
                  <a:lnTo>
                    <a:pt x="1002549" y="0"/>
                  </a:lnTo>
                  <a:lnTo>
                    <a:pt x="1002549" y="4997800"/>
                  </a:lnTo>
                  <a:lnTo>
                    <a:pt x="0" y="499780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5" name="Free-form: Shape 14">
              <a:extLst>
                <a:ext uri="{FF2B5EF4-FFF2-40B4-BE49-F238E27FC236}">
                  <a16:creationId xmlns:a16="http://schemas.microsoft.com/office/drawing/2014/main" id="{A4486B2D-C4EF-929D-4533-81A49821000B}"/>
                </a:ext>
              </a:extLst>
            </p:cNvPr>
            <p:cNvSpPr/>
            <p:nvPr/>
          </p:nvSpPr>
          <p:spPr>
            <a:xfrm>
              <a:off x="34548369" y="-6603999"/>
              <a:ext cx="3419060" cy="5015950"/>
            </a:xfrm>
            <a:custGeom>
              <a:avLst/>
              <a:gdLst>
                <a:gd name="connsiteX0" fmla="*/ 3419060 w 3419060"/>
                <a:gd name="connsiteY0" fmla="*/ 717480 h 5015950"/>
                <a:gd name="connsiteX1" fmla="*/ 1532118 w 3419060"/>
                <a:gd name="connsiteY1" fmla="*/ 5015951 h 5015950"/>
                <a:gd name="connsiteX2" fmla="*/ 524942 w 3419060"/>
                <a:gd name="connsiteY2" fmla="*/ 5015951 h 5015950"/>
                <a:gd name="connsiteX3" fmla="*/ 2426120 w 3419060"/>
                <a:gd name="connsiteY3" fmla="*/ 827806 h 5015950"/>
                <a:gd name="connsiteX4" fmla="*/ 0 w 3419060"/>
                <a:gd name="connsiteY4" fmla="*/ 827806 h 5015950"/>
                <a:gd name="connsiteX5" fmla="*/ 0 w 3419060"/>
                <a:gd name="connsiteY5" fmla="*/ 0 h 5015950"/>
                <a:gd name="connsiteX6" fmla="*/ 3419060 w 3419060"/>
                <a:gd name="connsiteY6" fmla="*/ 0 h 5015950"/>
                <a:gd name="connsiteX7" fmla="*/ 3419060 w 3419060"/>
                <a:gd name="connsiteY7" fmla="*/ 717480 h 50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9060" h="5015950">
                  <a:moveTo>
                    <a:pt x="3419060" y="717480"/>
                  </a:moveTo>
                  <a:lnTo>
                    <a:pt x="1532118" y="5015951"/>
                  </a:lnTo>
                  <a:lnTo>
                    <a:pt x="524942" y="5015951"/>
                  </a:lnTo>
                  <a:lnTo>
                    <a:pt x="2426120" y="827806"/>
                  </a:lnTo>
                  <a:lnTo>
                    <a:pt x="0" y="827806"/>
                  </a:lnTo>
                  <a:lnTo>
                    <a:pt x="0" y="0"/>
                  </a:lnTo>
                  <a:lnTo>
                    <a:pt x="3419060" y="0"/>
                  </a:lnTo>
                  <a:lnTo>
                    <a:pt x="3419060" y="717480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6" name="Free-form: Shape 15">
              <a:extLst>
                <a:ext uri="{FF2B5EF4-FFF2-40B4-BE49-F238E27FC236}">
                  <a16:creationId xmlns:a16="http://schemas.microsoft.com/office/drawing/2014/main" id="{CAD7A008-B1D9-3172-AD14-58E9E0741AB6}"/>
                </a:ext>
              </a:extLst>
            </p:cNvPr>
            <p:cNvSpPr/>
            <p:nvPr/>
          </p:nvSpPr>
          <p:spPr>
            <a:xfrm>
              <a:off x="38533655" y="-6600795"/>
              <a:ext cx="1030665" cy="4997800"/>
            </a:xfrm>
            <a:custGeom>
              <a:avLst/>
              <a:gdLst>
                <a:gd name="connsiteX0" fmla="*/ 0 w 1030665"/>
                <a:gd name="connsiteY0" fmla="*/ 0 h 4997800"/>
                <a:gd name="connsiteX1" fmla="*/ 1030664 w 1030665"/>
                <a:gd name="connsiteY1" fmla="*/ 0 h 4997800"/>
                <a:gd name="connsiteX2" fmla="*/ 1030664 w 1030665"/>
                <a:gd name="connsiteY2" fmla="*/ 4997801 h 4997800"/>
                <a:gd name="connsiteX3" fmla="*/ 0 w 1030665"/>
                <a:gd name="connsiteY3" fmla="*/ 4997801 h 49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0665" h="4997800">
                  <a:moveTo>
                    <a:pt x="0" y="0"/>
                  </a:moveTo>
                  <a:lnTo>
                    <a:pt x="1030664" y="0"/>
                  </a:lnTo>
                  <a:lnTo>
                    <a:pt x="1030664" y="4997801"/>
                  </a:lnTo>
                  <a:lnTo>
                    <a:pt x="0" y="4997801"/>
                  </a:lnTo>
                  <a:close/>
                </a:path>
              </a:pathLst>
            </a:custGeom>
            <a:solidFill>
              <a:srgbClr val="4A8FE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  <p:sp>
          <p:nvSpPr>
            <p:cNvPr id="17" name="Free-form: Shape 16">
              <a:extLst>
                <a:ext uri="{FF2B5EF4-FFF2-40B4-BE49-F238E27FC236}">
                  <a16:creationId xmlns:a16="http://schemas.microsoft.com/office/drawing/2014/main" id="{6CBE488F-7DC3-3FA4-8EF0-0AE708302556}"/>
                </a:ext>
              </a:extLst>
            </p:cNvPr>
            <p:cNvSpPr/>
            <p:nvPr/>
          </p:nvSpPr>
          <p:spPr>
            <a:xfrm>
              <a:off x="27671456" y="-6592966"/>
              <a:ext cx="4761487" cy="5004918"/>
            </a:xfrm>
            <a:custGeom>
              <a:avLst/>
              <a:gdLst>
                <a:gd name="connsiteX0" fmla="*/ 2964230 w 4761487"/>
                <a:gd name="connsiteY0" fmla="*/ 0 h 5004918"/>
                <a:gd name="connsiteX1" fmla="*/ 1797258 w 4761487"/>
                <a:gd name="connsiteY1" fmla="*/ 0 h 5004918"/>
                <a:gd name="connsiteX2" fmla="*/ 0 w 4761487"/>
                <a:gd name="connsiteY2" fmla="*/ 5004918 h 5004918"/>
                <a:gd name="connsiteX3" fmla="*/ 1052375 w 4761487"/>
                <a:gd name="connsiteY3" fmla="*/ 5004918 h 5004918"/>
                <a:gd name="connsiteX4" fmla="*/ 1381931 w 4761487"/>
                <a:gd name="connsiteY4" fmla="*/ 4052549 h 5004918"/>
                <a:gd name="connsiteX5" fmla="*/ 1384066 w 4761487"/>
                <a:gd name="connsiteY5" fmla="*/ 4052549 h 5004918"/>
                <a:gd name="connsiteX6" fmla="*/ 1660239 w 4761487"/>
                <a:gd name="connsiteY6" fmla="*/ 3250723 h 5004918"/>
                <a:gd name="connsiteX7" fmla="*/ 1653833 w 4761487"/>
                <a:gd name="connsiteY7" fmla="*/ 3250723 h 5004918"/>
                <a:gd name="connsiteX8" fmla="*/ 2377007 w 4761487"/>
                <a:gd name="connsiteY8" fmla="*/ 1159854 h 5004918"/>
                <a:gd name="connsiteX9" fmla="*/ 2378786 w 4761487"/>
                <a:gd name="connsiteY9" fmla="*/ 1165192 h 5004918"/>
                <a:gd name="connsiteX10" fmla="*/ 2380566 w 4761487"/>
                <a:gd name="connsiteY10" fmla="*/ 1159854 h 5004918"/>
                <a:gd name="connsiteX11" fmla="*/ 3705198 w 4761487"/>
                <a:gd name="connsiteY11" fmla="*/ 5004918 h 5004918"/>
                <a:gd name="connsiteX12" fmla="*/ 4761488 w 4761487"/>
                <a:gd name="connsiteY12" fmla="*/ 5004918 h 5004918"/>
                <a:gd name="connsiteX13" fmla="*/ 2964230 w 4761487"/>
                <a:gd name="connsiteY13" fmla="*/ 0 h 500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1487" h="5004918">
                  <a:moveTo>
                    <a:pt x="2964230" y="0"/>
                  </a:moveTo>
                  <a:lnTo>
                    <a:pt x="1797258" y="0"/>
                  </a:lnTo>
                  <a:lnTo>
                    <a:pt x="0" y="5004918"/>
                  </a:lnTo>
                  <a:lnTo>
                    <a:pt x="1052375" y="5004918"/>
                  </a:lnTo>
                  <a:lnTo>
                    <a:pt x="1381931" y="4052549"/>
                  </a:lnTo>
                  <a:lnTo>
                    <a:pt x="1384066" y="4052549"/>
                  </a:lnTo>
                  <a:lnTo>
                    <a:pt x="1660239" y="3250723"/>
                  </a:lnTo>
                  <a:lnTo>
                    <a:pt x="1653833" y="3250723"/>
                  </a:lnTo>
                  <a:lnTo>
                    <a:pt x="2377007" y="1159854"/>
                  </a:lnTo>
                  <a:lnTo>
                    <a:pt x="2378786" y="1165192"/>
                  </a:lnTo>
                  <a:lnTo>
                    <a:pt x="2380566" y="1159854"/>
                  </a:lnTo>
                  <a:lnTo>
                    <a:pt x="3705198" y="5004918"/>
                  </a:lnTo>
                  <a:lnTo>
                    <a:pt x="4761488" y="5004918"/>
                  </a:lnTo>
                  <a:lnTo>
                    <a:pt x="2964230" y="0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3467860" rtl="0" eaLnBrk="1" fontAlgn="auto" latinLnBrk="0" hangingPunct="0">
                <a:lnSpc>
                  <a:spcPct val="90000"/>
                </a:lnSpc>
                <a:spcBef>
                  <a:spcPts val="6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/>
                <a:sym typeface="Segoe UI" panose="020B0502040204020203" pitchFamily="34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9525332-034B-0C56-3E14-DF921C008DF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071237" y="6642100"/>
            <a:ext cx="21256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E" sz="1000">
                <a:solidFill>
                  <a:srgbClr val="FF6600">
                    <a:alpha val="50000"/>
                  </a:srgbClr>
                </a:solidFill>
                <a:latin typeface="Aptos" panose="020B0004020202020204" pitchFamily="34" charset="0"/>
              </a:rPr>
              <a:t>Document Classified as: Confidential  </a:t>
            </a:r>
          </a:p>
        </p:txBody>
      </p:sp>
    </p:spTree>
    <p:extLst>
      <p:ext uri="{BB962C8B-B14F-4D97-AF65-F5344CB8AC3E}">
        <p14:creationId xmlns:p14="http://schemas.microsoft.com/office/powerpoint/2010/main" val="3108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  <p:sldLayoutId id="2147484005" r:id="rId18"/>
    <p:sldLayoutId id="2147484006" r:id="rId19"/>
    <p:sldLayoutId id="2147484007" r:id="rId20"/>
    <p:sldLayoutId id="2147484008" r:id="rId21"/>
    <p:sldLayoutId id="2147484009" r:id="rId22"/>
    <p:sldLayoutId id="2147484010" r:id="rId23"/>
    <p:sldLayoutId id="2147484011" r:id="rId24"/>
    <p:sldLayoutId id="2147484012" r:id="rId25"/>
    <p:sldLayoutId id="2147484013" r:id="rId26"/>
    <p:sldLayoutId id="2147484014" r:id="rId27"/>
    <p:sldLayoutId id="2147484015" r:id="rId28"/>
    <p:sldLayoutId id="2147484016" r:id="rId29"/>
    <p:sldLayoutId id="2147484017" r:id="rId30"/>
    <p:sldLayoutId id="2147484018" r:id="rId31"/>
    <p:sldLayoutId id="2147484019" r:id="rId32"/>
    <p:sldLayoutId id="2147484020" r:id="rId33"/>
    <p:sldLayoutId id="2147484021" r:id="rId34"/>
    <p:sldLayoutId id="2147484022" r:id="rId35"/>
    <p:sldLayoutId id="2147484023" r:id="rId36"/>
    <p:sldLayoutId id="2147484024" r:id="rId37"/>
    <p:sldLayoutId id="2147484025" r:id="rId38"/>
    <p:sldLayoutId id="2147484026" r:id="rId39"/>
    <p:sldLayoutId id="2147484027" r:id="rId40"/>
    <p:sldLayoutId id="2147484028" r:id="rId41"/>
    <p:sldLayoutId id="2147484029" r:id="rId42"/>
    <p:sldLayoutId id="2147484030" r:id="rId43"/>
    <p:sldLayoutId id="2147484031" r:id="rId44"/>
    <p:sldLayoutId id="2147484032" r:id="rId45"/>
    <p:sldLayoutId id="2147484033" r:id="rId46"/>
    <p:sldLayoutId id="2147484034" r:id="rId47"/>
    <p:sldLayoutId id="2147484035" r:id="rId48"/>
    <p:sldLayoutId id="2147484036" r:id="rId49"/>
    <p:sldLayoutId id="2147484037" r:id="rId50"/>
    <p:sldLayoutId id="2147484038" r:id="rId51"/>
    <p:sldLayoutId id="2147484039" r:id="rId52"/>
    <p:sldLayoutId id="2147484040" r:id="rId53"/>
    <p:sldLayoutId id="2147484041" r:id="rId54"/>
    <p:sldLayoutId id="2147484042" r:id="rId55"/>
    <p:sldLayoutId id="2147484043" r:id="rId56"/>
    <p:sldLayoutId id="2147484044" r:id="rId57"/>
    <p:sldLayoutId id="2147484045" r:id="rId58"/>
    <p:sldLayoutId id="2147484046" r:id="rId59"/>
    <p:sldLayoutId id="2147484047" r:id="rId60"/>
    <p:sldLayoutId id="2147484048" r:id="rId61"/>
    <p:sldLayoutId id="2147484049" r:id="rId62"/>
    <p:sldLayoutId id="2147484050" r:id="rId63"/>
    <p:sldLayoutId id="2147484051" r:id="rId64"/>
    <p:sldLayoutId id="2147484052" r:id="rId65"/>
    <p:sldLayoutId id="2147484053" r:id="rId66"/>
    <p:sldLayoutId id="2147484054" r:id="rId67"/>
    <p:sldLayoutId id="2147484055" r:id="rId68"/>
    <p:sldLayoutId id="2147484056" r:id="rId69"/>
    <p:sldLayoutId id="2147484057" r:id="rId70"/>
    <p:sldLayoutId id="2147484058" r:id="rId71"/>
    <p:sldLayoutId id="2147484059" r:id="rId72"/>
    <p:sldLayoutId id="2147484060" r:id="rId73"/>
    <p:sldLayoutId id="2147484061" r:id="rId7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Segoe UI" panose="020B0502040204020203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88">
          <p15:clr>
            <a:srgbClr val="F26B43"/>
          </p15:clr>
        </p15:guide>
        <p15:guide id="4" pos="2608">
          <p15:clr>
            <a:srgbClr val="F26B43"/>
          </p15:clr>
        </p15:guide>
        <p15:guide id="5" pos="2680">
          <p15:clr>
            <a:srgbClr val="F26B43"/>
          </p15:clr>
        </p15:guide>
        <p15:guide id="6" pos="5000">
          <p15:clr>
            <a:srgbClr val="F26B43"/>
          </p15:clr>
        </p15:guide>
        <p15:guide id="7" pos="5072">
          <p15:clr>
            <a:srgbClr val="F26B43"/>
          </p15:clr>
        </p15:guide>
        <p15:guide id="8" pos="7392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orient="horz" pos="436">
          <p15:clr>
            <a:srgbClr val="F26B43"/>
          </p15:clr>
        </p15:guide>
        <p15:guide id="12" orient="horz" pos="1548">
          <p15:clr>
            <a:srgbClr val="F26B43"/>
          </p15:clr>
        </p15:guide>
        <p15:guide id="13" orient="horz" pos="1661">
          <p15:clr>
            <a:srgbClr val="F26B43"/>
          </p15:clr>
        </p15:guide>
        <p15:guide id="14" orient="horz" pos="2704">
          <p15:clr>
            <a:srgbClr val="F26B43"/>
          </p15:clr>
        </p15:guide>
        <p15:guide id="15" orient="horz" pos="2784">
          <p15:clr>
            <a:srgbClr val="F26B43"/>
          </p15:clr>
        </p15:guide>
        <p15:guide id="16" orient="horz" pos="3884">
          <p15:clr>
            <a:srgbClr val="F26B43"/>
          </p15:clr>
        </p15:guide>
        <p15:guide id="17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58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5.png"/><Relationship Id="rId10" Type="http://schemas.openxmlformats.org/officeDocument/2006/relationships/image" Target="../media/image81.png"/><Relationship Id="rId4" Type="http://schemas.openxmlformats.org/officeDocument/2006/relationships/image" Target="../media/image44.png"/><Relationship Id="rId9" Type="http://schemas.openxmlformats.org/officeDocument/2006/relationships/image" Target="../media/image6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2.png"/><Relationship Id="rId5" Type="http://schemas.openxmlformats.org/officeDocument/2006/relationships/image" Target="../media/image43.png"/><Relationship Id="rId4" Type="http://schemas.openxmlformats.org/officeDocument/2006/relationships/image" Target="../media/image45.png"/><Relationship Id="rId9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5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6.png"/><Relationship Id="rId5" Type="http://schemas.openxmlformats.org/officeDocument/2006/relationships/image" Target="../media/image43.pn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2.png"/><Relationship Id="rId5" Type="http://schemas.openxmlformats.org/officeDocument/2006/relationships/image" Target="../media/image43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87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8.png"/><Relationship Id="rId11" Type="http://schemas.openxmlformats.org/officeDocument/2006/relationships/image" Target="../media/image59.png"/><Relationship Id="rId5" Type="http://schemas.openxmlformats.org/officeDocument/2006/relationships/image" Target="../media/image85.png"/><Relationship Id="rId10" Type="http://schemas.openxmlformats.org/officeDocument/2006/relationships/image" Target="../media/image82.png"/><Relationship Id="rId4" Type="http://schemas.openxmlformats.org/officeDocument/2006/relationships/image" Target="../media/image88.png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jpeg"/><Relationship Id="rId9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2.png"/><Relationship Id="rId5" Type="http://schemas.openxmlformats.org/officeDocument/2006/relationships/image" Target="../media/image59.png"/><Relationship Id="rId10" Type="http://schemas.openxmlformats.org/officeDocument/2006/relationships/image" Target="../media/image61.png"/><Relationship Id="rId4" Type="http://schemas.openxmlformats.org/officeDocument/2006/relationships/image" Target="../media/image43.png"/><Relationship Id="rId9" Type="http://schemas.openxmlformats.org/officeDocument/2006/relationships/image" Target="../media/image8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9.png"/><Relationship Id="rId5" Type="http://schemas.openxmlformats.org/officeDocument/2006/relationships/image" Target="../media/image90.png"/><Relationship Id="rId4" Type="http://schemas.openxmlformats.org/officeDocument/2006/relationships/image" Target="../media/image8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5.png"/><Relationship Id="rId5" Type="http://schemas.openxmlformats.org/officeDocument/2006/relationships/image" Target="../media/image43.pn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0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3" Type="http://schemas.openxmlformats.org/officeDocument/2006/relationships/image" Target="../media/image10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Relationship Id="rId9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07.svg"/><Relationship Id="rId4" Type="http://schemas.openxmlformats.org/officeDocument/2006/relationships/image" Target="../media/image10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5.png"/><Relationship Id="rId11" Type="http://schemas.openxmlformats.org/officeDocument/2006/relationships/image" Target="../media/image62.png"/><Relationship Id="rId5" Type="http://schemas.openxmlformats.org/officeDocument/2006/relationships/image" Target="../media/image44.png"/><Relationship Id="rId10" Type="http://schemas.openxmlformats.org/officeDocument/2006/relationships/image" Target="../media/image61.png"/><Relationship Id="rId4" Type="http://schemas.openxmlformats.org/officeDocument/2006/relationships/image" Target="../media/image58.png"/><Relationship Id="rId9" Type="http://schemas.openxmlformats.org/officeDocument/2006/relationships/image" Target="../media/image6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73.png"/><Relationship Id="rId1" Type="http://schemas.openxmlformats.org/officeDocument/2006/relationships/tags" Target="../tags/tag36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18.emf"/><Relationship Id="rId15" Type="http://schemas.openxmlformats.org/officeDocument/2006/relationships/image" Target="../media/image72.png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58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79.png"/><Relationship Id="rId3" Type="http://schemas.openxmlformats.org/officeDocument/2006/relationships/image" Target="../media/image58.png"/><Relationship Id="rId7" Type="http://schemas.openxmlformats.org/officeDocument/2006/relationships/image" Target="../media/image76.png"/><Relationship Id="rId12" Type="http://schemas.openxmlformats.org/officeDocument/2006/relationships/image" Target="../media/image7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11" Type="http://schemas.openxmlformats.org/officeDocument/2006/relationships/image" Target="../media/image680.png"/><Relationship Id="rId5" Type="http://schemas.openxmlformats.org/officeDocument/2006/relationships/image" Target="../media/image45.png"/><Relationship Id="rId10" Type="http://schemas.openxmlformats.org/officeDocument/2006/relationships/image" Target="../media/image61.png"/><Relationship Id="rId4" Type="http://schemas.openxmlformats.org/officeDocument/2006/relationships/image" Target="../media/image44.png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58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BA1A9-6A1B-1A94-7CD1-E149DB7A04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5F6BFD32-7AB8-5321-64B9-A11B5586A60C}"/>
              </a:ext>
            </a:extLst>
          </p:cNvPr>
          <p:cNvSpPr/>
          <p:nvPr/>
        </p:nvSpPr>
        <p:spPr>
          <a:xfrm rot="3600000">
            <a:off x="3148577" y="937565"/>
            <a:ext cx="279858" cy="119868"/>
          </a:xfrm>
          <a:prstGeom prst="triangle">
            <a:avLst/>
          </a:prstGeom>
          <a:solidFill>
            <a:srgbClr val="1413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1027" name="Rectangle 361" descr="preencoded.png">
            <a:extLst>
              <a:ext uri="{FF2B5EF4-FFF2-40B4-BE49-F238E27FC236}">
                <a16:creationId xmlns:a16="http://schemas.microsoft.com/office/drawing/2014/main" id="{A67161FC-36EA-CA1B-59E6-C969341B23A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92026" y="285750"/>
            <a:ext cx="6332573" cy="3038639"/>
          </a:xfrm>
          <a:prstGeom prst="rect">
            <a:avLst/>
          </a:prstGeom>
        </p:spPr>
      </p:pic>
      <p:pic>
        <p:nvPicPr>
          <p:cNvPr id="1029" name="Frame 2087325824" descr="preencoded.png">
            <a:extLst>
              <a:ext uri="{FF2B5EF4-FFF2-40B4-BE49-F238E27FC236}">
                <a16:creationId xmlns:a16="http://schemas.microsoft.com/office/drawing/2014/main" id="{AE987207-9B4C-C4E0-420B-4DCC4C55C13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37188" y="285750"/>
            <a:ext cx="5012508" cy="6276532"/>
          </a:xfrm>
          <a:prstGeom prst="rect">
            <a:avLst/>
          </a:prstGeom>
        </p:spPr>
      </p:pic>
      <p:pic>
        <p:nvPicPr>
          <p:cNvPr id="1031" name="Rectangle 360" descr="preencoded.png">
            <a:extLst>
              <a:ext uri="{FF2B5EF4-FFF2-40B4-BE49-F238E27FC236}">
                <a16:creationId xmlns:a16="http://schemas.microsoft.com/office/drawing/2014/main" id="{E173E1EA-2A03-8EAA-1099-8FD05AC7BDA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492026" y="285750"/>
            <a:ext cx="6332573" cy="6276532"/>
          </a:xfrm>
          <a:prstGeom prst="rect">
            <a:avLst/>
          </a:prstGeom>
        </p:spPr>
      </p:pic>
      <p:pic>
        <p:nvPicPr>
          <p:cNvPr id="1032" name="Line 249" descr="preencoded.png">
            <a:extLst>
              <a:ext uri="{FF2B5EF4-FFF2-40B4-BE49-F238E27FC236}">
                <a16:creationId xmlns:a16="http://schemas.microsoft.com/office/drawing/2014/main" id="{E5E1B1B5-FD45-D67D-A7F8-0322BAB044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554294" y="2865441"/>
            <a:ext cx="6176905" cy="18680"/>
          </a:xfrm>
          <a:prstGeom prst="rect">
            <a:avLst/>
          </a:prstGeom>
        </p:spPr>
      </p:pic>
      <p:sp>
        <p:nvSpPr>
          <p:cNvPr id="1035" name="Vision">
            <a:extLst>
              <a:ext uri="{FF2B5EF4-FFF2-40B4-BE49-F238E27FC236}">
                <a16:creationId xmlns:a16="http://schemas.microsoft.com/office/drawing/2014/main" id="{FA547B13-AE45-0038-AD67-2B1C0126297D}"/>
              </a:ext>
            </a:extLst>
          </p:cNvPr>
          <p:cNvSpPr/>
          <p:nvPr/>
        </p:nvSpPr>
        <p:spPr>
          <a:xfrm>
            <a:off x="5925591" y="499054"/>
            <a:ext cx="3829432" cy="47323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16667"/>
              </a:lnSpc>
              <a:buNone/>
            </a:pPr>
            <a:r>
              <a:rPr lang="en-US" sz="3200">
                <a:solidFill>
                  <a:srgbClr val="B375FA"/>
                </a:solidFill>
                <a:latin typeface="Montserrat ExtraBold" pitchFamily="34" charset="0"/>
                <a:ea typeface="Montserrat ExtraBold" pitchFamily="34" charset="-122"/>
                <a:cs typeface="Montserrat ExtraBold" pitchFamily="34" charset="-120"/>
              </a:rPr>
              <a:t>Vision</a:t>
            </a:r>
            <a:endParaRPr lang="en-US" sz="3200">
              <a:solidFill>
                <a:srgbClr val="B375FA"/>
              </a:solidFill>
            </a:endParaRPr>
          </a:p>
        </p:txBody>
      </p:sp>
      <p:sp>
        <p:nvSpPr>
          <p:cNvPr id="1036" name="Secure enterprise digital space in the quantum era">
            <a:extLst>
              <a:ext uri="{FF2B5EF4-FFF2-40B4-BE49-F238E27FC236}">
                <a16:creationId xmlns:a16="http://schemas.microsoft.com/office/drawing/2014/main" id="{5CE53D0B-56D9-B775-E604-22D64FAC5DB7}"/>
              </a:ext>
            </a:extLst>
          </p:cNvPr>
          <p:cNvSpPr/>
          <p:nvPr/>
        </p:nvSpPr>
        <p:spPr>
          <a:xfrm>
            <a:off x="5925591" y="1128287"/>
            <a:ext cx="5529810" cy="111957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>
              <a:spcAft>
                <a:spcPts val="1500"/>
              </a:spcAft>
            </a:pPr>
            <a:r>
              <a:rPr lang="en-US" sz="2000">
                <a:solidFill>
                  <a:schemeClr val="bg1"/>
                </a:solidFill>
                <a:latin typeface="Montserrat"/>
                <a:ea typeface="Montserrat Medium Italic" pitchFamily="34" charset="-122"/>
                <a:cs typeface="Montserrat Medium Italic" pitchFamily="34" charset="-120"/>
              </a:rPr>
              <a:t>Unlock confidential data for AI training enabling organizations to jointly train AI.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037" name="Mission">
            <a:extLst>
              <a:ext uri="{FF2B5EF4-FFF2-40B4-BE49-F238E27FC236}">
                <a16:creationId xmlns:a16="http://schemas.microsoft.com/office/drawing/2014/main" id="{096FF3FF-F61E-9D78-DC10-3F6FD981A718}"/>
              </a:ext>
            </a:extLst>
          </p:cNvPr>
          <p:cNvSpPr/>
          <p:nvPr/>
        </p:nvSpPr>
        <p:spPr>
          <a:xfrm>
            <a:off x="5925591" y="3057412"/>
            <a:ext cx="5435925" cy="47323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ct val="116667"/>
              </a:lnSpc>
              <a:buNone/>
            </a:pPr>
            <a:r>
              <a:rPr lang="en-US" sz="3200">
                <a:solidFill>
                  <a:srgbClr val="B375FA"/>
                </a:solidFill>
                <a:latin typeface="Montserrat ExtraBold" pitchFamily="34" charset="0"/>
                <a:ea typeface="Montserrat ExtraBold" pitchFamily="34" charset="-122"/>
                <a:cs typeface="Montserrat ExtraBold" pitchFamily="34" charset="-120"/>
              </a:rPr>
              <a:t>What makes us unique</a:t>
            </a:r>
            <a:endParaRPr lang="en-US" sz="3200">
              <a:solidFill>
                <a:srgbClr val="B375FA"/>
              </a:solidFill>
            </a:endParaRPr>
          </a:p>
        </p:txBody>
      </p:sp>
      <p:sp>
        <p:nvSpPr>
          <p:cNvPr id="2" name="Corporate Deck">
            <a:extLst>
              <a:ext uri="{FF2B5EF4-FFF2-40B4-BE49-F238E27FC236}">
                <a16:creationId xmlns:a16="http://schemas.microsoft.com/office/drawing/2014/main" id="{C9741175-A735-6802-9A0D-9E77D6C2ED9A}"/>
              </a:ext>
            </a:extLst>
          </p:cNvPr>
          <p:cNvSpPr/>
          <p:nvPr/>
        </p:nvSpPr>
        <p:spPr>
          <a:xfrm>
            <a:off x="772704" y="3022112"/>
            <a:ext cx="4212046" cy="80380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7336"/>
              </a:lnSpc>
            </a:pPr>
            <a:r>
              <a:rPr lang="en-US" sz="4800" err="1">
                <a:solidFill>
                  <a:srgbClr val="E4E4E4"/>
                </a:solidFill>
                <a:latin typeface="Montserrat ExtraBold" pitchFamily="34" charset="0"/>
                <a:ea typeface="Montserrat ExtraBold" pitchFamily="34" charset="-122"/>
                <a:cs typeface="Montserrat ExtraBold" pitchFamily="34" charset="-120"/>
              </a:rPr>
              <a:t>PetalGuard</a:t>
            </a:r>
            <a:endParaRPr lang="en-US" sz="4800">
              <a:solidFill>
                <a:srgbClr val="E4E4E4"/>
              </a:solidFill>
              <a:latin typeface="Montserrat ExtraBold" pitchFamily="34" charset="0"/>
              <a:ea typeface="Montserrat ExtraBold" pitchFamily="34" charset="-122"/>
              <a:cs typeface="Montserrat ExtraBold" pitchFamily="34" charset="-12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8FAA8E7-9EDC-E116-D012-BA139927D64A}"/>
              </a:ext>
            </a:extLst>
          </p:cNvPr>
          <p:cNvGrpSpPr/>
          <p:nvPr/>
        </p:nvGrpSpPr>
        <p:grpSpPr>
          <a:xfrm>
            <a:off x="5823145" y="3816571"/>
            <a:ext cx="1310847" cy="1331685"/>
            <a:chOff x="5823145" y="3816571"/>
            <a:chExt cx="1310847" cy="133168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C3C0E9E-C878-3410-9385-51A7FE6A9BB8}"/>
                </a:ext>
              </a:extLst>
            </p:cNvPr>
            <p:cNvGrpSpPr/>
            <p:nvPr/>
          </p:nvGrpSpPr>
          <p:grpSpPr>
            <a:xfrm>
              <a:off x="6034814" y="3816571"/>
              <a:ext cx="887509" cy="741972"/>
              <a:chOff x="2795392" y="2683701"/>
              <a:chExt cx="914400" cy="914400"/>
            </a:xfrm>
          </p:grpSpPr>
          <p:pic>
            <p:nvPicPr>
              <p:cNvPr id="17" name="Graphic 16" descr="Shield outline">
                <a:extLst>
                  <a:ext uri="{FF2B5EF4-FFF2-40B4-BE49-F238E27FC236}">
                    <a16:creationId xmlns:a16="http://schemas.microsoft.com/office/drawing/2014/main" id="{D4486862-5044-A030-3E71-1E888A67D9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795392" y="2683701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8" name="Graphic 17" descr="Shield outline">
                <a:extLst>
                  <a:ext uri="{FF2B5EF4-FFF2-40B4-BE49-F238E27FC236}">
                    <a16:creationId xmlns:a16="http://schemas.microsoft.com/office/drawing/2014/main" id="{42440B0D-140B-1ED7-AE98-6C1F940429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905437" y="2797921"/>
                <a:ext cx="684756" cy="684756"/>
              </a:xfrm>
              <a:prstGeom prst="rect">
                <a:avLst/>
              </a:prstGeom>
            </p:spPr>
          </p:pic>
        </p:grpSp>
        <p:sp>
          <p:nvSpPr>
            <p:cNvPr id="24" name="Secure enterprise digital space in the quantum era">
              <a:extLst>
                <a:ext uri="{FF2B5EF4-FFF2-40B4-BE49-F238E27FC236}">
                  <a16:creationId xmlns:a16="http://schemas.microsoft.com/office/drawing/2014/main" id="{C86B604C-FAC2-0DC3-5D0A-DC6042E2C5BD}"/>
                </a:ext>
              </a:extLst>
            </p:cNvPr>
            <p:cNvSpPr/>
            <p:nvPr/>
          </p:nvSpPr>
          <p:spPr>
            <a:xfrm>
              <a:off x="5823145" y="4612758"/>
              <a:ext cx="1310847" cy="535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lnSpc>
                  <a:spcPct val="100000"/>
                </a:lnSpc>
                <a:spcAft>
                  <a:spcPts val="1500"/>
                </a:spcAft>
                <a:buNone/>
              </a:pPr>
              <a:r>
                <a:rPr lang="en-US" sz="1600">
                  <a:solidFill>
                    <a:schemeClr val="bg1"/>
                  </a:solidFill>
                  <a:latin typeface="Montserrat" panose="00000500000000000000" pitchFamily="2" charset="0"/>
                  <a:ea typeface="Montserrat Medium Italic" pitchFamily="34" charset="-122"/>
                  <a:cs typeface="Montserrat Medium Italic" pitchFamily="34" charset="-120"/>
                </a:rPr>
                <a:t>Zero data exposur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C7031B7-CE4F-CC66-66C5-BAD74829F246}"/>
              </a:ext>
            </a:extLst>
          </p:cNvPr>
          <p:cNvGrpSpPr/>
          <p:nvPr/>
        </p:nvGrpSpPr>
        <p:grpSpPr>
          <a:xfrm>
            <a:off x="7765641" y="3747723"/>
            <a:ext cx="1644669" cy="1400533"/>
            <a:chOff x="8097686" y="3747723"/>
            <a:chExt cx="1644669" cy="1400533"/>
          </a:xfrm>
        </p:grpSpPr>
        <p:grpSp>
          <p:nvGrpSpPr>
            <p:cNvPr id="11" name="bcgIcons_Combination ">
              <a:extLst>
                <a:ext uri="{FF2B5EF4-FFF2-40B4-BE49-F238E27FC236}">
                  <a16:creationId xmlns:a16="http://schemas.microsoft.com/office/drawing/2014/main" id="{445D6A04-0FC8-B325-4C84-3D7A26433F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80186" y="3747723"/>
              <a:ext cx="879668" cy="879668"/>
              <a:chOff x="5273675" y="2606675"/>
              <a:chExt cx="1644650" cy="1644650"/>
            </a:xfrm>
          </p:grpSpPr>
          <p:sp>
            <p:nvSpPr>
              <p:cNvPr id="12" name="AutoShape 3">
                <a:extLst>
                  <a:ext uri="{FF2B5EF4-FFF2-40B4-BE49-F238E27FC236}">
                    <a16:creationId xmlns:a16="http://schemas.microsoft.com/office/drawing/2014/main" id="{F8CA805D-A38F-4714-061E-52EBE220B4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350">
                  <a:solidFill>
                    <a:srgbClr val="6F7375"/>
                  </a:solidFill>
                  <a:latin typeface="Montserrat" panose="00000500000000000000" pitchFamily="2" charset="0"/>
                </a:endParaRPr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1C06E25-267E-341A-1A8A-6848D94C776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546725" y="2886075"/>
                <a:ext cx="1096962" cy="1084263"/>
                <a:chOff x="5546725" y="2886075"/>
                <a:chExt cx="1096962" cy="1084263"/>
              </a:xfrm>
            </p:grpSpPr>
            <p:sp>
              <p:nvSpPr>
                <p:cNvPr id="14" name="Freeform 5">
                  <a:extLst>
                    <a:ext uri="{FF2B5EF4-FFF2-40B4-BE49-F238E27FC236}">
                      <a16:creationId xmlns:a16="http://schemas.microsoft.com/office/drawing/2014/main" id="{EBE4A185-7804-540D-C9BB-E7FD49FD17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2886075"/>
                  <a:ext cx="1096962" cy="1084263"/>
                </a:xfrm>
                <a:custGeom>
                  <a:avLst/>
                  <a:gdLst>
                    <a:gd name="connsiteX0" fmla="*/ 785813 w 1096963"/>
                    <a:gd name="connsiteY0" fmla="*/ 31750 h 1084263"/>
                    <a:gd name="connsiteX1" fmla="*/ 785813 w 1096963"/>
                    <a:gd name="connsiteY1" fmla="*/ 1052513 h 1084263"/>
                    <a:gd name="connsiteX2" fmla="*/ 1066801 w 1096963"/>
                    <a:gd name="connsiteY2" fmla="*/ 1052513 h 1084263"/>
                    <a:gd name="connsiteX3" fmla="*/ 1066801 w 1096963"/>
                    <a:gd name="connsiteY3" fmla="*/ 31750 h 1084263"/>
                    <a:gd name="connsiteX4" fmla="*/ 407988 w 1096963"/>
                    <a:gd name="connsiteY4" fmla="*/ 31750 h 1084263"/>
                    <a:gd name="connsiteX5" fmla="*/ 407988 w 1096963"/>
                    <a:gd name="connsiteY5" fmla="*/ 1052513 h 1084263"/>
                    <a:gd name="connsiteX6" fmla="*/ 688976 w 1096963"/>
                    <a:gd name="connsiteY6" fmla="*/ 1052513 h 1084263"/>
                    <a:gd name="connsiteX7" fmla="*/ 688976 w 1096963"/>
                    <a:gd name="connsiteY7" fmla="*/ 31750 h 1084263"/>
                    <a:gd name="connsiteX8" fmla="*/ 31750 w 1096963"/>
                    <a:gd name="connsiteY8" fmla="*/ 31750 h 1084263"/>
                    <a:gd name="connsiteX9" fmla="*/ 31750 w 1096963"/>
                    <a:gd name="connsiteY9" fmla="*/ 1052513 h 1084263"/>
                    <a:gd name="connsiteX10" fmla="*/ 311150 w 1096963"/>
                    <a:gd name="connsiteY10" fmla="*/ 1052513 h 1084263"/>
                    <a:gd name="connsiteX11" fmla="*/ 311150 w 1096963"/>
                    <a:gd name="connsiteY11" fmla="*/ 31750 h 1084263"/>
                    <a:gd name="connsiteX12" fmla="*/ 769779 w 1096963"/>
                    <a:gd name="connsiteY12" fmla="*/ 0 h 1084263"/>
                    <a:gd name="connsiteX13" fmla="*/ 1081247 w 1096963"/>
                    <a:gd name="connsiteY13" fmla="*/ 0 h 1084263"/>
                    <a:gd name="connsiteX14" fmla="*/ 1096963 w 1096963"/>
                    <a:gd name="connsiteY14" fmla="*/ 15714 h 1084263"/>
                    <a:gd name="connsiteX15" fmla="*/ 1096963 w 1096963"/>
                    <a:gd name="connsiteY15" fmla="*/ 1068549 h 1084263"/>
                    <a:gd name="connsiteX16" fmla="*/ 1081247 w 1096963"/>
                    <a:gd name="connsiteY16" fmla="*/ 1084263 h 1084263"/>
                    <a:gd name="connsiteX17" fmla="*/ 769779 w 1096963"/>
                    <a:gd name="connsiteY17" fmla="*/ 1084263 h 1084263"/>
                    <a:gd name="connsiteX18" fmla="*/ 754063 w 1096963"/>
                    <a:gd name="connsiteY18" fmla="*/ 1068549 h 1084263"/>
                    <a:gd name="connsiteX19" fmla="*/ 754063 w 1096963"/>
                    <a:gd name="connsiteY19" fmla="*/ 15714 h 1084263"/>
                    <a:gd name="connsiteX20" fmla="*/ 769779 w 1096963"/>
                    <a:gd name="connsiteY20" fmla="*/ 0 h 1084263"/>
                    <a:gd name="connsiteX21" fmla="*/ 393469 w 1096963"/>
                    <a:gd name="connsiteY21" fmla="*/ 0 h 1084263"/>
                    <a:gd name="connsiteX22" fmla="*/ 703495 w 1096963"/>
                    <a:gd name="connsiteY22" fmla="*/ 0 h 1084263"/>
                    <a:gd name="connsiteX23" fmla="*/ 719138 w 1096963"/>
                    <a:gd name="connsiteY23" fmla="*/ 15714 h 1084263"/>
                    <a:gd name="connsiteX24" fmla="*/ 719138 w 1096963"/>
                    <a:gd name="connsiteY24" fmla="*/ 1068549 h 1084263"/>
                    <a:gd name="connsiteX25" fmla="*/ 703495 w 1096963"/>
                    <a:gd name="connsiteY25" fmla="*/ 1084263 h 1084263"/>
                    <a:gd name="connsiteX26" fmla="*/ 393469 w 1096963"/>
                    <a:gd name="connsiteY26" fmla="*/ 1084263 h 1084263"/>
                    <a:gd name="connsiteX27" fmla="*/ 377825 w 1096963"/>
                    <a:gd name="connsiteY27" fmla="*/ 1068549 h 1084263"/>
                    <a:gd name="connsiteX28" fmla="*/ 377825 w 1096963"/>
                    <a:gd name="connsiteY28" fmla="*/ 15714 h 1084263"/>
                    <a:gd name="connsiteX29" fmla="*/ 393469 w 1096963"/>
                    <a:gd name="connsiteY29" fmla="*/ 0 h 1084263"/>
                    <a:gd name="connsiteX30" fmla="*/ 15749 w 1096963"/>
                    <a:gd name="connsiteY30" fmla="*/ 0 h 1084263"/>
                    <a:gd name="connsiteX31" fmla="*/ 327151 w 1096963"/>
                    <a:gd name="connsiteY31" fmla="*/ 0 h 1084263"/>
                    <a:gd name="connsiteX32" fmla="*/ 342900 w 1096963"/>
                    <a:gd name="connsiteY32" fmla="*/ 15714 h 1084263"/>
                    <a:gd name="connsiteX33" fmla="*/ 342900 w 1096963"/>
                    <a:gd name="connsiteY33" fmla="*/ 1068549 h 1084263"/>
                    <a:gd name="connsiteX34" fmla="*/ 327151 w 1096963"/>
                    <a:gd name="connsiteY34" fmla="*/ 1084263 h 1084263"/>
                    <a:gd name="connsiteX35" fmla="*/ 15749 w 1096963"/>
                    <a:gd name="connsiteY35" fmla="*/ 1084263 h 1084263"/>
                    <a:gd name="connsiteX36" fmla="*/ 0 w 1096963"/>
                    <a:gd name="connsiteY36" fmla="*/ 1068549 h 1084263"/>
                    <a:gd name="connsiteX37" fmla="*/ 0 w 1096963"/>
                    <a:gd name="connsiteY37" fmla="*/ 15714 h 1084263"/>
                    <a:gd name="connsiteX38" fmla="*/ 15749 w 1096963"/>
                    <a:gd name="connsiteY38" fmla="*/ 0 h 1084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096963" h="1084263">
                      <a:moveTo>
                        <a:pt x="785813" y="31750"/>
                      </a:moveTo>
                      <a:lnTo>
                        <a:pt x="785813" y="1052513"/>
                      </a:lnTo>
                      <a:lnTo>
                        <a:pt x="1066801" y="1052513"/>
                      </a:lnTo>
                      <a:lnTo>
                        <a:pt x="1066801" y="31750"/>
                      </a:lnTo>
                      <a:close/>
                      <a:moveTo>
                        <a:pt x="407988" y="31750"/>
                      </a:moveTo>
                      <a:lnTo>
                        <a:pt x="407988" y="1052513"/>
                      </a:lnTo>
                      <a:lnTo>
                        <a:pt x="688976" y="1052513"/>
                      </a:lnTo>
                      <a:lnTo>
                        <a:pt x="688976" y="31750"/>
                      </a:lnTo>
                      <a:close/>
                      <a:moveTo>
                        <a:pt x="31750" y="31750"/>
                      </a:moveTo>
                      <a:lnTo>
                        <a:pt x="31750" y="1052513"/>
                      </a:lnTo>
                      <a:lnTo>
                        <a:pt x="311150" y="1052513"/>
                      </a:lnTo>
                      <a:lnTo>
                        <a:pt x="311150" y="31750"/>
                      </a:lnTo>
                      <a:close/>
                      <a:moveTo>
                        <a:pt x="769779" y="0"/>
                      </a:moveTo>
                      <a:cubicBezTo>
                        <a:pt x="769779" y="0"/>
                        <a:pt x="769779" y="0"/>
                        <a:pt x="1081247" y="0"/>
                      </a:cubicBezTo>
                      <a:cubicBezTo>
                        <a:pt x="1089819" y="0"/>
                        <a:pt x="1096963" y="7143"/>
                        <a:pt x="1096963" y="15714"/>
                      </a:cubicBezTo>
                      <a:cubicBezTo>
                        <a:pt x="1096963" y="15714"/>
                        <a:pt x="1096963" y="15714"/>
                        <a:pt x="1096963" y="1068549"/>
                      </a:cubicBezTo>
                      <a:cubicBezTo>
                        <a:pt x="1096963" y="1077120"/>
                        <a:pt x="1089819" y="1084263"/>
                        <a:pt x="1081247" y="1084263"/>
                      </a:cubicBezTo>
                      <a:cubicBezTo>
                        <a:pt x="1081247" y="1084263"/>
                        <a:pt x="1081247" y="1084263"/>
                        <a:pt x="769779" y="1084263"/>
                      </a:cubicBezTo>
                      <a:cubicBezTo>
                        <a:pt x="761207" y="1084263"/>
                        <a:pt x="754063" y="1077120"/>
                        <a:pt x="754063" y="1068549"/>
                      </a:cubicBezTo>
                      <a:cubicBezTo>
                        <a:pt x="754063" y="1068549"/>
                        <a:pt x="754063" y="1068549"/>
                        <a:pt x="754063" y="15714"/>
                      </a:cubicBezTo>
                      <a:cubicBezTo>
                        <a:pt x="754063" y="7143"/>
                        <a:pt x="761207" y="0"/>
                        <a:pt x="769779" y="0"/>
                      </a:cubicBezTo>
                      <a:close/>
                      <a:moveTo>
                        <a:pt x="393469" y="0"/>
                      </a:moveTo>
                      <a:cubicBezTo>
                        <a:pt x="393469" y="0"/>
                        <a:pt x="393469" y="0"/>
                        <a:pt x="703495" y="0"/>
                      </a:cubicBezTo>
                      <a:cubicBezTo>
                        <a:pt x="712028" y="0"/>
                        <a:pt x="719138" y="7143"/>
                        <a:pt x="719138" y="15714"/>
                      </a:cubicBezTo>
                      <a:cubicBezTo>
                        <a:pt x="719138" y="15714"/>
                        <a:pt x="719138" y="15714"/>
                        <a:pt x="719138" y="1068549"/>
                      </a:cubicBezTo>
                      <a:cubicBezTo>
                        <a:pt x="719138" y="1077120"/>
                        <a:pt x="712028" y="1084263"/>
                        <a:pt x="703495" y="1084263"/>
                      </a:cubicBezTo>
                      <a:cubicBezTo>
                        <a:pt x="703495" y="1084263"/>
                        <a:pt x="703495" y="1084263"/>
                        <a:pt x="393469" y="1084263"/>
                      </a:cubicBezTo>
                      <a:cubicBezTo>
                        <a:pt x="384936" y="1084263"/>
                        <a:pt x="377825" y="1077120"/>
                        <a:pt x="377825" y="1068549"/>
                      </a:cubicBezTo>
                      <a:cubicBezTo>
                        <a:pt x="377825" y="1068549"/>
                        <a:pt x="377825" y="1068549"/>
                        <a:pt x="377825" y="15714"/>
                      </a:cubicBezTo>
                      <a:cubicBezTo>
                        <a:pt x="377825" y="7143"/>
                        <a:pt x="384936" y="0"/>
                        <a:pt x="393469" y="0"/>
                      </a:cubicBezTo>
                      <a:close/>
                      <a:moveTo>
                        <a:pt x="15749" y="0"/>
                      </a:moveTo>
                      <a:cubicBezTo>
                        <a:pt x="15749" y="0"/>
                        <a:pt x="15749" y="0"/>
                        <a:pt x="327151" y="0"/>
                      </a:cubicBezTo>
                      <a:cubicBezTo>
                        <a:pt x="335742" y="0"/>
                        <a:pt x="342900" y="7143"/>
                        <a:pt x="342900" y="15714"/>
                      </a:cubicBezTo>
                      <a:cubicBezTo>
                        <a:pt x="342900" y="15714"/>
                        <a:pt x="342900" y="15714"/>
                        <a:pt x="342900" y="1068549"/>
                      </a:cubicBezTo>
                      <a:cubicBezTo>
                        <a:pt x="342900" y="1077120"/>
                        <a:pt x="335742" y="1084263"/>
                        <a:pt x="327151" y="1084263"/>
                      </a:cubicBezTo>
                      <a:cubicBezTo>
                        <a:pt x="327151" y="1084263"/>
                        <a:pt x="327151" y="1084263"/>
                        <a:pt x="15749" y="1084263"/>
                      </a:cubicBezTo>
                      <a:cubicBezTo>
                        <a:pt x="6443" y="1084263"/>
                        <a:pt x="0" y="1077120"/>
                        <a:pt x="0" y="1068549"/>
                      </a:cubicBezTo>
                      <a:cubicBezTo>
                        <a:pt x="0" y="1068549"/>
                        <a:pt x="0" y="1068549"/>
                        <a:pt x="0" y="15714"/>
                      </a:cubicBezTo>
                      <a:cubicBezTo>
                        <a:pt x="0" y="7143"/>
                        <a:pt x="6443" y="0"/>
                        <a:pt x="1574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6F7375"/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15" name="Freeform 6">
                  <a:extLst>
                    <a:ext uri="{FF2B5EF4-FFF2-40B4-BE49-F238E27FC236}">
                      <a16:creationId xmlns:a16="http://schemas.microsoft.com/office/drawing/2014/main" id="{2900CEF3-BD80-268C-9EC2-D0C821F5BD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0225" y="2949575"/>
                  <a:ext cx="969963" cy="957263"/>
                </a:xfrm>
                <a:custGeom>
                  <a:avLst/>
                  <a:gdLst>
                    <a:gd name="connsiteX0" fmla="*/ 480969 w 969963"/>
                    <a:gd name="connsiteY0" fmla="*/ 806450 h 957263"/>
                    <a:gd name="connsiteX1" fmla="*/ 509588 w 969963"/>
                    <a:gd name="connsiteY1" fmla="*/ 840740 h 957263"/>
                    <a:gd name="connsiteX2" fmla="*/ 502433 w 969963"/>
                    <a:gd name="connsiteY2" fmla="*/ 857885 h 957263"/>
                    <a:gd name="connsiteX3" fmla="*/ 483831 w 969963"/>
                    <a:gd name="connsiteY3" fmla="*/ 863600 h 957263"/>
                    <a:gd name="connsiteX4" fmla="*/ 465228 w 969963"/>
                    <a:gd name="connsiteY4" fmla="*/ 856456 h 957263"/>
                    <a:gd name="connsiteX5" fmla="*/ 458788 w 969963"/>
                    <a:gd name="connsiteY5" fmla="*/ 838597 h 957263"/>
                    <a:gd name="connsiteX6" fmla="*/ 480969 w 969963"/>
                    <a:gd name="connsiteY6" fmla="*/ 806450 h 957263"/>
                    <a:gd name="connsiteX7" fmla="*/ 119063 w 969963"/>
                    <a:gd name="connsiteY7" fmla="*/ 768350 h 957263"/>
                    <a:gd name="connsiteX8" fmla="*/ 119063 w 969963"/>
                    <a:gd name="connsiteY8" fmla="*/ 819150 h 957263"/>
                    <a:gd name="connsiteX9" fmla="*/ 73025 w 969963"/>
                    <a:gd name="connsiteY9" fmla="*/ 819150 h 957263"/>
                    <a:gd name="connsiteX10" fmla="*/ 484188 w 969963"/>
                    <a:gd name="connsiteY10" fmla="*/ 739775 h 957263"/>
                    <a:gd name="connsiteX11" fmla="*/ 498299 w 969963"/>
                    <a:gd name="connsiteY11" fmla="*/ 744061 h 957263"/>
                    <a:gd name="connsiteX12" fmla="*/ 503238 w 969963"/>
                    <a:gd name="connsiteY12" fmla="*/ 756206 h 957263"/>
                    <a:gd name="connsiteX13" fmla="*/ 498299 w 969963"/>
                    <a:gd name="connsiteY13" fmla="*/ 771208 h 957263"/>
                    <a:gd name="connsiteX14" fmla="*/ 487010 w 969963"/>
                    <a:gd name="connsiteY14" fmla="*/ 782638 h 957263"/>
                    <a:gd name="connsiteX15" fmla="*/ 472194 w 969963"/>
                    <a:gd name="connsiteY15" fmla="*/ 771922 h 957263"/>
                    <a:gd name="connsiteX16" fmla="*/ 465138 w 969963"/>
                    <a:gd name="connsiteY16" fmla="*/ 756206 h 957263"/>
                    <a:gd name="connsiteX17" fmla="*/ 484188 w 969963"/>
                    <a:gd name="connsiteY17" fmla="*/ 739775 h 957263"/>
                    <a:gd name="connsiteX18" fmla="*/ 876842 w 969963"/>
                    <a:gd name="connsiteY18" fmla="*/ 715963 h 957263"/>
                    <a:gd name="connsiteX19" fmla="*/ 823913 w 969963"/>
                    <a:gd name="connsiteY19" fmla="*/ 756136 h 957263"/>
                    <a:gd name="connsiteX20" fmla="*/ 823913 w 969963"/>
                    <a:gd name="connsiteY20" fmla="*/ 785547 h 957263"/>
                    <a:gd name="connsiteX21" fmla="*/ 858961 w 969963"/>
                    <a:gd name="connsiteY21" fmla="*/ 764744 h 957263"/>
                    <a:gd name="connsiteX22" fmla="*/ 858961 w 969963"/>
                    <a:gd name="connsiteY22" fmla="*/ 887413 h 957263"/>
                    <a:gd name="connsiteX23" fmla="*/ 889001 w 969963"/>
                    <a:gd name="connsiteY23" fmla="*/ 887413 h 957263"/>
                    <a:gd name="connsiteX24" fmla="*/ 889001 w 969963"/>
                    <a:gd name="connsiteY24" fmla="*/ 715963 h 957263"/>
                    <a:gd name="connsiteX25" fmla="*/ 876842 w 969963"/>
                    <a:gd name="connsiteY25" fmla="*/ 715963 h 957263"/>
                    <a:gd name="connsiteX26" fmla="*/ 136525 w 969963"/>
                    <a:gd name="connsiteY26" fmla="*/ 715963 h 957263"/>
                    <a:gd name="connsiteX27" fmla="*/ 38100 w 969963"/>
                    <a:gd name="connsiteY27" fmla="*/ 825501 h 957263"/>
                    <a:gd name="connsiteX28" fmla="*/ 38100 w 969963"/>
                    <a:gd name="connsiteY28" fmla="*/ 842963 h 957263"/>
                    <a:gd name="connsiteX29" fmla="*/ 119063 w 969963"/>
                    <a:gd name="connsiteY29" fmla="*/ 842963 h 957263"/>
                    <a:gd name="connsiteX30" fmla="*/ 119063 w 969963"/>
                    <a:gd name="connsiteY30" fmla="*/ 887413 h 957263"/>
                    <a:gd name="connsiteX31" fmla="*/ 150813 w 969963"/>
                    <a:gd name="connsiteY31" fmla="*/ 887413 h 957263"/>
                    <a:gd name="connsiteX32" fmla="*/ 150813 w 969963"/>
                    <a:gd name="connsiteY32" fmla="*/ 842963 h 957263"/>
                    <a:gd name="connsiteX33" fmla="*/ 168275 w 969963"/>
                    <a:gd name="connsiteY33" fmla="*/ 842963 h 957263"/>
                    <a:gd name="connsiteX34" fmla="*/ 168275 w 969963"/>
                    <a:gd name="connsiteY34" fmla="*/ 819151 h 957263"/>
                    <a:gd name="connsiteX35" fmla="*/ 150813 w 969963"/>
                    <a:gd name="connsiteY35" fmla="*/ 819151 h 957263"/>
                    <a:gd name="connsiteX36" fmla="*/ 150813 w 969963"/>
                    <a:gd name="connsiteY36" fmla="*/ 715963 h 957263"/>
                    <a:gd name="connsiteX37" fmla="*/ 486211 w 969963"/>
                    <a:gd name="connsiteY37" fmla="*/ 714375 h 957263"/>
                    <a:gd name="connsiteX38" fmla="*/ 450315 w 969963"/>
                    <a:gd name="connsiteY38" fmla="*/ 725779 h 957263"/>
                    <a:gd name="connsiteX39" fmla="*/ 436675 w 969963"/>
                    <a:gd name="connsiteY39" fmla="*/ 757140 h 957263"/>
                    <a:gd name="connsiteX40" fmla="*/ 442418 w 969963"/>
                    <a:gd name="connsiteY40" fmla="*/ 777810 h 957263"/>
                    <a:gd name="connsiteX41" fmla="*/ 458212 w 969963"/>
                    <a:gd name="connsiteY41" fmla="*/ 794204 h 957263"/>
                    <a:gd name="connsiteX42" fmla="*/ 438110 w 969963"/>
                    <a:gd name="connsiteY42" fmla="*/ 813448 h 957263"/>
                    <a:gd name="connsiteX43" fmla="*/ 430213 w 969963"/>
                    <a:gd name="connsiteY43" fmla="*/ 838395 h 957263"/>
                    <a:gd name="connsiteX44" fmla="*/ 445290 w 969963"/>
                    <a:gd name="connsiteY44" fmla="*/ 876171 h 957263"/>
                    <a:gd name="connsiteX45" fmla="*/ 485493 w 969963"/>
                    <a:gd name="connsiteY45" fmla="*/ 889000 h 957263"/>
                    <a:gd name="connsiteX46" fmla="*/ 527132 w 969963"/>
                    <a:gd name="connsiteY46" fmla="*/ 876171 h 957263"/>
                    <a:gd name="connsiteX47" fmla="*/ 542926 w 969963"/>
                    <a:gd name="connsiteY47" fmla="*/ 838395 h 957263"/>
                    <a:gd name="connsiteX48" fmla="*/ 532875 w 969963"/>
                    <a:gd name="connsiteY48" fmla="*/ 813448 h 957263"/>
                    <a:gd name="connsiteX49" fmla="*/ 512774 w 969963"/>
                    <a:gd name="connsiteY49" fmla="*/ 794916 h 957263"/>
                    <a:gd name="connsiteX50" fmla="*/ 528568 w 969963"/>
                    <a:gd name="connsiteY50" fmla="*/ 778523 h 957263"/>
                    <a:gd name="connsiteX51" fmla="*/ 536465 w 969963"/>
                    <a:gd name="connsiteY51" fmla="*/ 757140 h 957263"/>
                    <a:gd name="connsiteX52" fmla="*/ 522825 w 969963"/>
                    <a:gd name="connsiteY52" fmla="*/ 725779 h 957263"/>
                    <a:gd name="connsiteX53" fmla="*/ 486211 w 969963"/>
                    <a:gd name="connsiteY53" fmla="*/ 714375 h 957263"/>
                    <a:gd name="connsiteX54" fmla="*/ 755650 w 969963"/>
                    <a:gd name="connsiteY54" fmla="*/ 658813 h 957263"/>
                    <a:gd name="connsiteX55" fmla="*/ 969963 w 969963"/>
                    <a:gd name="connsiteY55" fmla="*/ 658813 h 957263"/>
                    <a:gd name="connsiteX56" fmla="*/ 969963 w 969963"/>
                    <a:gd name="connsiteY56" fmla="*/ 957263 h 957263"/>
                    <a:gd name="connsiteX57" fmla="*/ 755650 w 969963"/>
                    <a:gd name="connsiteY57" fmla="*/ 957263 h 957263"/>
                    <a:gd name="connsiteX58" fmla="*/ 379413 w 969963"/>
                    <a:gd name="connsiteY58" fmla="*/ 658813 h 957263"/>
                    <a:gd name="connsiteX59" fmla="*/ 595313 w 969963"/>
                    <a:gd name="connsiteY59" fmla="*/ 658813 h 957263"/>
                    <a:gd name="connsiteX60" fmla="*/ 595313 w 969963"/>
                    <a:gd name="connsiteY60" fmla="*/ 957263 h 957263"/>
                    <a:gd name="connsiteX61" fmla="*/ 379413 w 969963"/>
                    <a:gd name="connsiteY61" fmla="*/ 957263 h 957263"/>
                    <a:gd name="connsiteX62" fmla="*/ 0 w 969963"/>
                    <a:gd name="connsiteY62" fmla="*/ 658813 h 957263"/>
                    <a:gd name="connsiteX63" fmla="*/ 215900 w 969963"/>
                    <a:gd name="connsiteY63" fmla="*/ 658813 h 957263"/>
                    <a:gd name="connsiteX64" fmla="*/ 215900 w 969963"/>
                    <a:gd name="connsiteY64" fmla="*/ 957263 h 957263"/>
                    <a:gd name="connsiteX65" fmla="*/ 0 w 969963"/>
                    <a:gd name="connsiteY65" fmla="*/ 957263 h 957263"/>
                    <a:gd name="connsiteX66" fmla="*/ 863869 w 969963"/>
                    <a:gd name="connsiteY66" fmla="*/ 411163 h 957263"/>
                    <a:gd name="connsiteX67" fmla="*/ 885807 w 969963"/>
                    <a:gd name="connsiteY67" fmla="*/ 424719 h 957263"/>
                    <a:gd name="connsiteX68" fmla="*/ 892176 w 969963"/>
                    <a:gd name="connsiteY68" fmla="*/ 471809 h 957263"/>
                    <a:gd name="connsiteX69" fmla="*/ 885099 w 969963"/>
                    <a:gd name="connsiteY69" fmla="*/ 523180 h 957263"/>
                    <a:gd name="connsiteX70" fmla="*/ 861746 w 969963"/>
                    <a:gd name="connsiteY70" fmla="*/ 538163 h 957263"/>
                    <a:gd name="connsiteX71" fmla="*/ 840515 w 969963"/>
                    <a:gd name="connsiteY71" fmla="*/ 521753 h 957263"/>
                    <a:gd name="connsiteX72" fmla="*/ 833438 w 969963"/>
                    <a:gd name="connsiteY72" fmla="*/ 471809 h 957263"/>
                    <a:gd name="connsiteX73" fmla="*/ 863869 w 969963"/>
                    <a:gd name="connsiteY73" fmla="*/ 411163 h 957263"/>
                    <a:gd name="connsiteX74" fmla="*/ 431800 w 969963"/>
                    <a:gd name="connsiteY74" fmla="*/ 390525 h 957263"/>
                    <a:gd name="connsiteX75" fmla="*/ 431800 w 969963"/>
                    <a:gd name="connsiteY75" fmla="*/ 417646 h 957263"/>
                    <a:gd name="connsiteX76" fmla="*/ 509878 w 969963"/>
                    <a:gd name="connsiteY76" fmla="*/ 417646 h 957263"/>
                    <a:gd name="connsiteX77" fmla="*/ 444694 w 969963"/>
                    <a:gd name="connsiteY77" fmla="*/ 560388 h 957263"/>
                    <a:gd name="connsiteX78" fmla="*/ 478360 w 969963"/>
                    <a:gd name="connsiteY78" fmla="*/ 560388 h 957263"/>
                    <a:gd name="connsiteX79" fmla="*/ 488389 w 969963"/>
                    <a:gd name="connsiteY79" fmla="*/ 532553 h 957263"/>
                    <a:gd name="connsiteX80" fmla="*/ 501999 w 969963"/>
                    <a:gd name="connsiteY80" fmla="*/ 499009 h 957263"/>
                    <a:gd name="connsiteX81" fmla="*/ 518474 w 969963"/>
                    <a:gd name="connsiteY81" fmla="*/ 464037 h 957263"/>
                    <a:gd name="connsiteX82" fmla="*/ 534233 w 969963"/>
                    <a:gd name="connsiteY82" fmla="*/ 431920 h 957263"/>
                    <a:gd name="connsiteX83" fmla="*/ 549275 w 969963"/>
                    <a:gd name="connsiteY83" fmla="*/ 403372 h 957263"/>
                    <a:gd name="connsiteX84" fmla="*/ 549275 w 969963"/>
                    <a:gd name="connsiteY84" fmla="*/ 390525 h 957263"/>
                    <a:gd name="connsiteX85" fmla="*/ 431800 w 969963"/>
                    <a:gd name="connsiteY85" fmla="*/ 390525 h 957263"/>
                    <a:gd name="connsiteX86" fmla="*/ 864594 w 969963"/>
                    <a:gd name="connsiteY86" fmla="*/ 387350 h 957263"/>
                    <a:gd name="connsiteX87" fmla="*/ 818844 w 969963"/>
                    <a:gd name="connsiteY87" fmla="*/ 411705 h 957263"/>
                    <a:gd name="connsiteX88" fmla="*/ 801688 w 969963"/>
                    <a:gd name="connsiteY88" fmla="*/ 470442 h 957263"/>
                    <a:gd name="connsiteX89" fmla="*/ 816700 w 969963"/>
                    <a:gd name="connsiteY89" fmla="*/ 540641 h 957263"/>
                    <a:gd name="connsiteX90" fmla="*/ 863165 w 969963"/>
                    <a:gd name="connsiteY90" fmla="*/ 563563 h 957263"/>
                    <a:gd name="connsiteX91" fmla="*/ 907485 w 969963"/>
                    <a:gd name="connsiteY91" fmla="*/ 539208 h 957263"/>
                    <a:gd name="connsiteX92" fmla="*/ 923926 w 969963"/>
                    <a:gd name="connsiteY92" fmla="*/ 474024 h 957263"/>
                    <a:gd name="connsiteX93" fmla="*/ 864594 w 969963"/>
                    <a:gd name="connsiteY93" fmla="*/ 387350 h 957263"/>
                    <a:gd name="connsiteX94" fmla="*/ 99186 w 969963"/>
                    <a:gd name="connsiteY94" fmla="*/ 387350 h 957263"/>
                    <a:gd name="connsiteX95" fmla="*/ 75504 w 969963"/>
                    <a:gd name="connsiteY95" fmla="*/ 392364 h 957263"/>
                    <a:gd name="connsiteX96" fmla="*/ 58999 w 969963"/>
                    <a:gd name="connsiteY96" fmla="*/ 404542 h 957263"/>
                    <a:gd name="connsiteX97" fmla="*/ 72634 w 969963"/>
                    <a:gd name="connsiteY97" fmla="*/ 425315 h 957263"/>
                    <a:gd name="connsiteX98" fmla="*/ 97033 w 969963"/>
                    <a:gd name="connsiteY98" fmla="*/ 413137 h 957263"/>
                    <a:gd name="connsiteX99" fmla="*/ 121433 w 969963"/>
                    <a:gd name="connsiteY99" fmla="*/ 436059 h 957263"/>
                    <a:gd name="connsiteX100" fmla="*/ 95598 w 969963"/>
                    <a:gd name="connsiteY100" fmla="*/ 457549 h 957263"/>
                    <a:gd name="connsiteX101" fmla="*/ 91292 w 969963"/>
                    <a:gd name="connsiteY101" fmla="*/ 457549 h 957263"/>
                    <a:gd name="connsiteX102" fmla="*/ 91292 w 969963"/>
                    <a:gd name="connsiteY102" fmla="*/ 482620 h 957263"/>
                    <a:gd name="connsiteX103" fmla="*/ 96316 w 969963"/>
                    <a:gd name="connsiteY103" fmla="*/ 482620 h 957263"/>
                    <a:gd name="connsiteX104" fmla="*/ 119280 w 969963"/>
                    <a:gd name="connsiteY104" fmla="*/ 490499 h 957263"/>
                    <a:gd name="connsiteX105" fmla="*/ 127174 w 969963"/>
                    <a:gd name="connsiteY105" fmla="*/ 510556 h 957263"/>
                    <a:gd name="connsiteX106" fmla="*/ 98469 w 969963"/>
                    <a:gd name="connsiteY106" fmla="*/ 537776 h 957263"/>
                    <a:gd name="connsiteX107" fmla="*/ 69046 w 969963"/>
                    <a:gd name="connsiteY107" fmla="*/ 523450 h 957263"/>
                    <a:gd name="connsiteX108" fmla="*/ 53975 w 969963"/>
                    <a:gd name="connsiteY108" fmla="*/ 546372 h 957263"/>
                    <a:gd name="connsiteX109" fmla="*/ 98469 w 969963"/>
                    <a:gd name="connsiteY109" fmla="*/ 563563 h 957263"/>
                    <a:gd name="connsiteX110" fmla="*/ 142962 w 969963"/>
                    <a:gd name="connsiteY110" fmla="*/ 549953 h 957263"/>
                    <a:gd name="connsiteX111" fmla="*/ 158750 w 969963"/>
                    <a:gd name="connsiteY111" fmla="*/ 511989 h 957263"/>
                    <a:gd name="connsiteX112" fmla="*/ 131480 w 969963"/>
                    <a:gd name="connsiteY112" fmla="*/ 469726 h 957263"/>
                    <a:gd name="connsiteX113" fmla="*/ 153009 w 969963"/>
                    <a:gd name="connsiteY113" fmla="*/ 431762 h 957263"/>
                    <a:gd name="connsiteX114" fmla="*/ 138656 w 969963"/>
                    <a:gd name="connsiteY114" fmla="*/ 399527 h 957263"/>
                    <a:gd name="connsiteX115" fmla="*/ 99186 w 969963"/>
                    <a:gd name="connsiteY115" fmla="*/ 387350 h 957263"/>
                    <a:gd name="connsiteX116" fmla="*/ 755650 w 969963"/>
                    <a:gd name="connsiteY116" fmla="*/ 330200 h 957263"/>
                    <a:gd name="connsiteX117" fmla="*/ 969963 w 969963"/>
                    <a:gd name="connsiteY117" fmla="*/ 330200 h 957263"/>
                    <a:gd name="connsiteX118" fmla="*/ 969963 w 969963"/>
                    <a:gd name="connsiteY118" fmla="*/ 628650 h 957263"/>
                    <a:gd name="connsiteX119" fmla="*/ 755650 w 969963"/>
                    <a:gd name="connsiteY119" fmla="*/ 628650 h 957263"/>
                    <a:gd name="connsiteX120" fmla="*/ 377825 w 969963"/>
                    <a:gd name="connsiteY120" fmla="*/ 330200 h 957263"/>
                    <a:gd name="connsiteX121" fmla="*/ 592138 w 969963"/>
                    <a:gd name="connsiteY121" fmla="*/ 330200 h 957263"/>
                    <a:gd name="connsiteX122" fmla="*/ 592138 w 969963"/>
                    <a:gd name="connsiteY122" fmla="*/ 628650 h 957263"/>
                    <a:gd name="connsiteX123" fmla="*/ 377825 w 969963"/>
                    <a:gd name="connsiteY123" fmla="*/ 628650 h 957263"/>
                    <a:gd name="connsiteX124" fmla="*/ 0 w 969963"/>
                    <a:gd name="connsiteY124" fmla="*/ 330200 h 957263"/>
                    <a:gd name="connsiteX125" fmla="*/ 215900 w 969963"/>
                    <a:gd name="connsiteY125" fmla="*/ 330200 h 957263"/>
                    <a:gd name="connsiteX126" fmla="*/ 215900 w 969963"/>
                    <a:gd name="connsiteY126" fmla="*/ 628650 h 957263"/>
                    <a:gd name="connsiteX127" fmla="*/ 0 w 969963"/>
                    <a:gd name="connsiteY127" fmla="*/ 628650 h 957263"/>
                    <a:gd name="connsiteX128" fmla="*/ 488089 w 969963"/>
                    <a:gd name="connsiteY128" fmla="*/ 138113 h 957263"/>
                    <a:gd name="connsiteX129" fmla="*/ 505506 w 969963"/>
                    <a:gd name="connsiteY129" fmla="*/ 146504 h 957263"/>
                    <a:gd name="connsiteX130" fmla="*/ 512763 w 969963"/>
                    <a:gd name="connsiteY130" fmla="*/ 168181 h 957263"/>
                    <a:gd name="connsiteX131" fmla="*/ 506232 w 969963"/>
                    <a:gd name="connsiteY131" fmla="*/ 189159 h 957263"/>
                    <a:gd name="connsiteX132" fmla="*/ 488815 w 969963"/>
                    <a:gd name="connsiteY132" fmla="*/ 196851 h 957263"/>
                    <a:gd name="connsiteX133" fmla="*/ 461963 w 969963"/>
                    <a:gd name="connsiteY133" fmla="*/ 166783 h 957263"/>
                    <a:gd name="connsiteX134" fmla="*/ 488089 w 969963"/>
                    <a:gd name="connsiteY134" fmla="*/ 138113 h 957263"/>
                    <a:gd name="connsiteX135" fmla="*/ 860562 w 969963"/>
                    <a:gd name="connsiteY135" fmla="*/ 85725 h 957263"/>
                    <a:gd name="connsiteX136" fmla="*/ 887413 w 969963"/>
                    <a:gd name="connsiteY136" fmla="*/ 117662 h 957263"/>
                    <a:gd name="connsiteX137" fmla="*/ 861288 w 969963"/>
                    <a:gd name="connsiteY137" fmla="*/ 146050 h 957263"/>
                    <a:gd name="connsiteX138" fmla="*/ 843870 w 969963"/>
                    <a:gd name="connsiteY138" fmla="*/ 138243 h 957263"/>
                    <a:gd name="connsiteX139" fmla="*/ 836613 w 969963"/>
                    <a:gd name="connsiteY139" fmla="*/ 115533 h 957263"/>
                    <a:gd name="connsiteX140" fmla="*/ 843145 w 969963"/>
                    <a:gd name="connsiteY140" fmla="*/ 94241 h 957263"/>
                    <a:gd name="connsiteX141" fmla="*/ 860562 w 969963"/>
                    <a:gd name="connsiteY141" fmla="*/ 85725 h 957263"/>
                    <a:gd name="connsiteX142" fmla="*/ 858828 w 969963"/>
                    <a:gd name="connsiteY142" fmla="*/ 61913 h 957263"/>
                    <a:gd name="connsiteX143" fmla="*/ 821314 w 969963"/>
                    <a:gd name="connsiteY143" fmla="*/ 77530 h 957263"/>
                    <a:gd name="connsiteX144" fmla="*/ 806450 w 969963"/>
                    <a:gd name="connsiteY144" fmla="*/ 117992 h 957263"/>
                    <a:gd name="connsiteX145" fmla="*/ 821314 w 969963"/>
                    <a:gd name="connsiteY145" fmla="*/ 157744 h 957263"/>
                    <a:gd name="connsiteX146" fmla="*/ 858828 w 969963"/>
                    <a:gd name="connsiteY146" fmla="*/ 172651 h 957263"/>
                    <a:gd name="connsiteX147" fmla="*/ 878646 w 969963"/>
                    <a:gd name="connsiteY147" fmla="*/ 169102 h 957263"/>
                    <a:gd name="connsiteX148" fmla="*/ 829100 w 969963"/>
                    <a:gd name="connsiteY148" fmla="*/ 220211 h 957263"/>
                    <a:gd name="connsiteX149" fmla="*/ 845379 w 969963"/>
                    <a:gd name="connsiteY149" fmla="*/ 236538 h 957263"/>
                    <a:gd name="connsiteX150" fmla="*/ 894926 w 969963"/>
                    <a:gd name="connsiteY150" fmla="*/ 198206 h 957263"/>
                    <a:gd name="connsiteX151" fmla="*/ 917575 w 969963"/>
                    <a:gd name="connsiteY151" fmla="*/ 135738 h 957263"/>
                    <a:gd name="connsiteX152" fmla="*/ 858828 w 969963"/>
                    <a:gd name="connsiteY152" fmla="*/ 61913 h 957263"/>
                    <a:gd name="connsiteX153" fmla="*/ 101471 w 969963"/>
                    <a:gd name="connsiteY153" fmla="*/ 61913 h 957263"/>
                    <a:gd name="connsiteX154" fmla="*/ 73115 w 969963"/>
                    <a:gd name="connsiteY154" fmla="*/ 69706 h 957263"/>
                    <a:gd name="connsiteX155" fmla="*/ 53975 w 969963"/>
                    <a:gd name="connsiteY155" fmla="*/ 89543 h 957263"/>
                    <a:gd name="connsiteX156" fmla="*/ 74533 w 969963"/>
                    <a:gd name="connsiteY156" fmla="*/ 105838 h 957263"/>
                    <a:gd name="connsiteX157" fmla="*/ 102888 w 969963"/>
                    <a:gd name="connsiteY157" fmla="*/ 86710 h 957263"/>
                    <a:gd name="connsiteX158" fmla="*/ 125573 w 969963"/>
                    <a:gd name="connsiteY158" fmla="*/ 105838 h 957263"/>
                    <a:gd name="connsiteX159" fmla="*/ 109268 w 969963"/>
                    <a:gd name="connsiteY159" fmla="*/ 145513 h 957263"/>
                    <a:gd name="connsiteX160" fmla="*/ 56102 w 969963"/>
                    <a:gd name="connsiteY160" fmla="*/ 224153 h 957263"/>
                    <a:gd name="connsiteX161" fmla="*/ 56102 w 969963"/>
                    <a:gd name="connsiteY161" fmla="*/ 233363 h 957263"/>
                    <a:gd name="connsiteX162" fmla="*/ 166688 w 969963"/>
                    <a:gd name="connsiteY162" fmla="*/ 233363 h 957263"/>
                    <a:gd name="connsiteX163" fmla="*/ 166688 w 969963"/>
                    <a:gd name="connsiteY163" fmla="*/ 206441 h 957263"/>
                    <a:gd name="connsiteX164" fmla="*/ 103597 w 969963"/>
                    <a:gd name="connsiteY164" fmla="*/ 206441 h 957263"/>
                    <a:gd name="connsiteX165" fmla="*/ 137624 w 969963"/>
                    <a:gd name="connsiteY165" fmla="*/ 154014 h 957263"/>
                    <a:gd name="connsiteX166" fmla="*/ 156764 w 969963"/>
                    <a:gd name="connsiteY166" fmla="*/ 105838 h 957263"/>
                    <a:gd name="connsiteX167" fmla="*/ 141877 w 969963"/>
                    <a:gd name="connsiteY167" fmla="*/ 73249 h 957263"/>
                    <a:gd name="connsiteX168" fmla="*/ 101471 w 969963"/>
                    <a:gd name="connsiteY168" fmla="*/ 61913 h 957263"/>
                    <a:gd name="connsiteX169" fmla="*/ 503441 w 969963"/>
                    <a:gd name="connsiteY169" fmla="*/ 47625 h 957263"/>
                    <a:gd name="connsiteX170" fmla="*/ 453187 w 969963"/>
                    <a:gd name="connsiteY170" fmla="*/ 86306 h 957263"/>
                    <a:gd name="connsiteX171" fmla="*/ 430213 w 969963"/>
                    <a:gd name="connsiteY171" fmla="*/ 149342 h 957263"/>
                    <a:gd name="connsiteX172" fmla="*/ 489800 w 969963"/>
                    <a:gd name="connsiteY172" fmla="*/ 223838 h 957263"/>
                    <a:gd name="connsiteX173" fmla="*/ 527850 w 969963"/>
                    <a:gd name="connsiteY173" fmla="*/ 208079 h 957263"/>
                    <a:gd name="connsiteX174" fmla="*/ 542926 w 969963"/>
                    <a:gd name="connsiteY174" fmla="*/ 167966 h 957263"/>
                    <a:gd name="connsiteX175" fmla="*/ 527850 w 969963"/>
                    <a:gd name="connsiteY175" fmla="*/ 127136 h 957263"/>
                    <a:gd name="connsiteX176" fmla="*/ 489082 w 969963"/>
                    <a:gd name="connsiteY176" fmla="*/ 112093 h 957263"/>
                    <a:gd name="connsiteX177" fmla="*/ 468263 w 969963"/>
                    <a:gd name="connsiteY177" fmla="*/ 117824 h 957263"/>
                    <a:gd name="connsiteX178" fmla="*/ 487647 w 969963"/>
                    <a:gd name="connsiteY178" fmla="*/ 88455 h 957263"/>
                    <a:gd name="connsiteX179" fmla="*/ 519235 w 969963"/>
                    <a:gd name="connsiteY179" fmla="*/ 64817 h 957263"/>
                    <a:gd name="connsiteX180" fmla="*/ 503441 w 969963"/>
                    <a:gd name="connsiteY180" fmla="*/ 47625 h 957263"/>
                    <a:gd name="connsiteX181" fmla="*/ 755650 w 969963"/>
                    <a:gd name="connsiteY181" fmla="*/ 0 h 957263"/>
                    <a:gd name="connsiteX182" fmla="*/ 969963 w 969963"/>
                    <a:gd name="connsiteY182" fmla="*/ 0 h 957263"/>
                    <a:gd name="connsiteX183" fmla="*/ 969963 w 969963"/>
                    <a:gd name="connsiteY183" fmla="*/ 298450 h 957263"/>
                    <a:gd name="connsiteX184" fmla="*/ 755650 w 969963"/>
                    <a:gd name="connsiteY184" fmla="*/ 298450 h 957263"/>
                    <a:gd name="connsiteX185" fmla="*/ 377825 w 969963"/>
                    <a:gd name="connsiteY185" fmla="*/ 0 h 957263"/>
                    <a:gd name="connsiteX186" fmla="*/ 592138 w 969963"/>
                    <a:gd name="connsiteY186" fmla="*/ 0 h 957263"/>
                    <a:gd name="connsiteX187" fmla="*/ 592138 w 969963"/>
                    <a:gd name="connsiteY187" fmla="*/ 298450 h 957263"/>
                    <a:gd name="connsiteX188" fmla="*/ 377825 w 969963"/>
                    <a:gd name="connsiteY188" fmla="*/ 298450 h 957263"/>
                    <a:gd name="connsiteX189" fmla="*/ 0 w 969963"/>
                    <a:gd name="connsiteY189" fmla="*/ 0 h 957263"/>
                    <a:gd name="connsiteX190" fmla="*/ 215900 w 969963"/>
                    <a:gd name="connsiteY190" fmla="*/ 0 h 957263"/>
                    <a:gd name="connsiteX191" fmla="*/ 215900 w 969963"/>
                    <a:gd name="connsiteY191" fmla="*/ 298450 h 957263"/>
                    <a:gd name="connsiteX192" fmla="*/ 0 w 969963"/>
                    <a:gd name="connsiteY192" fmla="*/ 298450 h 9572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</a:cxnLst>
                  <a:rect l="l" t="t" r="r" b="b"/>
                  <a:pathLst>
                    <a:path w="969963" h="957263">
                      <a:moveTo>
                        <a:pt x="480969" y="806450"/>
                      </a:moveTo>
                      <a:cubicBezTo>
                        <a:pt x="500287" y="817880"/>
                        <a:pt x="509588" y="829310"/>
                        <a:pt x="509588" y="840740"/>
                      </a:cubicBezTo>
                      <a:cubicBezTo>
                        <a:pt x="509588" y="847884"/>
                        <a:pt x="507442" y="853599"/>
                        <a:pt x="502433" y="857885"/>
                      </a:cubicBezTo>
                      <a:cubicBezTo>
                        <a:pt x="497425" y="861457"/>
                        <a:pt x="490985" y="863600"/>
                        <a:pt x="483831" y="863600"/>
                      </a:cubicBezTo>
                      <a:cubicBezTo>
                        <a:pt x="475960" y="863600"/>
                        <a:pt x="470236" y="861457"/>
                        <a:pt x="465228" y="856456"/>
                      </a:cubicBezTo>
                      <a:cubicBezTo>
                        <a:pt x="460934" y="852170"/>
                        <a:pt x="458788" y="845741"/>
                        <a:pt x="458788" y="838597"/>
                      </a:cubicBezTo>
                      <a:cubicBezTo>
                        <a:pt x="458788" y="825738"/>
                        <a:pt x="465943" y="815023"/>
                        <a:pt x="480969" y="806450"/>
                      </a:cubicBezTo>
                      <a:close/>
                      <a:moveTo>
                        <a:pt x="119063" y="768350"/>
                      </a:moveTo>
                      <a:lnTo>
                        <a:pt x="119063" y="819150"/>
                      </a:lnTo>
                      <a:lnTo>
                        <a:pt x="73025" y="819150"/>
                      </a:lnTo>
                      <a:close/>
                      <a:moveTo>
                        <a:pt x="484188" y="739775"/>
                      </a:moveTo>
                      <a:cubicBezTo>
                        <a:pt x="489833" y="739775"/>
                        <a:pt x="494772" y="741204"/>
                        <a:pt x="498299" y="744061"/>
                      </a:cubicBezTo>
                      <a:cubicBezTo>
                        <a:pt x="501827" y="746919"/>
                        <a:pt x="503238" y="751205"/>
                        <a:pt x="503238" y="756206"/>
                      </a:cubicBezTo>
                      <a:cubicBezTo>
                        <a:pt x="503238" y="760492"/>
                        <a:pt x="501827" y="765493"/>
                        <a:pt x="498299" y="771208"/>
                      </a:cubicBezTo>
                      <a:cubicBezTo>
                        <a:pt x="495477" y="776923"/>
                        <a:pt x="491244" y="780495"/>
                        <a:pt x="487010" y="782638"/>
                      </a:cubicBezTo>
                      <a:cubicBezTo>
                        <a:pt x="482072" y="780495"/>
                        <a:pt x="477133" y="776923"/>
                        <a:pt x="472194" y="771922"/>
                      </a:cubicBezTo>
                      <a:cubicBezTo>
                        <a:pt x="467960" y="766207"/>
                        <a:pt x="465138" y="761207"/>
                        <a:pt x="465138" y="756206"/>
                      </a:cubicBezTo>
                      <a:cubicBezTo>
                        <a:pt x="465138" y="745490"/>
                        <a:pt x="471488" y="739775"/>
                        <a:pt x="484188" y="739775"/>
                      </a:cubicBezTo>
                      <a:close/>
                      <a:moveTo>
                        <a:pt x="876842" y="715963"/>
                      </a:moveTo>
                      <a:cubicBezTo>
                        <a:pt x="863967" y="731745"/>
                        <a:pt x="846086" y="745375"/>
                        <a:pt x="823913" y="756136"/>
                      </a:cubicBezTo>
                      <a:lnTo>
                        <a:pt x="823913" y="785547"/>
                      </a:lnTo>
                      <a:cubicBezTo>
                        <a:pt x="823913" y="785547"/>
                        <a:pt x="823913" y="785547"/>
                        <a:pt x="858961" y="764744"/>
                      </a:cubicBezTo>
                      <a:cubicBezTo>
                        <a:pt x="858961" y="764744"/>
                        <a:pt x="858961" y="764744"/>
                        <a:pt x="858961" y="887413"/>
                      </a:cubicBezTo>
                      <a:cubicBezTo>
                        <a:pt x="858961" y="887413"/>
                        <a:pt x="858961" y="887413"/>
                        <a:pt x="889001" y="887413"/>
                      </a:cubicBezTo>
                      <a:cubicBezTo>
                        <a:pt x="889001" y="887413"/>
                        <a:pt x="889001" y="887413"/>
                        <a:pt x="889001" y="715963"/>
                      </a:cubicBezTo>
                      <a:cubicBezTo>
                        <a:pt x="889001" y="715963"/>
                        <a:pt x="889001" y="715963"/>
                        <a:pt x="876842" y="715963"/>
                      </a:cubicBezTo>
                      <a:close/>
                      <a:moveTo>
                        <a:pt x="136525" y="715963"/>
                      </a:moveTo>
                      <a:lnTo>
                        <a:pt x="38100" y="825501"/>
                      </a:lnTo>
                      <a:lnTo>
                        <a:pt x="38100" y="842963"/>
                      </a:lnTo>
                      <a:lnTo>
                        <a:pt x="119063" y="842963"/>
                      </a:lnTo>
                      <a:lnTo>
                        <a:pt x="119063" y="887413"/>
                      </a:lnTo>
                      <a:lnTo>
                        <a:pt x="150813" y="887413"/>
                      </a:lnTo>
                      <a:lnTo>
                        <a:pt x="150813" y="842963"/>
                      </a:lnTo>
                      <a:lnTo>
                        <a:pt x="168275" y="842963"/>
                      </a:lnTo>
                      <a:lnTo>
                        <a:pt x="168275" y="819151"/>
                      </a:lnTo>
                      <a:lnTo>
                        <a:pt x="150813" y="819151"/>
                      </a:lnTo>
                      <a:lnTo>
                        <a:pt x="150813" y="715963"/>
                      </a:lnTo>
                      <a:close/>
                      <a:moveTo>
                        <a:pt x="486211" y="714375"/>
                      </a:moveTo>
                      <a:cubicBezTo>
                        <a:pt x="471852" y="714375"/>
                        <a:pt x="459648" y="717939"/>
                        <a:pt x="450315" y="725779"/>
                      </a:cubicBezTo>
                      <a:cubicBezTo>
                        <a:pt x="441700" y="733620"/>
                        <a:pt x="436675" y="743598"/>
                        <a:pt x="436675" y="757140"/>
                      </a:cubicBezTo>
                      <a:cubicBezTo>
                        <a:pt x="436675" y="763555"/>
                        <a:pt x="438828" y="770683"/>
                        <a:pt x="442418" y="777810"/>
                      </a:cubicBezTo>
                      <a:cubicBezTo>
                        <a:pt x="446725" y="784225"/>
                        <a:pt x="451751" y="789927"/>
                        <a:pt x="458212" y="794204"/>
                      </a:cubicBezTo>
                      <a:cubicBezTo>
                        <a:pt x="449597" y="798480"/>
                        <a:pt x="443136" y="804895"/>
                        <a:pt x="438110" y="813448"/>
                      </a:cubicBezTo>
                      <a:cubicBezTo>
                        <a:pt x="433085" y="821288"/>
                        <a:pt x="430213" y="829841"/>
                        <a:pt x="430213" y="838395"/>
                      </a:cubicBezTo>
                      <a:cubicBezTo>
                        <a:pt x="430213" y="854788"/>
                        <a:pt x="435239" y="867617"/>
                        <a:pt x="445290" y="876171"/>
                      </a:cubicBezTo>
                      <a:cubicBezTo>
                        <a:pt x="454622" y="884724"/>
                        <a:pt x="468263" y="889000"/>
                        <a:pt x="485493" y="889000"/>
                      </a:cubicBezTo>
                      <a:cubicBezTo>
                        <a:pt x="503441" y="889000"/>
                        <a:pt x="517081" y="884724"/>
                        <a:pt x="527132" y="876171"/>
                      </a:cubicBezTo>
                      <a:cubicBezTo>
                        <a:pt x="537183" y="866905"/>
                        <a:pt x="542926" y="854788"/>
                        <a:pt x="542926" y="838395"/>
                      </a:cubicBezTo>
                      <a:cubicBezTo>
                        <a:pt x="542926" y="830554"/>
                        <a:pt x="539337" y="822001"/>
                        <a:pt x="532875" y="813448"/>
                      </a:cubicBezTo>
                      <a:cubicBezTo>
                        <a:pt x="527132" y="804895"/>
                        <a:pt x="519953" y="798480"/>
                        <a:pt x="512774" y="794916"/>
                      </a:cubicBezTo>
                      <a:cubicBezTo>
                        <a:pt x="518517" y="792065"/>
                        <a:pt x="524260" y="786363"/>
                        <a:pt x="528568" y="778523"/>
                      </a:cubicBezTo>
                      <a:cubicBezTo>
                        <a:pt x="533593" y="771396"/>
                        <a:pt x="536465" y="764268"/>
                        <a:pt x="536465" y="757140"/>
                      </a:cubicBezTo>
                      <a:cubicBezTo>
                        <a:pt x="536465" y="743598"/>
                        <a:pt x="531440" y="733620"/>
                        <a:pt x="522825" y="725779"/>
                      </a:cubicBezTo>
                      <a:cubicBezTo>
                        <a:pt x="514210" y="717939"/>
                        <a:pt x="502005" y="714375"/>
                        <a:pt x="486211" y="714375"/>
                      </a:cubicBezTo>
                      <a:close/>
                      <a:moveTo>
                        <a:pt x="755650" y="658813"/>
                      </a:moveTo>
                      <a:lnTo>
                        <a:pt x="969963" y="658813"/>
                      </a:lnTo>
                      <a:lnTo>
                        <a:pt x="969963" y="957263"/>
                      </a:lnTo>
                      <a:lnTo>
                        <a:pt x="755650" y="957263"/>
                      </a:lnTo>
                      <a:close/>
                      <a:moveTo>
                        <a:pt x="379413" y="658813"/>
                      </a:moveTo>
                      <a:lnTo>
                        <a:pt x="595313" y="658813"/>
                      </a:lnTo>
                      <a:lnTo>
                        <a:pt x="595313" y="957263"/>
                      </a:lnTo>
                      <a:lnTo>
                        <a:pt x="379413" y="957263"/>
                      </a:lnTo>
                      <a:close/>
                      <a:moveTo>
                        <a:pt x="0" y="658813"/>
                      </a:moveTo>
                      <a:lnTo>
                        <a:pt x="215900" y="658813"/>
                      </a:lnTo>
                      <a:lnTo>
                        <a:pt x="215900" y="957263"/>
                      </a:lnTo>
                      <a:lnTo>
                        <a:pt x="0" y="957263"/>
                      </a:lnTo>
                      <a:close/>
                      <a:moveTo>
                        <a:pt x="863869" y="411163"/>
                      </a:moveTo>
                      <a:cubicBezTo>
                        <a:pt x="873776" y="411163"/>
                        <a:pt x="880853" y="415444"/>
                        <a:pt x="885807" y="424719"/>
                      </a:cubicBezTo>
                      <a:cubicBezTo>
                        <a:pt x="890053" y="433281"/>
                        <a:pt x="892176" y="448978"/>
                        <a:pt x="892176" y="471809"/>
                      </a:cubicBezTo>
                      <a:cubicBezTo>
                        <a:pt x="892176" y="496781"/>
                        <a:pt x="890053" y="513905"/>
                        <a:pt x="885099" y="523180"/>
                      </a:cubicBezTo>
                      <a:cubicBezTo>
                        <a:pt x="880853" y="533169"/>
                        <a:pt x="873069" y="538163"/>
                        <a:pt x="861746" y="538163"/>
                      </a:cubicBezTo>
                      <a:cubicBezTo>
                        <a:pt x="851838" y="538163"/>
                        <a:pt x="844761" y="532455"/>
                        <a:pt x="840515" y="521753"/>
                      </a:cubicBezTo>
                      <a:cubicBezTo>
                        <a:pt x="835561" y="511051"/>
                        <a:pt x="833438" y="494641"/>
                        <a:pt x="833438" y="471809"/>
                      </a:cubicBezTo>
                      <a:cubicBezTo>
                        <a:pt x="833438" y="431854"/>
                        <a:pt x="844054" y="411163"/>
                        <a:pt x="863869" y="411163"/>
                      </a:cubicBezTo>
                      <a:close/>
                      <a:moveTo>
                        <a:pt x="431800" y="390525"/>
                      </a:moveTo>
                      <a:lnTo>
                        <a:pt x="431800" y="417646"/>
                      </a:lnTo>
                      <a:cubicBezTo>
                        <a:pt x="431800" y="417646"/>
                        <a:pt x="431800" y="417646"/>
                        <a:pt x="509878" y="417646"/>
                      </a:cubicBezTo>
                      <a:cubicBezTo>
                        <a:pt x="479077" y="474029"/>
                        <a:pt x="457587" y="521848"/>
                        <a:pt x="444694" y="560388"/>
                      </a:cubicBezTo>
                      <a:cubicBezTo>
                        <a:pt x="444694" y="560388"/>
                        <a:pt x="444694" y="560388"/>
                        <a:pt x="478360" y="560388"/>
                      </a:cubicBezTo>
                      <a:cubicBezTo>
                        <a:pt x="480509" y="552537"/>
                        <a:pt x="484091" y="543259"/>
                        <a:pt x="488389" y="532553"/>
                      </a:cubicBezTo>
                      <a:cubicBezTo>
                        <a:pt x="491970" y="521848"/>
                        <a:pt x="496985" y="511142"/>
                        <a:pt x="501999" y="499009"/>
                      </a:cubicBezTo>
                      <a:cubicBezTo>
                        <a:pt x="507013" y="486876"/>
                        <a:pt x="512743" y="475457"/>
                        <a:pt x="518474" y="464037"/>
                      </a:cubicBezTo>
                      <a:cubicBezTo>
                        <a:pt x="524204" y="452618"/>
                        <a:pt x="529219" y="441912"/>
                        <a:pt x="534233" y="431920"/>
                      </a:cubicBezTo>
                      <a:cubicBezTo>
                        <a:pt x="534233" y="431920"/>
                        <a:pt x="534233" y="431920"/>
                        <a:pt x="549275" y="403372"/>
                      </a:cubicBezTo>
                      <a:cubicBezTo>
                        <a:pt x="549275" y="403372"/>
                        <a:pt x="549275" y="403372"/>
                        <a:pt x="549275" y="390525"/>
                      </a:cubicBezTo>
                      <a:cubicBezTo>
                        <a:pt x="549275" y="390525"/>
                        <a:pt x="549275" y="390525"/>
                        <a:pt x="431800" y="390525"/>
                      </a:cubicBezTo>
                      <a:close/>
                      <a:moveTo>
                        <a:pt x="864594" y="387350"/>
                      </a:moveTo>
                      <a:cubicBezTo>
                        <a:pt x="845294" y="387350"/>
                        <a:pt x="830282" y="395230"/>
                        <a:pt x="818844" y="411705"/>
                      </a:cubicBezTo>
                      <a:cubicBezTo>
                        <a:pt x="807407" y="427464"/>
                        <a:pt x="801688" y="447520"/>
                        <a:pt x="801688" y="470442"/>
                      </a:cubicBezTo>
                      <a:cubicBezTo>
                        <a:pt x="801688" y="502677"/>
                        <a:pt x="806692" y="526315"/>
                        <a:pt x="816700" y="540641"/>
                      </a:cubicBezTo>
                      <a:cubicBezTo>
                        <a:pt x="826708" y="555684"/>
                        <a:pt x="842434" y="563563"/>
                        <a:pt x="863165" y="563563"/>
                      </a:cubicBezTo>
                      <a:cubicBezTo>
                        <a:pt x="882465" y="563563"/>
                        <a:pt x="896762" y="554967"/>
                        <a:pt x="907485" y="539208"/>
                      </a:cubicBezTo>
                      <a:cubicBezTo>
                        <a:pt x="918208" y="522733"/>
                        <a:pt x="923926" y="501244"/>
                        <a:pt x="923926" y="474024"/>
                      </a:cubicBezTo>
                      <a:cubicBezTo>
                        <a:pt x="923926" y="416719"/>
                        <a:pt x="903911" y="387350"/>
                        <a:pt x="864594" y="387350"/>
                      </a:cubicBezTo>
                      <a:close/>
                      <a:moveTo>
                        <a:pt x="99186" y="387350"/>
                      </a:moveTo>
                      <a:cubicBezTo>
                        <a:pt x="91292" y="387350"/>
                        <a:pt x="83398" y="389499"/>
                        <a:pt x="75504" y="392364"/>
                      </a:cubicBezTo>
                      <a:cubicBezTo>
                        <a:pt x="68328" y="395946"/>
                        <a:pt x="62587" y="399527"/>
                        <a:pt x="58999" y="404542"/>
                      </a:cubicBezTo>
                      <a:cubicBezTo>
                        <a:pt x="58999" y="404542"/>
                        <a:pt x="58999" y="404542"/>
                        <a:pt x="72634" y="425315"/>
                      </a:cubicBezTo>
                      <a:cubicBezTo>
                        <a:pt x="80528" y="417435"/>
                        <a:pt x="89139" y="413137"/>
                        <a:pt x="97033" y="413137"/>
                      </a:cubicBezTo>
                      <a:cubicBezTo>
                        <a:pt x="113539" y="413137"/>
                        <a:pt x="121433" y="421017"/>
                        <a:pt x="121433" y="436059"/>
                      </a:cubicBezTo>
                      <a:cubicBezTo>
                        <a:pt x="121433" y="450386"/>
                        <a:pt x="112821" y="457549"/>
                        <a:pt x="95598" y="457549"/>
                      </a:cubicBezTo>
                      <a:cubicBezTo>
                        <a:pt x="95598" y="457549"/>
                        <a:pt x="95598" y="457549"/>
                        <a:pt x="91292" y="457549"/>
                      </a:cubicBezTo>
                      <a:cubicBezTo>
                        <a:pt x="91292" y="457549"/>
                        <a:pt x="91292" y="457549"/>
                        <a:pt x="91292" y="482620"/>
                      </a:cubicBezTo>
                      <a:cubicBezTo>
                        <a:pt x="91292" y="482620"/>
                        <a:pt x="91292" y="482620"/>
                        <a:pt x="96316" y="482620"/>
                      </a:cubicBezTo>
                      <a:cubicBezTo>
                        <a:pt x="105645" y="482620"/>
                        <a:pt x="113539" y="485485"/>
                        <a:pt x="119280" y="490499"/>
                      </a:cubicBezTo>
                      <a:cubicBezTo>
                        <a:pt x="124304" y="495513"/>
                        <a:pt x="127174" y="501960"/>
                        <a:pt x="127174" y="510556"/>
                      </a:cubicBezTo>
                      <a:cubicBezTo>
                        <a:pt x="127174" y="528464"/>
                        <a:pt x="117845" y="537776"/>
                        <a:pt x="98469" y="537776"/>
                      </a:cubicBezTo>
                      <a:cubicBezTo>
                        <a:pt x="87704" y="537776"/>
                        <a:pt x="78375" y="532762"/>
                        <a:pt x="69046" y="523450"/>
                      </a:cubicBezTo>
                      <a:cubicBezTo>
                        <a:pt x="69046" y="523450"/>
                        <a:pt x="69046" y="523450"/>
                        <a:pt x="53975" y="546372"/>
                      </a:cubicBezTo>
                      <a:cubicBezTo>
                        <a:pt x="66175" y="557833"/>
                        <a:pt x="81245" y="563563"/>
                        <a:pt x="98469" y="563563"/>
                      </a:cubicBezTo>
                      <a:cubicBezTo>
                        <a:pt x="117127" y="563563"/>
                        <a:pt x="132198" y="558549"/>
                        <a:pt x="142962" y="549953"/>
                      </a:cubicBezTo>
                      <a:cubicBezTo>
                        <a:pt x="153727" y="541357"/>
                        <a:pt x="158750" y="528464"/>
                        <a:pt x="158750" y="511989"/>
                      </a:cubicBezTo>
                      <a:cubicBezTo>
                        <a:pt x="158750" y="492648"/>
                        <a:pt x="150139" y="478322"/>
                        <a:pt x="131480" y="469726"/>
                      </a:cubicBezTo>
                      <a:cubicBezTo>
                        <a:pt x="145833" y="461130"/>
                        <a:pt x="153009" y="448237"/>
                        <a:pt x="153009" y="431762"/>
                      </a:cubicBezTo>
                      <a:cubicBezTo>
                        <a:pt x="153009" y="417435"/>
                        <a:pt x="148703" y="406691"/>
                        <a:pt x="138656" y="399527"/>
                      </a:cubicBezTo>
                      <a:cubicBezTo>
                        <a:pt x="129327" y="391648"/>
                        <a:pt x="116410" y="387350"/>
                        <a:pt x="99186" y="387350"/>
                      </a:cubicBezTo>
                      <a:close/>
                      <a:moveTo>
                        <a:pt x="755650" y="330200"/>
                      </a:moveTo>
                      <a:lnTo>
                        <a:pt x="969963" y="330200"/>
                      </a:lnTo>
                      <a:lnTo>
                        <a:pt x="969963" y="628650"/>
                      </a:lnTo>
                      <a:lnTo>
                        <a:pt x="755650" y="628650"/>
                      </a:lnTo>
                      <a:close/>
                      <a:moveTo>
                        <a:pt x="377825" y="330200"/>
                      </a:moveTo>
                      <a:lnTo>
                        <a:pt x="592138" y="330200"/>
                      </a:lnTo>
                      <a:lnTo>
                        <a:pt x="592138" y="628650"/>
                      </a:lnTo>
                      <a:lnTo>
                        <a:pt x="377825" y="628650"/>
                      </a:lnTo>
                      <a:close/>
                      <a:moveTo>
                        <a:pt x="0" y="330200"/>
                      </a:moveTo>
                      <a:lnTo>
                        <a:pt x="215900" y="330200"/>
                      </a:lnTo>
                      <a:lnTo>
                        <a:pt x="215900" y="628650"/>
                      </a:lnTo>
                      <a:lnTo>
                        <a:pt x="0" y="628650"/>
                      </a:lnTo>
                      <a:close/>
                      <a:moveTo>
                        <a:pt x="488089" y="138113"/>
                      </a:moveTo>
                      <a:cubicBezTo>
                        <a:pt x="495346" y="138113"/>
                        <a:pt x="501152" y="140910"/>
                        <a:pt x="505506" y="146504"/>
                      </a:cubicBezTo>
                      <a:cubicBezTo>
                        <a:pt x="510586" y="152098"/>
                        <a:pt x="512763" y="159091"/>
                        <a:pt x="512763" y="168181"/>
                      </a:cubicBezTo>
                      <a:cubicBezTo>
                        <a:pt x="512763" y="177272"/>
                        <a:pt x="510586" y="184264"/>
                        <a:pt x="506232" y="189159"/>
                      </a:cubicBezTo>
                      <a:cubicBezTo>
                        <a:pt x="501878" y="194753"/>
                        <a:pt x="496072" y="196851"/>
                        <a:pt x="488815" y="196851"/>
                      </a:cubicBezTo>
                      <a:cubicBezTo>
                        <a:pt x="470672" y="196851"/>
                        <a:pt x="461963" y="187061"/>
                        <a:pt x="461963" y="166783"/>
                      </a:cubicBezTo>
                      <a:cubicBezTo>
                        <a:pt x="461963" y="147903"/>
                        <a:pt x="470672" y="138113"/>
                        <a:pt x="488089" y="138113"/>
                      </a:cubicBezTo>
                      <a:close/>
                      <a:moveTo>
                        <a:pt x="860562" y="85725"/>
                      </a:moveTo>
                      <a:cubicBezTo>
                        <a:pt x="878705" y="85725"/>
                        <a:pt x="887413" y="96370"/>
                        <a:pt x="887413" y="117662"/>
                      </a:cubicBezTo>
                      <a:cubicBezTo>
                        <a:pt x="887413" y="136824"/>
                        <a:pt x="878705" y="146050"/>
                        <a:pt x="861288" y="146050"/>
                      </a:cubicBezTo>
                      <a:cubicBezTo>
                        <a:pt x="854030" y="146050"/>
                        <a:pt x="848225" y="143211"/>
                        <a:pt x="843870" y="138243"/>
                      </a:cubicBezTo>
                      <a:cubicBezTo>
                        <a:pt x="838790" y="132565"/>
                        <a:pt x="836613" y="125468"/>
                        <a:pt x="836613" y="115533"/>
                      </a:cubicBezTo>
                      <a:cubicBezTo>
                        <a:pt x="836613" y="106306"/>
                        <a:pt x="838790" y="99209"/>
                        <a:pt x="843145" y="94241"/>
                      </a:cubicBezTo>
                      <a:cubicBezTo>
                        <a:pt x="847499" y="88564"/>
                        <a:pt x="853305" y="85725"/>
                        <a:pt x="860562" y="85725"/>
                      </a:cubicBezTo>
                      <a:close/>
                      <a:moveTo>
                        <a:pt x="858828" y="61913"/>
                      </a:moveTo>
                      <a:cubicBezTo>
                        <a:pt x="843964" y="61913"/>
                        <a:pt x="831223" y="66882"/>
                        <a:pt x="821314" y="77530"/>
                      </a:cubicBezTo>
                      <a:cubicBezTo>
                        <a:pt x="811405" y="87468"/>
                        <a:pt x="806450" y="100955"/>
                        <a:pt x="806450" y="117992"/>
                      </a:cubicBezTo>
                      <a:cubicBezTo>
                        <a:pt x="806450" y="135028"/>
                        <a:pt x="811405" y="148516"/>
                        <a:pt x="821314" y="157744"/>
                      </a:cubicBezTo>
                      <a:cubicBezTo>
                        <a:pt x="830516" y="167682"/>
                        <a:pt x="843256" y="172651"/>
                        <a:pt x="858828" y="172651"/>
                      </a:cubicBezTo>
                      <a:cubicBezTo>
                        <a:pt x="867321" y="172651"/>
                        <a:pt x="873691" y="171941"/>
                        <a:pt x="878646" y="169102"/>
                      </a:cubicBezTo>
                      <a:cubicBezTo>
                        <a:pt x="869445" y="190397"/>
                        <a:pt x="852457" y="206724"/>
                        <a:pt x="829100" y="220211"/>
                      </a:cubicBezTo>
                      <a:cubicBezTo>
                        <a:pt x="829100" y="220211"/>
                        <a:pt x="829100" y="220211"/>
                        <a:pt x="845379" y="236538"/>
                      </a:cubicBezTo>
                      <a:cubicBezTo>
                        <a:pt x="863074" y="232279"/>
                        <a:pt x="879354" y="219502"/>
                        <a:pt x="894926" y="198206"/>
                      </a:cubicBezTo>
                      <a:cubicBezTo>
                        <a:pt x="909789" y="177620"/>
                        <a:pt x="917575" y="156324"/>
                        <a:pt x="917575" y="135738"/>
                      </a:cubicBezTo>
                      <a:cubicBezTo>
                        <a:pt x="917575" y="86048"/>
                        <a:pt x="897757" y="61913"/>
                        <a:pt x="858828" y="61913"/>
                      </a:cubicBezTo>
                      <a:close/>
                      <a:moveTo>
                        <a:pt x="101471" y="61913"/>
                      </a:moveTo>
                      <a:cubicBezTo>
                        <a:pt x="90837" y="61913"/>
                        <a:pt x="81622" y="64039"/>
                        <a:pt x="73115" y="69706"/>
                      </a:cubicBezTo>
                      <a:cubicBezTo>
                        <a:pt x="64609" y="74666"/>
                        <a:pt x="58229" y="81750"/>
                        <a:pt x="53975" y="89543"/>
                      </a:cubicBezTo>
                      <a:cubicBezTo>
                        <a:pt x="53975" y="89543"/>
                        <a:pt x="53975" y="89543"/>
                        <a:pt x="74533" y="105838"/>
                      </a:cubicBezTo>
                      <a:cubicBezTo>
                        <a:pt x="81622" y="93086"/>
                        <a:pt x="90837" y="86710"/>
                        <a:pt x="102888" y="86710"/>
                      </a:cubicBezTo>
                      <a:cubicBezTo>
                        <a:pt x="117775" y="86710"/>
                        <a:pt x="125573" y="93086"/>
                        <a:pt x="125573" y="105838"/>
                      </a:cubicBezTo>
                      <a:cubicBezTo>
                        <a:pt x="125573" y="117174"/>
                        <a:pt x="119902" y="129926"/>
                        <a:pt x="109268" y="145513"/>
                      </a:cubicBezTo>
                      <a:cubicBezTo>
                        <a:pt x="109268" y="145513"/>
                        <a:pt x="109268" y="145513"/>
                        <a:pt x="56102" y="224153"/>
                      </a:cubicBezTo>
                      <a:cubicBezTo>
                        <a:pt x="56102" y="224153"/>
                        <a:pt x="56102" y="224153"/>
                        <a:pt x="56102" y="233363"/>
                      </a:cubicBezTo>
                      <a:cubicBezTo>
                        <a:pt x="56102" y="233363"/>
                        <a:pt x="56102" y="233363"/>
                        <a:pt x="166688" y="233363"/>
                      </a:cubicBezTo>
                      <a:cubicBezTo>
                        <a:pt x="166688" y="233363"/>
                        <a:pt x="166688" y="233363"/>
                        <a:pt x="166688" y="206441"/>
                      </a:cubicBezTo>
                      <a:cubicBezTo>
                        <a:pt x="166688" y="206441"/>
                        <a:pt x="166688" y="206441"/>
                        <a:pt x="103597" y="206441"/>
                      </a:cubicBezTo>
                      <a:cubicBezTo>
                        <a:pt x="103597" y="206441"/>
                        <a:pt x="103597" y="206441"/>
                        <a:pt x="137624" y="154014"/>
                      </a:cubicBezTo>
                      <a:cubicBezTo>
                        <a:pt x="150384" y="134886"/>
                        <a:pt x="156764" y="119299"/>
                        <a:pt x="156764" y="105838"/>
                      </a:cubicBezTo>
                      <a:cubicBezTo>
                        <a:pt x="156764" y="92377"/>
                        <a:pt x="151802" y="81042"/>
                        <a:pt x="141877" y="73249"/>
                      </a:cubicBezTo>
                      <a:cubicBezTo>
                        <a:pt x="131953" y="65455"/>
                        <a:pt x="118484" y="61913"/>
                        <a:pt x="101471" y="61913"/>
                      </a:cubicBezTo>
                      <a:close/>
                      <a:moveTo>
                        <a:pt x="503441" y="47625"/>
                      </a:moveTo>
                      <a:cubicBezTo>
                        <a:pt x="485493" y="51923"/>
                        <a:pt x="468263" y="64817"/>
                        <a:pt x="453187" y="86306"/>
                      </a:cubicBezTo>
                      <a:cubicBezTo>
                        <a:pt x="438110" y="107795"/>
                        <a:pt x="430213" y="128568"/>
                        <a:pt x="430213" y="149342"/>
                      </a:cubicBezTo>
                      <a:cubicBezTo>
                        <a:pt x="430213" y="198767"/>
                        <a:pt x="450315" y="223838"/>
                        <a:pt x="489800" y="223838"/>
                      </a:cubicBezTo>
                      <a:cubicBezTo>
                        <a:pt x="504877" y="223838"/>
                        <a:pt x="517799" y="218824"/>
                        <a:pt x="527850" y="208079"/>
                      </a:cubicBezTo>
                      <a:cubicBezTo>
                        <a:pt x="537901" y="198051"/>
                        <a:pt x="542926" y="184441"/>
                        <a:pt x="542926" y="167966"/>
                      </a:cubicBezTo>
                      <a:cubicBezTo>
                        <a:pt x="542926" y="150774"/>
                        <a:pt x="537901" y="137164"/>
                        <a:pt x="527850" y="127136"/>
                      </a:cubicBezTo>
                      <a:cubicBezTo>
                        <a:pt x="518517" y="117107"/>
                        <a:pt x="505595" y="112093"/>
                        <a:pt x="489082" y="112093"/>
                      </a:cubicBezTo>
                      <a:cubicBezTo>
                        <a:pt x="483339" y="112093"/>
                        <a:pt x="476160" y="114242"/>
                        <a:pt x="468263" y="117824"/>
                      </a:cubicBezTo>
                      <a:cubicBezTo>
                        <a:pt x="471852" y="108512"/>
                        <a:pt x="478314" y="98483"/>
                        <a:pt x="487647" y="88455"/>
                      </a:cubicBezTo>
                      <a:cubicBezTo>
                        <a:pt x="497697" y="78427"/>
                        <a:pt x="507748" y="70547"/>
                        <a:pt x="519235" y="64817"/>
                      </a:cubicBezTo>
                      <a:cubicBezTo>
                        <a:pt x="519235" y="64817"/>
                        <a:pt x="519235" y="64817"/>
                        <a:pt x="503441" y="47625"/>
                      </a:cubicBezTo>
                      <a:close/>
                      <a:moveTo>
                        <a:pt x="755650" y="0"/>
                      </a:moveTo>
                      <a:lnTo>
                        <a:pt x="969963" y="0"/>
                      </a:lnTo>
                      <a:lnTo>
                        <a:pt x="969963" y="298450"/>
                      </a:lnTo>
                      <a:lnTo>
                        <a:pt x="755650" y="298450"/>
                      </a:lnTo>
                      <a:close/>
                      <a:moveTo>
                        <a:pt x="377825" y="0"/>
                      </a:moveTo>
                      <a:lnTo>
                        <a:pt x="592138" y="0"/>
                      </a:lnTo>
                      <a:lnTo>
                        <a:pt x="592138" y="298450"/>
                      </a:lnTo>
                      <a:lnTo>
                        <a:pt x="377825" y="298450"/>
                      </a:lnTo>
                      <a:close/>
                      <a:moveTo>
                        <a:pt x="0" y="0"/>
                      </a:moveTo>
                      <a:lnTo>
                        <a:pt x="215900" y="0"/>
                      </a:lnTo>
                      <a:lnTo>
                        <a:pt x="215900" y="298450"/>
                      </a:lnTo>
                      <a:lnTo>
                        <a:pt x="0" y="298450"/>
                      </a:lnTo>
                      <a:close/>
                    </a:path>
                  </a:pathLst>
                </a:custGeom>
                <a:solidFill>
                  <a:srgbClr val="881E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6F7375"/>
                    </a:solidFill>
                    <a:latin typeface="Montserrat" panose="00000500000000000000" pitchFamily="2" charset="0"/>
                  </a:endParaRPr>
                </a:p>
              </p:txBody>
            </p:sp>
          </p:grpSp>
        </p:grpSp>
        <p:sp>
          <p:nvSpPr>
            <p:cNvPr id="25" name="Secure enterprise digital space in the quantum era">
              <a:extLst>
                <a:ext uri="{FF2B5EF4-FFF2-40B4-BE49-F238E27FC236}">
                  <a16:creationId xmlns:a16="http://schemas.microsoft.com/office/drawing/2014/main" id="{7BD1642C-52F3-AAD0-3020-47B813BC28E4}"/>
                </a:ext>
              </a:extLst>
            </p:cNvPr>
            <p:cNvSpPr/>
            <p:nvPr/>
          </p:nvSpPr>
          <p:spPr>
            <a:xfrm>
              <a:off x="8097686" y="4612758"/>
              <a:ext cx="1644669" cy="535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lnSpc>
                  <a:spcPct val="100000"/>
                </a:lnSpc>
                <a:spcAft>
                  <a:spcPts val="1500"/>
                </a:spcAft>
                <a:buNone/>
              </a:pPr>
              <a:r>
                <a:rPr lang="en-US" sz="1600">
                  <a:solidFill>
                    <a:schemeClr val="bg1"/>
                  </a:solidFill>
                  <a:latin typeface="Montserrat" panose="00000500000000000000" pitchFamily="2" charset="0"/>
                  <a:ea typeface="Montserrat Medium Italic" pitchFamily="34" charset="-122"/>
                  <a:cs typeface="Montserrat Medium Italic" pitchFamily="34" charset="-120"/>
                </a:rPr>
                <a:t>E2E crypto guarantee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4C80527-FF74-6A56-372D-D085E5A9D42F}"/>
              </a:ext>
            </a:extLst>
          </p:cNvPr>
          <p:cNvGrpSpPr/>
          <p:nvPr/>
        </p:nvGrpSpPr>
        <p:grpSpPr>
          <a:xfrm>
            <a:off x="10041961" y="3745628"/>
            <a:ext cx="1644669" cy="1402628"/>
            <a:chOff x="10041961" y="3745628"/>
            <a:chExt cx="1644669" cy="140262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38A9C7C-204D-74FA-00CA-FFD0398C5163}"/>
                </a:ext>
              </a:extLst>
            </p:cNvPr>
            <p:cNvGrpSpPr/>
            <p:nvPr/>
          </p:nvGrpSpPr>
          <p:grpSpPr>
            <a:xfrm>
              <a:off x="10362141" y="3745628"/>
              <a:ext cx="1004308" cy="883858"/>
              <a:chOff x="5638800" y="2971800"/>
              <a:chExt cx="914400" cy="914400"/>
            </a:xfrm>
          </p:grpSpPr>
          <p:sp>
            <p:nvSpPr>
              <p:cNvPr id="9" name="Triangle 97">
                <a:extLst>
                  <a:ext uri="{FF2B5EF4-FFF2-40B4-BE49-F238E27FC236}">
                    <a16:creationId xmlns:a16="http://schemas.microsoft.com/office/drawing/2014/main" id="{EF578CED-2FE0-5EF5-D5B9-391AB59BF1FF}"/>
                  </a:ext>
                </a:extLst>
              </p:cNvPr>
              <p:cNvSpPr/>
              <p:nvPr/>
            </p:nvSpPr>
            <p:spPr>
              <a:xfrm>
                <a:off x="5762848" y="3099390"/>
                <a:ext cx="664534" cy="201749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E">
                  <a:latin typeface="Montserrat" panose="00000500000000000000" pitchFamily="2" charset="0"/>
                </a:endParaRPr>
              </a:p>
            </p:txBody>
          </p:sp>
          <p:pic>
            <p:nvPicPr>
              <p:cNvPr id="10" name="Graphic 9" descr="Court outline">
                <a:extLst>
                  <a:ext uri="{FF2B5EF4-FFF2-40B4-BE49-F238E27FC236}">
                    <a16:creationId xmlns:a16="http://schemas.microsoft.com/office/drawing/2014/main" id="{6B49FA77-9074-2429-C159-F8E92019BE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26" name="Secure enterprise digital space in the quantum era">
              <a:extLst>
                <a:ext uri="{FF2B5EF4-FFF2-40B4-BE49-F238E27FC236}">
                  <a16:creationId xmlns:a16="http://schemas.microsoft.com/office/drawing/2014/main" id="{E42BFF5B-9264-63CC-C57D-D135C14E5CE7}"/>
                </a:ext>
              </a:extLst>
            </p:cNvPr>
            <p:cNvSpPr/>
            <p:nvPr/>
          </p:nvSpPr>
          <p:spPr>
            <a:xfrm>
              <a:off x="10041961" y="4612758"/>
              <a:ext cx="1644669" cy="535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lnSpc>
                  <a:spcPct val="100000"/>
                </a:lnSpc>
                <a:spcAft>
                  <a:spcPts val="1500"/>
                </a:spcAft>
                <a:buNone/>
              </a:pPr>
              <a:r>
                <a:rPr lang="en-US" sz="1600">
                  <a:solidFill>
                    <a:schemeClr val="bg1"/>
                  </a:solidFill>
                  <a:latin typeface="Montserrat" panose="00000500000000000000" pitchFamily="2" charset="0"/>
                  <a:ea typeface="Montserrat Medium Italic" pitchFamily="34" charset="-122"/>
                  <a:cs typeface="Montserrat Medium Italic" pitchFamily="34" charset="-120"/>
                </a:rPr>
                <a:t>Compliance by design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ACE77B-EDA7-9AE8-51F8-89E1F54D8B69}"/>
              </a:ext>
            </a:extLst>
          </p:cNvPr>
          <p:cNvGrpSpPr/>
          <p:nvPr/>
        </p:nvGrpSpPr>
        <p:grpSpPr>
          <a:xfrm>
            <a:off x="8903801" y="5196965"/>
            <a:ext cx="1644669" cy="1320905"/>
            <a:chOff x="8877923" y="5196965"/>
            <a:chExt cx="1644669" cy="1320905"/>
          </a:xfrm>
        </p:grpSpPr>
        <p:grpSp>
          <p:nvGrpSpPr>
            <p:cNvPr id="19" name="bcgIcons_Agile 1">
              <a:extLst>
                <a:ext uri="{FF2B5EF4-FFF2-40B4-BE49-F238E27FC236}">
                  <a16:creationId xmlns:a16="http://schemas.microsoft.com/office/drawing/2014/main" id="{C46A0F2D-0993-5F6E-B1C7-118D3F1F52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69048" y="5196965"/>
              <a:ext cx="862419" cy="862419"/>
              <a:chOff x="5273675" y="2514600"/>
              <a:chExt cx="1646238" cy="1646238"/>
            </a:xfrm>
          </p:grpSpPr>
          <p:sp>
            <p:nvSpPr>
              <p:cNvPr id="20" name="AutoShape 9">
                <a:extLst>
                  <a:ext uri="{FF2B5EF4-FFF2-40B4-BE49-F238E27FC236}">
                    <a16:creationId xmlns:a16="http://schemas.microsoft.com/office/drawing/2014/main" id="{372F4DFA-8E45-9D16-2B83-135EE22E60B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73675" y="2514600"/>
                <a:ext cx="1646238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685800">
                  <a:defRPr/>
                </a:pPr>
                <a:endParaRPr lang="en-US" sz="1350">
                  <a:solidFill>
                    <a:srgbClr val="6F7375"/>
                  </a:solidFill>
                  <a:latin typeface="Montserrat" panose="00000500000000000000" pitchFamily="2" charset="0"/>
                </a:endParaRP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88DCFC94-C20A-291D-D8E2-DFD2BEBA01C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466557" y="2735263"/>
                <a:ext cx="1260475" cy="1204913"/>
                <a:chOff x="5468938" y="2735263"/>
                <a:chExt cx="1260475" cy="1204913"/>
              </a:xfrm>
            </p:grpSpPr>
            <p:sp>
              <p:nvSpPr>
                <p:cNvPr id="22" name="Freeform 5">
                  <a:extLst>
                    <a:ext uri="{FF2B5EF4-FFF2-40B4-BE49-F238E27FC236}">
                      <a16:creationId xmlns:a16="http://schemas.microsoft.com/office/drawing/2014/main" id="{F908C0C1-7781-B1A9-D077-E82313DA58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848" y="2797175"/>
                  <a:ext cx="1135063" cy="1081087"/>
                </a:xfrm>
                <a:custGeom>
                  <a:avLst/>
                  <a:gdLst>
                    <a:gd name="connsiteX0" fmla="*/ 559594 w 1135063"/>
                    <a:gd name="connsiteY0" fmla="*/ 141288 h 1081088"/>
                    <a:gd name="connsiteX1" fmla="*/ 264894 w 1135063"/>
                    <a:gd name="connsiteY1" fmla="*/ 263562 h 1081088"/>
                    <a:gd name="connsiteX2" fmla="*/ 142875 w 1135063"/>
                    <a:gd name="connsiteY2" fmla="*/ 559595 h 1081088"/>
                    <a:gd name="connsiteX3" fmla="*/ 264894 w 1135063"/>
                    <a:gd name="connsiteY3" fmla="*/ 855627 h 1081088"/>
                    <a:gd name="connsiteX4" fmla="*/ 559594 w 1135063"/>
                    <a:gd name="connsiteY4" fmla="*/ 977901 h 1081088"/>
                    <a:gd name="connsiteX5" fmla="*/ 854294 w 1135063"/>
                    <a:gd name="connsiteY5" fmla="*/ 855627 h 1081088"/>
                    <a:gd name="connsiteX6" fmla="*/ 976313 w 1135063"/>
                    <a:gd name="connsiteY6" fmla="*/ 559595 h 1081088"/>
                    <a:gd name="connsiteX7" fmla="*/ 854294 w 1135063"/>
                    <a:gd name="connsiteY7" fmla="*/ 263562 h 1081088"/>
                    <a:gd name="connsiteX8" fmla="*/ 559594 w 1135063"/>
                    <a:gd name="connsiteY8" fmla="*/ 141288 h 1081088"/>
                    <a:gd name="connsiteX9" fmla="*/ 332371 w 1135063"/>
                    <a:gd name="connsiteY9" fmla="*/ 0 h 1081088"/>
                    <a:gd name="connsiteX10" fmla="*/ 333800 w 1135063"/>
                    <a:gd name="connsiteY10" fmla="*/ 0 h 1081088"/>
                    <a:gd name="connsiteX11" fmla="*/ 349525 w 1135063"/>
                    <a:gd name="connsiteY11" fmla="*/ 14281 h 1081088"/>
                    <a:gd name="connsiteX12" fmla="*/ 356673 w 1135063"/>
                    <a:gd name="connsiteY12" fmla="*/ 117820 h 1081088"/>
                    <a:gd name="connsiteX13" fmla="*/ 356673 w 1135063"/>
                    <a:gd name="connsiteY13" fmla="*/ 118534 h 1081088"/>
                    <a:gd name="connsiteX14" fmla="*/ 356673 w 1135063"/>
                    <a:gd name="connsiteY14" fmla="*/ 119248 h 1081088"/>
                    <a:gd name="connsiteX15" fmla="*/ 356673 w 1135063"/>
                    <a:gd name="connsiteY15" fmla="*/ 119962 h 1081088"/>
                    <a:gd name="connsiteX16" fmla="*/ 356673 w 1135063"/>
                    <a:gd name="connsiteY16" fmla="*/ 120676 h 1081088"/>
                    <a:gd name="connsiteX17" fmla="*/ 356673 w 1135063"/>
                    <a:gd name="connsiteY17" fmla="*/ 121390 h 1081088"/>
                    <a:gd name="connsiteX18" fmla="*/ 356673 w 1135063"/>
                    <a:gd name="connsiteY18" fmla="*/ 122105 h 1081088"/>
                    <a:gd name="connsiteX19" fmla="*/ 356673 w 1135063"/>
                    <a:gd name="connsiteY19" fmla="*/ 122819 h 1081088"/>
                    <a:gd name="connsiteX20" fmla="*/ 355958 w 1135063"/>
                    <a:gd name="connsiteY20" fmla="*/ 123533 h 1081088"/>
                    <a:gd name="connsiteX21" fmla="*/ 355958 w 1135063"/>
                    <a:gd name="connsiteY21" fmla="*/ 124247 h 1081088"/>
                    <a:gd name="connsiteX22" fmla="*/ 355958 w 1135063"/>
                    <a:gd name="connsiteY22" fmla="*/ 124961 h 1081088"/>
                    <a:gd name="connsiteX23" fmla="*/ 355244 w 1135063"/>
                    <a:gd name="connsiteY23" fmla="*/ 124961 h 1081088"/>
                    <a:gd name="connsiteX24" fmla="*/ 355244 w 1135063"/>
                    <a:gd name="connsiteY24" fmla="*/ 125675 h 1081088"/>
                    <a:gd name="connsiteX25" fmla="*/ 355244 w 1135063"/>
                    <a:gd name="connsiteY25" fmla="*/ 126389 h 1081088"/>
                    <a:gd name="connsiteX26" fmla="*/ 354529 w 1135063"/>
                    <a:gd name="connsiteY26" fmla="*/ 127103 h 1081088"/>
                    <a:gd name="connsiteX27" fmla="*/ 354529 w 1135063"/>
                    <a:gd name="connsiteY27" fmla="*/ 127817 h 1081088"/>
                    <a:gd name="connsiteX28" fmla="*/ 353814 w 1135063"/>
                    <a:gd name="connsiteY28" fmla="*/ 127817 h 1081088"/>
                    <a:gd name="connsiteX29" fmla="*/ 353814 w 1135063"/>
                    <a:gd name="connsiteY29" fmla="*/ 128531 h 1081088"/>
                    <a:gd name="connsiteX30" fmla="*/ 353099 w 1135063"/>
                    <a:gd name="connsiteY30" fmla="*/ 129245 h 1081088"/>
                    <a:gd name="connsiteX31" fmla="*/ 352384 w 1135063"/>
                    <a:gd name="connsiteY31" fmla="*/ 129245 h 1081088"/>
                    <a:gd name="connsiteX32" fmla="*/ 352384 w 1135063"/>
                    <a:gd name="connsiteY32" fmla="*/ 129959 h 1081088"/>
                    <a:gd name="connsiteX33" fmla="*/ 351670 w 1135063"/>
                    <a:gd name="connsiteY33" fmla="*/ 130673 h 1081088"/>
                    <a:gd name="connsiteX34" fmla="*/ 350955 w 1135063"/>
                    <a:gd name="connsiteY34" fmla="*/ 131387 h 1081088"/>
                    <a:gd name="connsiteX35" fmla="*/ 350240 w 1135063"/>
                    <a:gd name="connsiteY35" fmla="*/ 131387 h 1081088"/>
                    <a:gd name="connsiteX36" fmla="*/ 349525 w 1135063"/>
                    <a:gd name="connsiteY36" fmla="*/ 132101 h 1081088"/>
                    <a:gd name="connsiteX37" fmla="*/ 348811 w 1135063"/>
                    <a:gd name="connsiteY37" fmla="*/ 132101 h 1081088"/>
                    <a:gd name="connsiteX38" fmla="*/ 348096 w 1135063"/>
                    <a:gd name="connsiteY38" fmla="*/ 132815 h 1081088"/>
                    <a:gd name="connsiteX39" fmla="*/ 347381 w 1135063"/>
                    <a:gd name="connsiteY39" fmla="*/ 133529 h 1081088"/>
                    <a:gd name="connsiteX40" fmla="*/ 346666 w 1135063"/>
                    <a:gd name="connsiteY40" fmla="*/ 133529 h 1081088"/>
                    <a:gd name="connsiteX41" fmla="*/ 345237 w 1135063"/>
                    <a:gd name="connsiteY41" fmla="*/ 133529 h 1081088"/>
                    <a:gd name="connsiteX42" fmla="*/ 345237 w 1135063"/>
                    <a:gd name="connsiteY42" fmla="*/ 134244 h 1081088"/>
                    <a:gd name="connsiteX43" fmla="*/ 343807 w 1135063"/>
                    <a:gd name="connsiteY43" fmla="*/ 134244 h 1081088"/>
                    <a:gd name="connsiteX44" fmla="*/ 342378 w 1135063"/>
                    <a:gd name="connsiteY44" fmla="*/ 134244 h 1081088"/>
                    <a:gd name="connsiteX45" fmla="*/ 247312 w 1135063"/>
                    <a:gd name="connsiteY45" fmla="*/ 142098 h 1081088"/>
                    <a:gd name="connsiteX46" fmla="*/ 245883 w 1135063"/>
                    <a:gd name="connsiteY46" fmla="*/ 142098 h 1081088"/>
                    <a:gd name="connsiteX47" fmla="*/ 230158 w 1135063"/>
                    <a:gd name="connsiteY47" fmla="*/ 127817 h 1081088"/>
                    <a:gd name="connsiteX48" fmla="*/ 244453 w 1135063"/>
                    <a:gd name="connsiteY48" fmla="*/ 110680 h 1081088"/>
                    <a:gd name="connsiteX49" fmla="*/ 311642 w 1135063"/>
                    <a:gd name="connsiteY49" fmla="*/ 105681 h 1081088"/>
                    <a:gd name="connsiteX50" fmla="*/ 192275 w 1135063"/>
                    <a:gd name="connsiteY50" fmla="*/ 52841 h 1081088"/>
                    <a:gd name="connsiteX51" fmla="*/ 32165 w 1135063"/>
                    <a:gd name="connsiteY51" fmla="*/ 212790 h 1081088"/>
                    <a:gd name="connsiteX52" fmla="*/ 146529 w 1135063"/>
                    <a:gd name="connsiteY52" fmla="*/ 367027 h 1081088"/>
                    <a:gd name="connsiteX53" fmla="*/ 153677 w 1135063"/>
                    <a:gd name="connsiteY53" fmla="*/ 369170 h 1081088"/>
                    <a:gd name="connsiteX54" fmla="*/ 559669 w 1135063"/>
                    <a:gd name="connsiteY54" fmla="*/ 109965 h 1081088"/>
                    <a:gd name="connsiteX55" fmla="*/ 1008548 w 1135063"/>
                    <a:gd name="connsiteY55" fmla="*/ 559110 h 1081088"/>
                    <a:gd name="connsiteX56" fmla="*/ 724782 w 1135063"/>
                    <a:gd name="connsiteY56" fmla="*/ 977549 h 1081088"/>
                    <a:gd name="connsiteX57" fmla="*/ 725497 w 1135063"/>
                    <a:gd name="connsiteY57" fmla="*/ 977549 h 1081088"/>
                    <a:gd name="connsiteX58" fmla="*/ 1083599 w 1135063"/>
                    <a:gd name="connsiteY58" fmla="*/ 977549 h 1081088"/>
                    <a:gd name="connsiteX59" fmla="*/ 1041428 w 1135063"/>
                    <a:gd name="connsiteY59" fmla="*/ 931135 h 1081088"/>
                    <a:gd name="connsiteX60" fmla="*/ 1042857 w 1135063"/>
                    <a:gd name="connsiteY60" fmla="*/ 909000 h 1081088"/>
                    <a:gd name="connsiteX61" fmla="*/ 1052864 w 1135063"/>
                    <a:gd name="connsiteY61" fmla="*/ 904715 h 1081088"/>
                    <a:gd name="connsiteX62" fmla="*/ 1065015 w 1135063"/>
                    <a:gd name="connsiteY62" fmla="*/ 909714 h 1081088"/>
                    <a:gd name="connsiteX63" fmla="*/ 1130775 w 1135063"/>
                    <a:gd name="connsiteY63" fmla="*/ 982548 h 1081088"/>
                    <a:gd name="connsiteX64" fmla="*/ 1131489 w 1135063"/>
                    <a:gd name="connsiteY64" fmla="*/ 983976 h 1081088"/>
                    <a:gd name="connsiteX65" fmla="*/ 1132204 w 1135063"/>
                    <a:gd name="connsiteY65" fmla="*/ 983976 h 1081088"/>
                    <a:gd name="connsiteX66" fmla="*/ 1132204 w 1135063"/>
                    <a:gd name="connsiteY66" fmla="*/ 984690 h 1081088"/>
                    <a:gd name="connsiteX67" fmla="*/ 1132919 w 1135063"/>
                    <a:gd name="connsiteY67" fmla="*/ 985404 h 1081088"/>
                    <a:gd name="connsiteX68" fmla="*/ 1133634 w 1135063"/>
                    <a:gd name="connsiteY68" fmla="*/ 986118 h 1081088"/>
                    <a:gd name="connsiteX69" fmla="*/ 1133634 w 1135063"/>
                    <a:gd name="connsiteY69" fmla="*/ 986832 h 1081088"/>
                    <a:gd name="connsiteX70" fmla="*/ 1133634 w 1135063"/>
                    <a:gd name="connsiteY70" fmla="*/ 987546 h 1081088"/>
                    <a:gd name="connsiteX71" fmla="*/ 1134348 w 1135063"/>
                    <a:gd name="connsiteY71" fmla="*/ 988260 h 1081088"/>
                    <a:gd name="connsiteX72" fmla="*/ 1134348 w 1135063"/>
                    <a:gd name="connsiteY72" fmla="*/ 988974 h 1081088"/>
                    <a:gd name="connsiteX73" fmla="*/ 1134348 w 1135063"/>
                    <a:gd name="connsiteY73" fmla="*/ 989688 h 1081088"/>
                    <a:gd name="connsiteX74" fmla="*/ 1134348 w 1135063"/>
                    <a:gd name="connsiteY74" fmla="*/ 990402 h 1081088"/>
                    <a:gd name="connsiteX75" fmla="*/ 1135063 w 1135063"/>
                    <a:gd name="connsiteY75" fmla="*/ 991116 h 1081088"/>
                    <a:gd name="connsiteX76" fmla="*/ 1135063 w 1135063"/>
                    <a:gd name="connsiteY76" fmla="*/ 991831 h 1081088"/>
                    <a:gd name="connsiteX77" fmla="*/ 1135063 w 1135063"/>
                    <a:gd name="connsiteY77" fmla="*/ 992545 h 1081088"/>
                    <a:gd name="connsiteX78" fmla="*/ 1135063 w 1135063"/>
                    <a:gd name="connsiteY78" fmla="*/ 993259 h 1081088"/>
                    <a:gd name="connsiteX79" fmla="*/ 1135063 w 1135063"/>
                    <a:gd name="connsiteY79" fmla="*/ 993973 h 1081088"/>
                    <a:gd name="connsiteX80" fmla="*/ 1135063 w 1135063"/>
                    <a:gd name="connsiteY80" fmla="*/ 995401 h 1081088"/>
                    <a:gd name="connsiteX81" fmla="*/ 1134348 w 1135063"/>
                    <a:gd name="connsiteY81" fmla="*/ 995401 h 1081088"/>
                    <a:gd name="connsiteX82" fmla="*/ 1134348 w 1135063"/>
                    <a:gd name="connsiteY82" fmla="*/ 996829 h 1081088"/>
                    <a:gd name="connsiteX83" fmla="*/ 1134348 w 1135063"/>
                    <a:gd name="connsiteY83" fmla="*/ 998257 h 1081088"/>
                    <a:gd name="connsiteX84" fmla="*/ 1133634 w 1135063"/>
                    <a:gd name="connsiteY84" fmla="*/ 998257 h 1081088"/>
                    <a:gd name="connsiteX85" fmla="*/ 1133634 w 1135063"/>
                    <a:gd name="connsiteY85" fmla="*/ 999685 h 1081088"/>
                    <a:gd name="connsiteX86" fmla="*/ 1132919 w 1135063"/>
                    <a:gd name="connsiteY86" fmla="*/ 1001113 h 1081088"/>
                    <a:gd name="connsiteX87" fmla="*/ 1132204 w 1135063"/>
                    <a:gd name="connsiteY87" fmla="*/ 1001113 h 1081088"/>
                    <a:gd name="connsiteX88" fmla="*/ 1132204 w 1135063"/>
                    <a:gd name="connsiteY88" fmla="*/ 1001827 h 1081088"/>
                    <a:gd name="connsiteX89" fmla="*/ 1131489 w 1135063"/>
                    <a:gd name="connsiteY89" fmla="*/ 1002541 h 1081088"/>
                    <a:gd name="connsiteX90" fmla="*/ 1130775 w 1135063"/>
                    <a:gd name="connsiteY90" fmla="*/ 1003256 h 1081088"/>
                    <a:gd name="connsiteX91" fmla="*/ 1130775 w 1135063"/>
                    <a:gd name="connsiteY91" fmla="*/ 1003970 h 1081088"/>
                    <a:gd name="connsiteX92" fmla="*/ 1065015 w 1135063"/>
                    <a:gd name="connsiteY92" fmla="*/ 1076090 h 1081088"/>
                    <a:gd name="connsiteX93" fmla="*/ 1052864 w 1135063"/>
                    <a:gd name="connsiteY93" fmla="*/ 1081088 h 1081088"/>
                    <a:gd name="connsiteX94" fmla="*/ 1042857 w 1135063"/>
                    <a:gd name="connsiteY94" fmla="*/ 1076804 h 1081088"/>
                    <a:gd name="connsiteX95" fmla="*/ 1041428 w 1135063"/>
                    <a:gd name="connsiteY95" fmla="*/ 1054668 h 1081088"/>
                    <a:gd name="connsiteX96" fmla="*/ 1083599 w 1135063"/>
                    <a:gd name="connsiteY96" fmla="*/ 1008968 h 1081088"/>
                    <a:gd name="connsiteX97" fmla="*/ 15725 w 1135063"/>
                    <a:gd name="connsiteY97" fmla="*/ 1008968 h 1081088"/>
                    <a:gd name="connsiteX98" fmla="*/ 0 w 1135063"/>
                    <a:gd name="connsiteY98" fmla="*/ 993259 h 1081088"/>
                    <a:gd name="connsiteX99" fmla="*/ 15725 w 1135063"/>
                    <a:gd name="connsiteY99" fmla="*/ 977549 h 1081088"/>
                    <a:gd name="connsiteX100" fmla="*/ 395271 w 1135063"/>
                    <a:gd name="connsiteY100" fmla="*/ 977549 h 1081088"/>
                    <a:gd name="connsiteX101" fmla="*/ 110790 w 1135063"/>
                    <a:gd name="connsiteY101" fmla="*/ 559110 h 1081088"/>
                    <a:gd name="connsiteX102" fmla="*/ 140811 w 1135063"/>
                    <a:gd name="connsiteY102" fmla="*/ 398446 h 1081088"/>
                    <a:gd name="connsiteX103" fmla="*/ 137952 w 1135063"/>
                    <a:gd name="connsiteY103" fmla="*/ 397018 h 1081088"/>
                    <a:gd name="connsiteX104" fmla="*/ 715 w 1135063"/>
                    <a:gd name="connsiteY104" fmla="*/ 212790 h 1081088"/>
                    <a:gd name="connsiteX105" fmla="*/ 192275 w 1135063"/>
                    <a:gd name="connsiteY105" fmla="*/ 21422 h 1081088"/>
                    <a:gd name="connsiteX106" fmla="*/ 322364 w 1135063"/>
                    <a:gd name="connsiteY106" fmla="*/ 71406 h 1081088"/>
                    <a:gd name="connsiteX107" fmla="*/ 318075 w 1135063"/>
                    <a:gd name="connsiteY107" fmla="*/ 16424 h 1081088"/>
                    <a:gd name="connsiteX108" fmla="*/ 332371 w 1135063"/>
                    <a:gd name="connsiteY108" fmla="*/ 0 h 1081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</a:cxnLst>
                  <a:rect l="l" t="t" r="r" b="b"/>
                  <a:pathLst>
                    <a:path w="1135063" h="1081088">
                      <a:moveTo>
                        <a:pt x="559594" y="141288"/>
                      </a:moveTo>
                      <a:cubicBezTo>
                        <a:pt x="448279" y="141288"/>
                        <a:pt x="344099" y="184906"/>
                        <a:pt x="264894" y="263562"/>
                      </a:cubicBezTo>
                      <a:cubicBezTo>
                        <a:pt x="186402" y="343648"/>
                        <a:pt x="142875" y="448046"/>
                        <a:pt x="142875" y="559595"/>
                      </a:cubicBezTo>
                      <a:cubicBezTo>
                        <a:pt x="142875" y="671143"/>
                        <a:pt x="186402" y="776971"/>
                        <a:pt x="264894" y="855627"/>
                      </a:cubicBezTo>
                      <a:cubicBezTo>
                        <a:pt x="344099" y="934998"/>
                        <a:pt x="448279" y="977901"/>
                        <a:pt x="559594" y="977901"/>
                      </a:cubicBezTo>
                      <a:cubicBezTo>
                        <a:pt x="670910" y="977901"/>
                        <a:pt x="775803" y="934998"/>
                        <a:pt x="854294" y="855627"/>
                      </a:cubicBezTo>
                      <a:cubicBezTo>
                        <a:pt x="933500" y="776971"/>
                        <a:pt x="976313" y="671143"/>
                        <a:pt x="976313" y="559595"/>
                      </a:cubicBezTo>
                      <a:cubicBezTo>
                        <a:pt x="976313" y="448046"/>
                        <a:pt x="933500" y="343648"/>
                        <a:pt x="854294" y="263562"/>
                      </a:cubicBezTo>
                      <a:cubicBezTo>
                        <a:pt x="775803" y="184906"/>
                        <a:pt x="670910" y="141288"/>
                        <a:pt x="559594" y="141288"/>
                      </a:cubicBezTo>
                      <a:close/>
                      <a:moveTo>
                        <a:pt x="332371" y="0"/>
                      </a:moveTo>
                      <a:cubicBezTo>
                        <a:pt x="333085" y="0"/>
                        <a:pt x="333085" y="0"/>
                        <a:pt x="333800" y="0"/>
                      </a:cubicBezTo>
                      <a:cubicBezTo>
                        <a:pt x="341663" y="0"/>
                        <a:pt x="348811" y="6427"/>
                        <a:pt x="349525" y="14281"/>
                      </a:cubicBezTo>
                      <a:cubicBezTo>
                        <a:pt x="349525" y="14281"/>
                        <a:pt x="349525" y="14281"/>
                        <a:pt x="356673" y="117820"/>
                      </a:cubicBezTo>
                      <a:cubicBezTo>
                        <a:pt x="356673" y="117820"/>
                        <a:pt x="356673" y="117820"/>
                        <a:pt x="356673" y="118534"/>
                      </a:cubicBezTo>
                      <a:cubicBezTo>
                        <a:pt x="356673" y="118534"/>
                        <a:pt x="356673" y="118534"/>
                        <a:pt x="356673" y="119248"/>
                      </a:cubicBezTo>
                      <a:cubicBezTo>
                        <a:pt x="356673" y="119248"/>
                        <a:pt x="356673" y="119248"/>
                        <a:pt x="356673" y="119962"/>
                      </a:cubicBezTo>
                      <a:cubicBezTo>
                        <a:pt x="356673" y="119962"/>
                        <a:pt x="356673" y="119962"/>
                        <a:pt x="356673" y="120676"/>
                      </a:cubicBezTo>
                      <a:cubicBezTo>
                        <a:pt x="356673" y="120676"/>
                        <a:pt x="356673" y="120676"/>
                        <a:pt x="356673" y="121390"/>
                      </a:cubicBezTo>
                      <a:cubicBezTo>
                        <a:pt x="356673" y="122105"/>
                        <a:pt x="356673" y="122105"/>
                        <a:pt x="356673" y="122105"/>
                      </a:cubicBezTo>
                      <a:cubicBezTo>
                        <a:pt x="356673" y="122819"/>
                        <a:pt x="356673" y="122819"/>
                        <a:pt x="356673" y="122819"/>
                      </a:cubicBezTo>
                      <a:cubicBezTo>
                        <a:pt x="355958" y="123533"/>
                        <a:pt x="355958" y="123533"/>
                        <a:pt x="355958" y="123533"/>
                      </a:cubicBezTo>
                      <a:cubicBezTo>
                        <a:pt x="355958" y="124247"/>
                        <a:pt x="355958" y="124247"/>
                        <a:pt x="355958" y="124247"/>
                      </a:cubicBezTo>
                      <a:cubicBezTo>
                        <a:pt x="355958" y="124961"/>
                        <a:pt x="355958" y="124961"/>
                        <a:pt x="355958" y="124961"/>
                      </a:cubicBezTo>
                      <a:cubicBezTo>
                        <a:pt x="355958" y="124961"/>
                        <a:pt x="355958" y="124961"/>
                        <a:pt x="355244" y="124961"/>
                      </a:cubicBezTo>
                      <a:cubicBezTo>
                        <a:pt x="355244" y="125675"/>
                        <a:pt x="355244" y="125675"/>
                        <a:pt x="355244" y="125675"/>
                      </a:cubicBezTo>
                      <a:cubicBezTo>
                        <a:pt x="355244" y="126389"/>
                        <a:pt x="355244" y="126389"/>
                        <a:pt x="355244" y="126389"/>
                      </a:cubicBezTo>
                      <a:cubicBezTo>
                        <a:pt x="354529" y="127103"/>
                        <a:pt x="354529" y="127103"/>
                        <a:pt x="354529" y="127103"/>
                      </a:cubicBezTo>
                      <a:cubicBezTo>
                        <a:pt x="354529" y="127103"/>
                        <a:pt x="354529" y="127103"/>
                        <a:pt x="354529" y="127817"/>
                      </a:cubicBezTo>
                      <a:cubicBezTo>
                        <a:pt x="354529" y="127817"/>
                        <a:pt x="354529" y="127817"/>
                        <a:pt x="353814" y="127817"/>
                      </a:cubicBezTo>
                      <a:cubicBezTo>
                        <a:pt x="353814" y="127817"/>
                        <a:pt x="353814" y="127817"/>
                        <a:pt x="353814" y="128531"/>
                      </a:cubicBezTo>
                      <a:cubicBezTo>
                        <a:pt x="353099" y="128531"/>
                        <a:pt x="353099" y="128531"/>
                        <a:pt x="353099" y="129245"/>
                      </a:cubicBezTo>
                      <a:cubicBezTo>
                        <a:pt x="353099" y="129245"/>
                        <a:pt x="353099" y="129245"/>
                        <a:pt x="352384" y="129245"/>
                      </a:cubicBezTo>
                      <a:cubicBezTo>
                        <a:pt x="352384" y="129959"/>
                        <a:pt x="352384" y="129959"/>
                        <a:pt x="352384" y="129959"/>
                      </a:cubicBezTo>
                      <a:cubicBezTo>
                        <a:pt x="351670" y="129959"/>
                        <a:pt x="351670" y="130673"/>
                        <a:pt x="351670" y="130673"/>
                      </a:cubicBezTo>
                      <a:cubicBezTo>
                        <a:pt x="351670" y="130673"/>
                        <a:pt x="350955" y="130673"/>
                        <a:pt x="350955" y="131387"/>
                      </a:cubicBezTo>
                      <a:cubicBezTo>
                        <a:pt x="350955" y="131387"/>
                        <a:pt x="350955" y="131387"/>
                        <a:pt x="350240" y="131387"/>
                      </a:cubicBezTo>
                      <a:cubicBezTo>
                        <a:pt x="350240" y="131387"/>
                        <a:pt x="350240" y="132101"/>
                        <a:pt x="349525" y="132101"/>
                      </a:cubicBezTo>
                      <a:cubicBezTo>
                        <a:pt x="349525" y="132101"/>
                        <a:pt x="349525" y="132101"/>
                        <a:pt x="348811" y="132101"/>
                      </a:cubicBezTo>
                      <a:cubicBezTo>
                        <a:pt x="348811" y="132815"/>
                        <a:pt x="348811" y="132815"/>
                        <a:pt x="348096" y="132815"/>
                      </a:cubicBezTo>
                      <a:cubicBezTo>
                        <a:pt x="347381" y="132815"/>
                        <a:pt x="347381" y="133529"/>
                        <a:pt x="347381" y="133529"/>
                      </a:cubicBezTo>
                      <a:cubicBezTo>
                        <a:pt x="346666" y="133529"/>
                        <a:pt x="346666" y="133529"/>
                        <a:pt x="346666" y="133529"/>
                      </a:cubicBezTo>
                      <a:cubicBezTo>
                        <a:pt x="345951" y="133529"/>
                        <a:pt x="345951" y="133529"/>
                        <a:pt x="345237" y="133529"/>
                      </a:cubicBezTo>
                      <a:cubicBezTo>
                        <a:pt x="345237" y="134244"/>
                        <a:pt x="345237" y="134244"/>
                        <a:pt x="345237" y="134244"/>
                      </a:cubicBezTo>
                      <a:cubicBezTo>
                        <a:pt x="344522" y="134244"/>
                        <a:pt x="344522" y="134244"/>
                        <a:pt x="343807" y="134244"/>
                      </a:cubicBezTo>
                      <a:cubicBezTo>
                        <a:pt x="343092" y="134244"/>
                        <a:pt x="343092" y="134244"/>
                        <a:pt x="342378" y="134244"/>
                      </a:cubicBezTo>
                      <a:cubicBezTo>
                        <a:pt x="342378" y="134244"/>
                        <a:pt x="342378" y="134244"/>
                        <a:pt x="247312" y="142098"/>
                      </a:cubicBezTo>
                      <a:cubicBezTo>
                        <a:pt x="246598" y="142098"/>
                        <a:pt x="246598" y="142098"/>
                        <a:pt x="245883" y="142098"/>
                      </a:cubicBezTo>
                      <a:cubicBezTo>
                        <a:pt x="238020" y="142098"/>
                        <a:pt x="230873" y="135672"/>
                        <a:pt x="230158" y="127817"/>
                      </a:cubicBezTo>
                      <a:cubicBezTo>
                        <a:pt x="229443" y="118534"/>
                        <a:pt x="235876" y="111394"/>
                        <a:pt x="244453" y="110680"/>
                      </a:cubicBezTo>
                      <a:cubicBezTo>
                        <a:pt x="244453" y="110680"/>
                        <a:pt x="244453" y="110680"/>
                        <a:pt x="311642" y="105681"/>
                      </a:cubicBezTo>
                      <a:cubicBezTo>
                        <a:pt x="280907" y="72120"/>
                        <a:pt x="238735" y="52841"/>
                        <a:pt x="192275" y="52841"/>
                      </a:cubicBezTo>
                      <a:cubicBezTo>
                        <a:pt x="104357" y="52841"/>
                        <a:pt x="32165" y="124961"/>
                        <a:pt x="32165" y="212790"/>
                      </a:cubicBezTo>
                      <a:cubicBezTo>
                        <a:pt x="32165" y="283482"/>
                        <a:pt x="79340" y="347034"/>
                        <a:pt x="146529" y="367027"/>
                      </a:cubicBezTo>
                      <a:cubicBezTo>
                        <a:pt x="147959" y="367741"/>
                        <a:pt x="150818" y="368455"/>
                        <a:pt x="153677" y="369170"/>
                      </a:cubicBezTo>
                      <a:cubicBezTo>
                        <a:pt x="225154" y="215646"/>
                        <a:pt x="380261" y="109965"/>
                        <a:pt x="559669" y="109965"/>
                      </a:cubicBezTo>
                      <a:cubicBezTo>
                        <a:pt x="807696" y="109965"/>
                        <a:pt x="1008548" y="310617"/>
                        <a:pt x="1008548" y="559110"/>
                      </a:cubicBezTo>
                      <a:cubicBezTo>
                        <a:pt x="1008548" y="749764"/>
                        <a:pt x="891325" y="911856"/>
                        <a:pt x="724782" y="977549"/>
                      </a:cubicBezTo>
                      <a:cubicBezTo>
                        <a:pt x="724782" y="977549"/>
                        <a:pt x="724782" y="977549"/>
                        <a:pt x="725497" y="977549"/>
                      </a:cubicBezTo>
                      <a:cubicBezTo>
                        <a:pt x="725497" y="977549"/>
                        <a:pt x="725497" y="977549"/>
                        <a:pt x="1083599" y="977549"/>
                      </a:cubicBezTo>
                      <a:cubicBezTo>
                        <a:pt x="1083599" y="977549"/>
                        <a:pt x="1083599" y="977549"/>
                        <a:pt x="1041428" y="931135"/>
                      </a:cubicBezTo>
                      <a:cubicBezTo>
                        <a:pt x="1035709" y="924709"/>
                        <a:pt x="1036424" y="914712"/>
                        <a:pt x="1042857" y="909000"/>
                      </a:cubicBezTo>
                      <a:cubicBezTo>
                        <a:pt x="1045716" y="906143"/>
                        <a:pt x="1049290" y="904715"/>
                        <a:pt x="1052864" y="904715"/>
                      </a:cubicBezTo>
                      <a:cubicBezTo>
                        <a:pt x="1057153" y="904715"/>
                        <a:pt x="1061441" y="906857"/>
                        <a:pt x="1065015" y="909714"/>
                      </a:cubicBezTo>
                      <a:cubicBezTo>
                        <a:pt x="1065015" y="909714"/>
                        <a:pt x="1065015" y="909714"/>
                        <a:pt x="1130775" y="982548"/>
                      </a:cubicBezTo>
                      <a:cubicBezTo>
                        <a:pt x="1131489" y="983262"/>
                        <a:pt x="1131489" y="983262"/>
                        <a:pt x="1131489" y="983976"/>
                      </a:cubicBezTo>
                      <a:cubicBezTo>
                        <a:pt x="1131489" y="983976"/>
                        <a:pt x="1131489" y="983976"/>
                        <a:pt x="1132204" y="983976"/>
                      </a:cubicBezTo>
                      <a:cubicBezTo>
                        <a:pt x="1132204" y="983976"/>
                        <a:pt x="1132204" y="983976"/>
                        <a:pt x="1132204" y="984690"/>
                      </a:cubicBezTo>
                      <a:cubicBezTo>
                        <a:pt x="1132919" y="984690"/>
                        <a:pt x="1132919" y="985404"/>
                        <a:pt x="1132919" y="985404"/>
                      </a:cubicBezTo>
                      <a:cubicBezTo>
                        <a:pt x="1132919" y="985404"/>
                        <a:pt x="1132919" y="986118"/>
                        <a:pt x="1133634" y="986118"/>
                      </a:cubicBezTo>
                      <a:cubicBezTo>
                        <a:pt x="1133634" y="986118"/>
                        <a:pt x="1133634" y="986118"/>
                        <a:pt x="1133634" y="986832"/>
                      </a:cubicBezTo>
                      <a:cubicBezTo>
                        <a:pt x="1133634" y="986832"/>
                        <a:pt x="1133634" y="986832"/>
                        <a:pt x="1133634" y="987546"/>
                      </a:cubicBezTo>
                      <a:cubicBezTo>
                        <a:pt x="1133634" y="987546"/>
                        <a:pt x="1133634" y="987546"/>
                        <a:pt x="1134348" y="988260"/>
                      </a:cubicBezTo>
                      <a:cubicBezTo>
                        <a:pt x="1134348" y="988260"/>
                        <a:pt x="1134348" y="988260"/>
                        <a:pt x="1134348" y="988974"/>
                      </a:cubicBezTo>
                      <a:cubicBezTo>
                        <a:pt x="1134348" y="988974"/>
                        <a:pt x="1134348" y="988974"/>
                        <a:pt x="1134348" y="989688"/>
                      </a:cubicBezTo>
                      <a:cubicBezTo>
                        <a:pt x="1134348" y="989688"/>
                        <a:pt x="1134348" y="989688"/>
                        <a:pt x="1134348" y="990402"/>
                      </a:cubicBezTo>
                      <a:cubicBezTo>
                        <a:pt x="1134348" y="990402"/>
                        <a:pt x="1134348" y="991116"/>
                        <a:pt x="1135063" y="991116"/>
                      </a:cubicBezTo>
                      <a:cubicBezTo>
                        <a:pt x="1135063" y="991116"/>
                        <a:pt x="1135063" y="991116"/>
                        <a:pt x="1135063" y="991831"/>
                      </a:cubicBezTo>
                      <a:cubicBezTo>
                        <a:pt x="1135063" y="992545"/>
                        <a:pt x="1135063" y="992545"/>
                        <a:pt x="1135063" y="992545"/>
                      </a:cubicBezTo>
                      <a:cubicBezTo>
                        <a:pt x="1135063" y="992545"/>
                        <a:pt x="1135063" y="992545"/>
                        <a:pt x="1135063" y="993259"/>
                      </a:cubicBezTo>
                      <a:cubicBezTo>
                        <a:pt x="1135063" y="993973"/>
                        <a:pt x="1135063" y="993973"/>
                        <a:pt x="1135063" y="993973"/>
                      </a:cubicBezTo>
                      <a:cubicBezTo>
                        <a:pt x="1135063" y="994687"/>
                        <a:pt x="1135063" y="994687"/>
                        <a:pt x="1135063" y="995401"/>
                      </a:cubicBezTo>
                      <a:cubicBezTo>
                        <a:pt x="1134348" y="995401"/>
                        <a:pt x="1134348" y="995401"/>
                        <a:pt x="1134348" y="995401"/>
                      </a:cubicBezTo>
                      <a:cubicBezTo>
                        <a:pt x="1134348" y="996115"/>
                        <a:pt x="1134348" y="996115"/>
                        <a:pt x="1134348" y="996829"/>
                      </a:cubicBezTo>
                      <a:cubicBezTo>
                        <a:pt x="1134348" y="997543"/>
                        <a:pt x="1134348" y="997543"/>
                        <a:pt x="1134348" y="998257"/>
                      </a:cubicBezTo>
                      <a:cubicBezTo>
                        <a:pt x="1133634" y="998257"/>
                        <a:pt x="1133634" y="998257"/>
                        <a:pt x="1133634" y="998257"/>
                      </a:cubicBezTo>
                      <a:cubicBezTo>
                        <a:pt x="1133634" y="998971"/>
                        <a:pt x="1133634" y="998971"/>
                        <a:pt x="1133634" y="999685"/>
                      </a:cubicBezTo>
                      <a:cubicBezTo>
                        <a:pt x="1132919" y="1000399"/>
                        <a:pt x="1132919" y="1000399"/>
                        <a:pt x="1132919" y="1001113"/>
                      </a:cubicBezTo>
                      <a:cubicBezTo>
                        <a:pt x="1132919" y="1001113"/>
                        <a:pt x="1132919" y="1001113"/>
                        <a:pt x="1132204" y="1001113"/>
                      </a:cubicBezTo>
                      <a:cubicBezTo>
                        <a:pt x="1132204" y="1001827"/>
                        <a:pt x="1132204" y="1001827"/>
                        <a:pt x="1132204" y="1001827"/>
                      </a:cubicBezTo>
                      <a:cubicBezTo>
                        <a:pt x="1132204" y="1002541"/>
                        <a:pt x="1131489" y="1002541"/>
                        <a:pt x="1131489" y="1002541"/>
                      </a:cubicBezTo>
                      <a:cubicBezTo>
                        <a:pt x="1131489" y="1002541"/>
                        <a:pt x="1131489" y="1003256"/>
                        <a:pt x="1130775" y="1003256"/>
                      </a:cubicBezTo>
                      <a:cubicBezTo>
                        <a:pt x="1130775" y="1003256"/>
                        <a:pt x="1130775" y="1003256"/>
                        <a:pt x="1130775" y="1003970"/>
                      </a:cubicBezTo>
                      <a:cubicBezTo>
                        <a:pt x="1130775" y="1003970"/>
                        <a:pt x="1130775" y="1003970"/>
                        <a:pt x="1065015" y="1076090"/>
                      </a:cubicBezTo>
                      <a:cubicBezTo>
                        <a:pt x="1061441" y="1079660"/>
                        <a:pt x="1057153" y="1081088"/>
                        <a:pt x="1052864" y="1081088"/>
                      </a:cubicBezTo>
                      <a:cubicBezTo>
                        <a:pt x="1049290" y="1081088"/>
                        <a:pt x="1045716" y="1079660"/>
                        <a:pt x="1042857" y="1076804"/>
                      </a:cubicBezTo>
                      <a:cubicBezTo>
                        <a:pt x="1036424" y="1071091"/>
                        <a:pt x="1035709" y="1061094"/>
                        <a:pt x="1041428" y="1054668"/>
                      </a:cubicBezTo>
                      <a:cubicBezTo>
                        <a:pt x="1041428" y="1054668"/>
                        <a:pt x="1041428" y="1054668"/>
                        <a:pt x="1083599" y="1008968"/>
                      </a:cubicBezTo>
                      <a:cubicBezTo>
                        <a:pt x="1083599" y="1008968"/>
                        <a:pt x="1083599" y="1008968"/>
                        <a:pt x="15725" y="1008968"/>
                      </a:cubicBezTo>
                      <a:cubicBezTo>
                        <a:pt x="7148" y="1008968"/>
                        <a:pt x="0" y="1001827"/>
                        <a:pt x="0" y="993259"/>
                      </a:cubicBezTo>
                      <a:cubicBezTo>
                        <a:pt x="0" y="984690"/>
                        <a:pt x="7148" y="977549"/>
                        <a:pt x="15725" y="977549"/>
                      </a:cubicBezTo>
                      <a:cubicBezTo>
                        <a:pt x="15725" y="977549"/>
                        <a:pt x="15725" y="977549"/>
                        <a:pt x="395271" y="977549"/>
                      </a:cubicBezTo>
                      <a:cubicBezTo>
                        <a:pt x="228728" y="911856"/>
                        <a:pt x="110790" y="749764"/>
                        <a:pt x="110790" y="559110"/>
                      </a:cubicBezTo>
                      <a:cubicBezTo>
                        <a:pt x="110790" y="502699"/>
                        <a:pt x="121512" y="448430"/>
                        <a:pt x="140811" y="398446"/>
                      </a:cubicBezTo>
                      <a:cubicBezTo>
                        <a:pt x="139381" y="397732"/>
                        <a:pt x="138667" y="397018"/>
                        <a:pt x="137952" y="397018"/>
                      </a:cubicBezTo>
                      <a:cubicBezTo>
                        <a:pt x="57182" y="373454"/>
                        <a:pt x="715" y="297049"/>
                        <a:pt x="715" y="212790"/>
                      </a:cubicBezTo>
                      <a:cubicBezTo>
                        <a:pt x="715" y="107109"/>
                        <a:pt x="87203" y="21422"/>
                        <a:pt x="192275" y="21422"/>
                      </a:cubicBezTo>
                      <a:cubicBezTo>
                        <a:pt x="241594" y="21422"/>
                        <a:pt x="287340" y="39273"/>
                        <a:pt x="322364" y="71406"/>
                      </a:cubicBezTo>
                      <a:cubicBezTo>
                        <a:pt x="322364" y="71406"/>
                        <a:pt x="322364" y="71406"/>
                        <a:pt x="318075" y="16424"/>
                      </a:cubicBezTo>
                      <a:cubicBezTo>
                        <a:pt x="317360" y="7855"/>
                        <a:pt x="323793" y="714"/>
                        <a:pt x="332371" y="0"/>
                      </a:cubicBezTo>
                      <a:close/>
                    </a:path>
                  </a:pathLst>
                </a:custGeom>
                <a:solidFill>
                  <a:srgbClr val="881E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 rtl="0">
                    <a:defRPr/>
                  </a:pPr>
                  <a:endParaRPr lang="en-US" sz="1350">
                    <a:solidFill>
                      <a:srgbClr val="6F7375"/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23" name="Freeform 6">
                  <a:extLst>
                    <a:ext uri="{FF2B5EF4-FFF2-40B4-BE49-F238E27FC236}">
                      <a16:creationId xmlns:a16="http://schemas.microsoft.com/office/drawing/2014/main" id="{91BF097B-97D4-9C2E-85B5-8F25293CC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938" y="2735263"/>
                  <a:ext cx="1260475" cy="1204913"/>
                </a:xfrm>
                <a:custGeom>
                  <a:avLst/>
                  <a:gdLst>
                    <a:gd name="connsiteX0" fmla="*/ 229849 w 1260475"/>
                    <a:gd name="connsiteY0" fmla="*/ 180975 h 1204913"/>
                    <a:gd name="connsiteX1" fmla="*/ 157162 w 1260475"/>
                    <a:gd name="connsiteY1" fmla="*/ 275004 h 1204913"/>
                    <a:gd name="connsiteX2" fmla="*/ 189547 w 1260475"/>
                    <a:gd name="connsiteY2" fmla="*/ 347663 h 1204913"/>
                    <a:gd name="connsiteX3" fmla="*/ 265112 w 1260475"/>
                    <a:gd name="connsiteY3" fmla="*/ 254346 h 1204913"/>
                    <a:gd name="connsiteX4" fmla="*/ 229849 w 1260475"/>
                    <a:gd name="connsiteY4" fmla="*/ 194510 h 1204913"/>
                    <a:gd name="connsiteX5" fmla="*/ 229849 w 1260475"/>
                    <a:gd name="connsiteY5" fmla="*/ 180975 h 1204913"/>
                    <a:gd name="connsiteX6" fmla="*/ 254252 w 1260475"/>
                    <a:gd name="connsiteY6" fmla="*/ 146050 h 1204913"/>
                    <a:gd name="connsiteX7" fmla="*/ 275579 w 1260475"/>
                    <a:gd name="connsiteY7" fmla="*/ 147481 h 1204913"/>
                    <a:gd name="connsiteX8" fmla="*/ 281266 w 1260475"/>
                    <a:gd name="connsiteY8" fmla="*/ 148911 h 1204913"/>
                    <a:gd name="connsiteX9" fmla="*/ 262072 w 1260475"/>
                    <a:gd name="connsiteY9" fmla="*/ 177523 h 1204913"/>
                    <a:gd name="connsiteX10" fmla="*/ 260650 w 1260475"/>
                    <a:gd name="connsiteY10" fmla="*/ 191829 h 1204913"/>
                    <a:gd name="connsiteX11" fmla="*/ 265626 w 1260475"/>
                    <a:gd name="connsiteY11" fmla="*/ 208281 h 1204913"/>
                    <a:gd name="connsiteX12" fmla="*/ 267759 w 1260475"/>
                    <a:gd name="connsiteY12" fmla="*/ 213288 h 1204913"/>
                    <a:gd name="connsiteX13" fmla="*/ 278422 w 1260475"/>
                    <a:gd name="connsiteY13" fmla="*/ 224733 h 1204913"/>
                    <a:gd name="connsiteX14" fmla="*/ 280555 w 1260475"/>
                    <a:gd name="connsiteY14" fmla="*/ 226879 h 1204913"/>
                    <a:gd name="connsiteX15" fmla="*/ 283399 w 1260475"/>
                    <a:gd name="connsiteY15" fmla="*/ 228310 h 1204913"/>
                    <a:gd name="connsiteX16" fmla="*/ 288375 w 1260475"/>
                    <a:gd name="connsiteY16" fmla="*/ 231171 h 1204913"/>
                    <a:gd name="connsiteX17" fmla="*/ 291930 w 1260475"/>
                    <a:gd name="connsiteY17" fmla="*/ 232601 h 1204913"/>
                    <a:gd name="connsiteX18" fmla="*/ 299039 w 1260475"/>
                    <a:gd name="connsiteY18" fmla="*/ 234747 h 1204913"/>
                    <a:gd name="connsiteX19" fmla="*/ 307569 w 1260475"/>
                    <a:gd name="connsiteY19" fmla="*/ 235463 h 1204913"/>
                    <a:gd name="connsiteX20" fmla="*/ 311124 w 1260475"/>
                    <a:gd name="connsiteY20" fmla="*/ 235463 h 1204913"/>
                    <a:gd name="connsiteX21" fmla="*/ 311835 w 1260475"/>
                    <a:gd name="connsiteY21" fmla="*/ 235463 h 1204913"/>
                    <a:gd name="connsiteX22" fmla="*/ 338138 w 1260475"/>
                    <a:gd name="connsiteY22" fmla="*/ 233317 h 1204913"/>
                    <a:gd name="connsiteX23" fmla="*/ 316100 w 1260475"/>
                    <a:gd name="connsiteY23" fmla="*/ 250484 h 1204913"/>
                    <a:gd name="connsiteX24" fmla="*/ 286953 w 1260475"/>
                    <a:gd name="connsiteY24" fmla="*/ 276235 h 1204913"/>
                    <a:gd name="connsiteX25" fmla="*/ 259939 w 1260475"/>
                    <a:gd name="connsiteY25" fmla="*/ 304847 h 1204913"/>
                    <a:gd name="connsiteX26" fmla="*/ 251408 w 1260475"/>
                    <a:gd name="connsiteY26" fmla="*/ 314861 h 1204913"/>
                    <a:gd name="connsiteX27" fmla="*/ 249986 w 1260475"/>
                    <a:gd name="connsiteY27" fmla="*/ 317007 h 1204913"/>
                    <a:gd name="connsiteX28" fmla="*/ 243588 w 1260475"/>
                    <a:gd name="connsiteY28" fmla="*/ 324875 h 1204913"/>
                    <a:gd name="connsiteX29" fmla="*/ 242166 w 1260475"/>
                    <a:gd name="connsiteY29" fmla="*/ 326306 h 1204913"/>
                    <a:gd name="connsiteX30" fmla="*/ 227948 w 1260475"/>
                    <a:gd name="connsiteY30" fmla="*/ 347049 h 1204913"/>
                    <a:gd name="connsiteX31" fmla="*/ 200934 w 1260475"/>
                    <a:gd name="connsiteY31" fmla="*/ 392113 h 1204913"/>
                    <a:gd name="connsiteX32" fmla="*/ 134109 w 1260475"/>
                    <a:gd name="connsiteY32" fmla="*/ 315576 h 1204913"/>
                    <a:gd name="connsiteX33" fmla="*/ 133398 w 1260475"/>
                    <a:gd name="connsiteY33" fmla="*/ 314145 h 1204913"/>
                    <a:gd name="connsiteX34" fmla="*/ 132687 w 1260475"/>
                    <a:gd name="connsiteY34" fmla="*/ 311284 h 1204913"/>
                    <a:gd name="connsiteX35" fmla="*/ 131977 w 1260475"/>
                    <a:gd name="connsiteY35" fmla="*/ 309854 h 1204913"/>
                    <a:gd name="connsiteX36" fmla="*/ 131266 w 1260475"/>
                    <a:gd name="connsiteY36" fmla="*/ 306993 h 1204913"/>
                    <a:gd name="connsiteX37" fmla="*/ 130555 w 1260475"/>
                    <a:gd name="connsiteY37" fmla="*/ 303416 h 1204913"/>
                    <a:gd name="connsiteX38" fmla="*/ 129844 w 1260475"/>
                    <a:gd name="connsiteY38" fmla="*/ 302701 h 1204913"/>
                    <a:gd name="connsiteX39" fmla="*/ 129133 w 1260475"/>
                    <a:gd name="connsiteY39" fmla="*/ 298409 h 1204913"/>
                    <a:gd name="connsiteX40" fmla="*/ 129133 w 1260475"/>
                    <a:gd name="connsiteY40" fmla="*/ 297694 h 1204913"/>
                    <a:gd name="connsiteX41" fmla="*/ 128422 w 1260475"/>
                    <a:gd name="connsiteY41" fmla="*/ 294117 h 1204913"/>
                    <a:gd name="connsiteX42" fmla="*/ 128422 w 1260475"/>
                    <a:gd name="connsiteY42" fmla="*/ 293402 h 1204913"/>
                    <a:gd name="connsiteX43" fmla="*/ 127711 w 1260475"/>
                    <a:gd name="connsiteY43" fmla="*/ 284818 h 1204913"/>
                    <a:gd name="connsiteX44" fmla="*/ 127711 w 1260475"/>
                    <a:gd name="connsiteY44" fmla="*/ 284103 h 1204913"/>
                    <a:gd name="connsiteX45" fmla="*/ 127000 w 1260475"/>
                    <a:gd name="connsiteY45" fmla="*/ 274804 h 1204913"/>
                    <a:gd name="connsiteX46" fmla="*/ 129133 w 1260475"/>
                    <a:gd name="connsiteY46" fmla="*/ 253345 h 1204913"/>
                    <a:gd name="connsiteX47" fmla="*/ 131266 w 1260475"/>
                    <a:gd name="connsiteY47" fmla="*/ 241900 h 1204913"/>
                    <a:gd name="connsiteX48" fmla="*/ 166811 w 1260475"/>
                    <a:gd name="connsiteY48" fmla="*/ 181815 h 1204913"/>
                    <a:gd name="connsiteX49" fmla="*/ 185294 w 1260475"/>
                    <a:gd name="connsiteY49" fmla="*/ 166794 h 1204913"/>
                    <a:gd name="connsiteX50" fmla="*/ 198801 w 1260475"/>
                    <a:gd name="connsiteY50" fmla="*/ 158926 h 1204913"/>
                    <a:gd name="connsiteX51" fmla="*/ 213019 w 1260475"/>
                    <a:gd name="connsiteY51" fmla="*/ 153203 h 1204913"/>
                    <a:gd name="connsiteX52" fmla="*/ 220839 w 1260475"/>
                    <a:gd name="connsiteY52" fmla="*/ 150342 h 1204913"/>
                    <a:gd name="connsiteX53" fmla="*/ 228659 w 1260475"/>
                    <a:gd name="connsiteY53" fmla="*/ 148911 h 1204913"/>
                    <a:gd name="connsiteX54" fmla="*/ 254252 w 1260475"/>
                    <a:gd name="connsiteY54" fmla="*/ 146050 h 1204913"/>
                    <a:gd name="connsiteX55" fmla="*/ 393128 w 1260475"/>
                    <a:gd name="connsiteY55" fmla="*/ 31750 h 1204913"/>
                    <a:gd name="connsiteX56" fmla="*/ 367417 w 1260475"/>
                    <a:gd name="connsiteY56" fmla="*/ 41750 h 1204913"/>
                    <a:gd name="connsiteX57" fmla="*/ 363847 w 1260475"/>
                    <a:gd name="connsiteY57" fmla="*/ 44607 h 1204913"/>
                    <a:gd name="connsiteX58" fmla="*/ 360990 w 1260475"/>
                    <a:gd name="connsiteY58" fmla="*/ 48178 h 1204913"/>
                    <a:gd name="connsiteX59" fmla="*/ 351705 w 1260475"/>
                    <a:gd name="connsiteY59" fmla="*/ 63178 h 1204913"/>
                    <a:gd name="connsiteX60" fmla="*/ 350991 w 1260475"/>
                    <a:gd name="connsiteY60" fmla="*/ 68178 h 1204913"/>
                    <a:gd name="connsiteX61" fmla="*/ 349563 w 1260475"/>
                    <a:gd name="connsiteY61" fmla="*/ 73892 h 1204913"/>
                    <a:gd name="connsiteX62" fmla="*/ 344564 w 1260475"/>
                    <a:gd name="connsiteY62" fmla="*/ 71750 h 1204913"/>
                    <a:gd name="connsiteX63" fmla="*/ 261718 w 1260475"/>
                    <a:gd name="connsiteY63" fmla="*/ 53178 h 1204913"/>
                    <a:gd name="connsiteX64" fmla="*/ 255290 w 1260475"/>
                    <a:gd name="connsiteY64" fmla="*/ 53178 h 1204913"/>
                    <a:gd name="connsiteX65" fmla="*/ 221724 w 1260475"/>
                    <a:gd name="connsiteY65" fmla="*/ 56036 h 1204913"/>
                    <a:gd name="connsiteX66" fmla="*/ 192442 w 1260475"/>
                    <a:gd name="connsiteY66" fmla="*/ 62464 h 1204913"/>
                    <a:gd name="connsiteX67" fmla="*/ 176016 w 1260475"/>
                    <a:gd name="connsiteY67" fmla="*/ 68178 h 1204913"/>
                    <a:gd name="connsiteX68" fmla="*/ 168874 w 1260475"/>
                    <a:gd name="connsiteY68" fmla="*/ 71035 h 1204913"/>
                    <a:gd name="connsiteX69" fmla="*/ 147448 w 1260475"/>
                    <a:gd name="connsiteY69" fmla="*/ 81035 h 1204913"/>
                    <a:gd name="connsiteX70" fmla="*/ 91028 w 1260475"/>
                    <a:gd name="connsiteY70" fmla="*/ 126035 h 1204913"/>
                    <a:gd name="connsiteX71" fmla="*/ 75316 w 1260475"/>
                    <a:gd name="connsiteY71" fmla="*/ 145320 h 1204913"/>
                    <a:gd name="connsiteX72" fmla="*/ 43891 w 1260475"/>
                    <a:gd name="connsiteY72" fmla="*/ 206748 h 1204913"/>
                    <a:gd name="connsiteX73" fmla="*/ 41035 w 1260475"/>
                    <a:gd name="connsiteY73" fmla="*/ 214605 h 1204913"/>
                    <a:gd name="connsiteX74" fmla="*/ 33893 w 1260475"/>
                    <a:gd name="connsiteY74" fmla="*/ 253176 h 1204913"/>
                    <a:gd name="connsiteX75" fmla="*/ 32464 w 1260475"/>
                    <a:gd name="connsiteY75" fmla="*/ 276033 h 1204913"/>
                    <a:gd name="connsiteX76" fmla="*/ 32464 w 1260475"/>
                    <a:gd name="connsiteY76" fmla="*/ 284604 h 1204913"/>
                    <a:gd name="connsiteX77" fmla="*/ 33179 w 1260475"/>
                    <a:gd name="connsiteY77" fmla="*/ 289604 h 1204913"/>
                    <a:gd name="connsiteX78" fmla="*/ 33179 w 1260475"/>
                    <a:gd name="connsiteY78" fmla="*/ 292461 h 1204913"/>
                    <a:gd name="connsiteX79" fmla="*/ 33893 w 1260475"/>
                    <a:gd name="connsiteY79" fmla="*/ 297461 h 1204913"/>
                    <a:gd name="connsiteX80" fmla="*/ 33893 w 1260475"/>
                    <a:gd name="connsiteY80" fmla="*/ 300318 h 1204913"/>
                    <a:gd name="connsiteX81" fmla="*/ 34607 w 1260475"/>
                    <a:gd name="connsiteY81" fmla="*/ 305318 h 1204913"/>
                    <a:gd name="connsiteX82" fmla="*/ 35321 w 1260475"/>
                    <a:gd name="connsiteY82" fmla="*/ 308889 h 1204913"/>
                    <a:gd name="connsiteX83" fmla="*/ 36035 w 1260475"/>
                    <a:gd name="connsiteY83" fmla="*/ 315318 h 1204913"/>
                    <a:gd name="connsiteX84" fmla="*/ 36035 w 1260475"/>
                    <a:gd name="connsiteY84" fmla="*/ 316746 h 1204913"/>
                    <a:gd name="connsiteX85" fmla="*/ 163875 w 1260475"/>
                    <a:gd name="connsiteY85" fmla="*/ 478887 h 1204913"/>
                    <a:gd name="connsiteX86" fmla="*/ 154590 w 1260475"/>
                    <a:gd name="connsiteY86" fmla="*/ 514601 h 1204913"/>
                    <a:gd name="connsiteX87" fmla="*/ 142449 w 1260475"/>
                    <a:gd name="connsiteY87" fmla="*/ 621028 h 1204913"/>
                    <a:gd name="connsiteX88" fmla="*/ 142449 w 1260475"/>
                    <a:gd name="connsiteY88" fmla="*/ 630313 h 1204913"/>
                    <a:gd name="connsiteX89" fmla="*/ 149591 w 1260475"/>
                    <a:gd name="connsiteY89" fmla="*/ 701741 h 1204913"/>
                    <a:gd name="connsiteX90" fmla="*/ 151019 w 1260475"/>
                    <a:gd name="connsiteY90" fmla="*/ 711741 h 1204913"/>
                    <a:gd name="connsiteX91" fmla="*/ 156733 w 1260475"/>
                    <a:gd name="connsiteY91" fmla="*/ 738169 h 1204913"/>
                    <a:gd name="connsiteX92" fmla="*/ 164589 w 1260475"/>
                    <a:gd name="connsiteY92" fmla="*/ 764597 h 1204913"/>
                    <a:gd name="connsiteX93" fmla="*/ 166731 w 1260475"/>
                    <a:gd name="connsiteY93" fmla="*/ 773169 h 1204913"/>
                    <a:gd name="connsiteX94" fmla="*/ 173159 w 1260475"/>
                    <a:gd name="connsiteY94" fmla="*/ 790311 h 1204913"/>
                    <a:gd name="connsiteX95" fmla="*/ 179587 w 1260475"/>
                    <a:gd name="connsiteY95" fmla="*/ 806740 h 1204913"/>
                    <a:gd name="connsiteX96" fmla="*/ 187443 w 1260475"/>
                    <a:gd name="connsiteY96" fmla="*/ 823168 h 1204913"/>
                    <a:gd name="connsiteX97" fmla="*/ 199584 w 1260475"/>
                    <a:gd name="connsiteY97" fmla="*/ 846739 h 1204913"/>
                    <a:gd name="connsiteX98" fmla="*/ 203869 w 1260475"/>
                    <a:gd name="connsiteY98" fmla="*/ 855310 h 1204913"/>
                    <a:gd name="connsiteX99" fmla="*/ 209582 w 1260475"/>
                    <a:gd name="connsiteY99" fmla="*/ 864596 h 1204913"/>
                    <a:gd name="connsiteX100" fmla="*/ 218153 w 1260475"/>
                    <a:gd name="connsiteY100" fmla="*/ 879596 h 1204913"/>
                    <a:gd name="connsiteX101" fmla="*/ 228151 w 1260475"/>
                    <a:gd name="connsiteY101" fmla="*/ 893881 h 1204913"/>
                    <a:gd name="connsiteX102" fmla="*/ 236721 w 1260475"/>
                    <a:gd name="connsiteY102" fmla="*/ 905310 h 1204913"/>
                    <a:gd name="connsiteX103" fmla="*/ 336707 w 1260475"/>
                    <a:gd name="connsiteY103" fmla="*/ 1006737 h 1204913"/>
                    <a:gd name="connsiteX104" fmla="*/ 78886 w 1260475"/>
                    <a:gd name="connsiteY104" fmla="*/ 1006737 h 1204913"/>
                    <a:gd name="connsiteX105" fmla="*/ 69602 w 1260475"/>
                    <a:gd name="connsiteY105" fmla="*/ 1007451 h 1204913"/>
                    <a:gd name="connsiteX106" fmla="*/ 61746 w 1260475"/>
                    <a:gd name="connsiteY106" fmla="*/ 1009594 h 1204913"/>
                    <a:gd name="connsiteX107" fmla="*/ 31750 w 1260475"/>
                    <a:gd name="connsiteY107" fmla="*/ 1053879 h 1204913"/>
                    <a:gd name="connsiteX108" fmla="*/ 61746 w 1260475"/>
                    <a:gd name="connsiteY108" fmla="*/ 1097450 h 1204913"/>
                    <a:gd name="connsiteX109" fmla="*/ 69602 w 1260475"/>
                    <a:gd name="connsiteY109" fmla="*/ 1099593 h 1204913"/>
                    <a:gd name="connsiteX110" fmla="*/ 78886 w 1260475"/>
                    <a:gd name="connsiteY110" fmla="*/ 1101021 h 1204913"/>
                    <a:gd name="connsiteX111" fmla="*/ 1075890 w 1260475"/>
                    <a:gd name="connsiteY111" fmla="*/ 1101021 h 1204913"/>
                    <a:gd name="connsiteX112" fmla="*/ 1083746 w 1260475"/>
                    <a:gd name="connsiteY112" fmla="*/ 1161020 h 1204913"/>
                    <a:gd name="connsiteX113" fmla="*/ 1110885 w 1260475"/>
                    <a:gd name="connsiteY113" fmla="*/ 1173163 h 1204913"/>
                    <a:gd name="connsiteX114" fmla="*/ 1115170 w 1260475"/>
                    <a:gd name="connsiteY114" fmla="*/ 1173163 h 1204913"/>
                    <a:gd name="connsiteX115" fmla="*/ 1122312 w 1260475"/>
                    <a:gd name="connsiteY115" fmla="*/ 1172449 h 1204913"/>
                    <a:gd name="connsiteX116" fmla="*/ 1128739 w 1260475"/>
                    <a:gd name="connsiteY116" fmla="*/ 1171020 h 1204913"/>
                    <a:gd name="connsiteX117" fmla="*/ 1150165 w 1260475"/>
                    <a:gd name="connsiteY117" fmla="*/ 1158163 h 1204913"/>
                    <a:gd name="connsiteX118" fmla="*/ 1216584 w 1260475"/>
                    <a:gd name="connsiteY118" fmla="*/ 1085307 h 1204913"/>
                    <a:gd name="connsiteX119" fmla="*/ 1218012 w 1260475"/>
                    <a:gd name="connsiteY119" fmla="*/ 1083879 h 1204913"/>
                    <a:gd name="connsiteX120" fmla="*/ 1218012 w 1260475"/>
                    <a:gd name="connsiteY120" fmla="*/ 1083164 h 1204913"/>
                    <a:gd name="connsiteX121" fmla="*/ 1218727 w 1260475"/>
                    <a:gd name="connsiteY121" fmla="*/ 1083164 h 1204913"/>
                    <a:gd name="connsiteX122" fmla="*/ 1218727 w 1260475"/>
                    <a:gd name="connsiteY122" fmla="*/ 1082450 h 1204913"/>
                    <a:gd name="connsiteX123" fmla="*/ 1219441 w 1260475"/>
                    <a:gd name="connsiteY123" fmla="*/ 1081736 h 1204913"/>
                    <a:gd name="connsiteX124" fmla="*/ 1219441 w 1260475"/>
                    <a:gd name="connsiteY124" fmla="*/ 1081022 h 1204913"/>
                    <a:gd name="connsiteX125" fmla="*/ 1220155 w 1260475"/>
                    <a:gd name="connsiteY125" fmla="*/ 1081022 h 1204913"/>
                    <a:gd name="connsiteX126" fmla="*/ 1221583 w 1260475"/>
                    <a:gd name="connsiteY126" fmla="*/ 1078164 h 1204913"/>
                    <a:gd name="connsiteX127" fmla="*/ 1222298 w 1260475"/>
                    <a:gd name="connsiteY127" fmla="*/ 1077450 h 1204913"/>
                    <a:gd name="connsiteX128" fmla="*/ 1223726 w 1260475"/>
                    <a:gd name="connsiteY128" fmla="*/ 1073879 h 1204913"/>
                    <a:gd name="connsiteX129" fmla="*/ 1224440 w 1260475"/>
                    <a:gd name="connsiteY129" fmla="*/ 1073879 h 1204913"/>
                    <a:gd name="connsiteX130" fmla="*/ 1224440 w 1260475"/>
                    <a:gd name="connsiteY130" fmla="*/ 1073165 h 1204913"/>
                    <a:gd name="connsiteX131" fmla="*/ 1225154 w 1260475"/>
                    <a:gd name="connsiteY131" fmla="*/ 1071022 h 1204913"/>
                    <a:gd name="connsiteX132" fmla="*/ 1225868 w 1260475"/>
                    <a:gd name="connsiteY132" fmla="*/ 1070307 h 1204913"/>
                    <a:gd name="connsiteX133" fmla="*/ 1225868 w 1260475"/>
                    <a:gd name="connsiteY133" fmla="*/ 1068879 h 1204913"/>
                    <a:gd name="connsiteX134" fmla="*/ 1227297 w 1260475"/>
                    <a:gd name="connsiteY134" fmla="*/ 1065307 h 1204913"/>
                    <a:gd name="connsiteX135" fmla="*/ 1227297 w 1260475"/>
                    <a:gd name="connsiteY135" fmla="*/ 1064593 h 1204913"/>
                    <a:gd name="connsiteX136" fmla="*/ 1228011 w 1260475"/>
                    <a:gd name="connsiteY136" fmla="*/ 1061022 h 1204913"/>
                    <a:gd name="connsiteX137" fmla="*/ 1228011 w 1260475"/>
                    <a:gd name="connsiteY137" fmla="*/ 1059593 h 1204913"/>
                    <a:gd name="connsiteX138" fmla="*/ 1228011 w 1260475"/>
                    <a:gd name="connsiteY138" fmla="*/ 1058879 h 1204913"/>
                    <a:gd name="connsiteX139" fmla="*/ 1228725 w 1260475"/>
                    <a:gd name="connsiteY139" fmla="*/ 1056736 h 1204913"/>
                    <a:gd name="connsiteX140" fmla="*/ 1228725 w 1260475"/>
                    <a:gd name="connsiteY140" fmla="*/ 1056022 h 1204913"/>
                    <a:gd name="connsiteX141" fmla="*/ 1228725 w 1260475"/>
                    <a:gd name="connsiteY141" fmla="*/ 1053879 h 1204913"/>
                    <a:gd name="connsiteX142" fmla="*/ 1228725 w 1260475"/>
                    <a:gd name="connsiteY142" fmla="*/ 1051736 h 1204913"/>
                    <a:gd name="connsiteX143" fmla="*/ 1228725 w 1260475"/>
                    <a:gd name="connsiteY143" fmla="*/ 1051022 h 1204913"/>
                    <a:gd name="connsiteX144" fmla="*/ 1228011 w 1260475"/>
                    <a:gd name="connsiteY144" fmla="*/ 1047451 h 1204913"/>
                    <a:gd name="connsiteX145" fmla="*/ 1228011 w 1260475"/>
                    <a:gd name="connsiteY145" fmla="*/ 1046022 h 1204913"/>
                    <a:gd name="connsiteX146" fmla="*/ 1227297 w 1260475"/>
                    <a:gd name="connsiteY146" fmla="*/ 1044593 h 1204913"/>
                    <a:gd name="connsiteX147" fmla="*/ 1227297 w 1260475"/>
                    <a:gd name="connsiteY147" fmla="*/ 1043165 h 1204913"/>
                    <a:gd name="connsiteX148" fmla="*/ 1227297 w 1260475"/>
                    <a:gd name="connsiteY148" fmla="*/ 1041736 h 1204913"/>
                    <a:gd name="connsiteX149" fmla="*/ 1225868 w 1260475"/>
                    <a:gd name="connsiteY149" fmla="*/ 1038165 h 1204913"/>
                    <a:gd name="connsiteX150" fmla="*/ 1225868 w 1260475"/>
                    <a:gd name="connsiteY150" fmla="*/ 1037451 h 1204913"/>
                    <a:gd name="connsiteX151" fmla="*/ 1224440 w 1260475"/>
                    <a:gd name="connsiteY151" fmla="*/ 1034594 h 1204913"/>
                    <a:gd name="connsiteX152" fmla="*/ 1223726 w 1260475"/>
                    <a:gd name="connsiteY152" fmla="*/ 1033165 h 1204913"/>
                    <a:gd name="connsiteX153" fmla="*/ 1222298 w 1260475"/>
                    <a:gd name="connsiteY153" fmla="*/ 1030308 h 1204913"/>
                    <a:gd name="connsiteX154" fmla="*/ 1221583 w 1260475"/>
                    <a:gd name="connsiteY154" fmla="*/ 1028879 h 1204913"/>
                    <a:gd name="connsiteX155" fmla="*/ 1219441 w 1260475"/>
                    <a:gd name="connsiteY155" fmla="*/ 1026022 h 1204913"/>
                    <a:gd name="connsiteX156" fmla="*/ 1218727 w 1260475"/>
                    <a:gd name="connsiteY156" fmla="*/ 1025308 h 1204913"/>
                    <a:gd name="connsiteX157" fmla="*/ 1218727 w 1260475"/>
                    <a:gd name="connsiteY157" fmla="*/ 1024594 h 1204913"/>
                    <a:gd name="connsiteX158" fmla="*/ 1218012 w 1260475"/>
                    <a:gd name="connsiteY158" fmla="*/ 1023879 h 1204913"/>
                    <a:gd name="connsiteX159" fmla="*/ 1216584 w 1260475"/>
                    <a:gd name="connsiteY159" fmla="*/ 1022451 h 1204913"/>
                    <a:gd name="connsiteX160" fmla="*/ 1216584 w 1260475"/>
                    <a:gd name="connsiteY160" fmla="*/ 1021737 h 1204913"/>
                    <a:gd name="connsiteX161" fmla="*/ 1150165 w 1260475"/>
                    <a:gd name="connsiteY161" fmla="*/ 949595 h 1204913"/>
                    <a:gd name="connsiteX162" fmla="*/ 1143023 w 1260475"/>
                    <a:gd name="connsiteY162" fmla="*/ 943166 h 1204913"/>
                    <a:gd name="connsiteX163" fmla="*/ 1137309 w 1260475"/>
                    <a:gd name="connsiteY163" fmla="*/ 939595 h 1204913"/>
                    <a:gd name="connsiteX164" fmla="*/ 1134453 w 1260475"/>
                    <a:gd name="connsiteY164" fmla="*/ 938166 h 1204913"/>
                    <a:gd name="connsiteX165" fmla="*/ 1131596 w 1260475"/>
                    <a:gd name="connsiteY165" fmla="*/ 936738 h 1204913"/>
                    <a:gd name="connsiteX166" fmla="*/ 1115170 w 1260475"/>
                    <a:gd name="connsiteY166" fmla="*/ 933881 h 1204913"/>
                    <a:gd name="connsiteX167" fmla="*/ 1087316 w 1260475"/>
                    <a:gd name="connsiteY167" fmla="*/ 943881 h 1204913"/>
                    <a:gd name="connsiteX168" fmla="*/ 1083746 w 1260475"/>
                    <a:gd name="connsiteY168" fmla="*/ 946023 h 1204913"/>
                    <a:gd name="connsiteX169" fmla="*/ 1080175 w 1260475"/>
                    <a:gd name="connsiteY169" fmla="*/ 949595 h 1204913"/>
                    <a:gd name="connsiteX170" fmla="*/ 1079460 w 1260475"/>
                    <a:gd name="connsiteY170" fmla="*/ 951023 h 1204913"/>
                    <a:gd name="connsiteX171" fmla="*/ 1078032 w 1260475"/>
                    <a:gd name="connsiteY171" fmla="*/ 953166 h 1204913"/>
                    <a:gd name="connsiteX172" fmla="*/ 1076604 w 1260475"/>
                    <a:gd name="connsiteY172" fmla="*/ 954595 h 1204913"/>
                    <a:gd name="connsiteX173" fmla="*/ 1075175 w 1260475"/>
                    <a:gd name="connsiteY173" fmla="*/ 956738 h 1204913"/>
                    <a:gd name="connsiteX174" fmla="*/ 1073747 w 1260475"/>
                    <a:gd name="connsiteY174" fmla="*/ 958880 h 1204913"/>
                    <a:gd name="connsiteX175" fmla="*/ 1073033 w 1260475"/>
                    <a:gd name="connsiteY175" fmla="*/ 960309 h 1204913"/>
                    <a:gd name="connsiteX176" fmla="*/ 1072319 w 1260475"/>
                    <a:gd name="connsiteY176" fmla="*/ 962452 h 1204913"/>
                    <a:gd name="connsiteX177" fmla="*/ 1071604 w 1260475"/>
                    <a:gd name="connsiteY177" fmla="*/ 963880 h 1204913"/>
                    <a:gd name="connsiteX178" fmla="*/ 1070890 w 1260475"/>
                    <a:gd name="connsiteY178" fmla="*/ 966737 h 1204913"/>
                    <a:gd name="connsiteX179" fmla="*/ 1070176 w 1260475"/>
                    <a:gd name="connsiteY179" fmla="*/ 968166 h 1204913"/>
                    <a:gd name="connsiteX180" fmla="*/ 1069462 w 1260475"/>
                    <a:gd name="connsiteY180" fmla="*/ 971023 h 1204913"/>
                    <a:gd name="connsiteX181" fmla="*/ 1069462 w 1260475"/>
                    <a:gd name="connsiteY181" fmla="*/ 971737 h 1204913"/>
                    <a:gd name="connsiteX182" fmla="*/ 1068748 w 1260475"/>
                    <a:gd name="connsiteY182" fmla="*/ 975309 h 1204913"/>
                    <a:gd name="connsiteX183" fmla="*/ 1068748 w 1260475"/>
                    <a:gd name="connsiteY183" fmla="*/ 976023 h 1204913"/>
                    <a:gd name="connsiteX184" fmla="*/ 1068033 w 1260475"/>
                    <a:gd name="connsiteY184" fmla="*/ 978880 h 1204913"/>
                    <a:gd name="connsiteX185" fmla="*/ 1068033 w 1260475"/>
                    <a:gd name="connsiteY185" fmla="*/ 981737 h 1204913"/>
                    <a:gd name="connsiteX186" fmla="*/ 1068748 w 1260475"/>
                    <a:gd name="connsiteY186" fmla="*/ 983880 h 1204913"/>
                    <a:gd name="connsiteX187" fmla="*/ 1068748 w 1260475"/>
                    <a:gd name="connsiteY187" fmla="*/ 987451 h 1204913"/>
                    <a:gd name="connsiteX188" fmla="*/ 1069462 w 1260475"/>
                    <a:gd name="connsiteY188" fmla="*/ 991023 h 1204913"/>
                    <a:gd name="connsiteX189" fmla="*/ 1069462 w 1260475"/>
                    <a:gd name="connsiteY189" fmla="*/ 991737 h 1204913"/>
                    <a:gd name="connsiteX190" fmla="*/ 1070176 w 1260475"/>
                    <a:gd name="connsiteY190" fmla="*/ 995308 h 1204913"/>
                    <a:gd name="connsiteX191" fmla="*/ 1071604 w 1260475"/>
                    <a:gd name="connsiteY191" fmla="*/ 998880 h 1204913"/>
                    <a:gd name="connsiteX192" fmla="*/ 1071604 w 1260475"/>
                    <a:gd name="connsiteY192" fmla="*/ 999594 h 1204913"/>
                    <a:gd name="connsiteX193" fmla="*/ 1073747 w 1260475"/>
                    <a:gd name="connsiteY193" fmla="*/ 1002451 h 1204913"/>
                    <a:gd name="connsiteX194" fmla="*/ 1073747 w 1260475"/>
                    <a:gd name="connsiteY194" fmla="*/ 1003165 h 1204913"/>
                    <a:gd name="connsiteX195" fmla="*/ 1075890 w 1260475"/>
                    <a:gd name="connsiteY195" fmla="*/ 1006737 h 1204913"/>
                    <a:gd name="connsiteX196" fmla="*/ 908056 w 1260475"/>
                    <a:gd name="connsiteY196" fmla="*/ 1006737 h 1204913"/>
                    <a:gd name="connsiteX197" fmla="*/ 1014470 w 1260475"/>
                    <a:gd name="connsiteY197" fmla="*/ 897453 h 1204913"/>
                    <a:gd name="connsiteX198" fmla="*/ 1017326 w 1260475"/>
                    <a:gd name="connsiteY198" fmla="*/ 893881 h 1204913"/>
                    <a:gd name="connsiteX199" fmla="*/ 1022326 w 1260475"/>
                    <a:gd name="connsiteY199" fmla="*/ 886024 h 1204913"/>
                    <a:gd name="connsiteX200" fmla="*/ 1102314 w 1260475"/>
                    <a:gd name="connsiteY200" fmla="*/ 621028 h 1204913"/>
                    <a:gd name="connsiteX201" fmla="*/ 1102314 w 1260475"/>
                    <a:gd name="connsiteY201" fmla="*/ 608885 h 1204913"/>
                    <a:gd name="connsiteX202" fmla="*/ 1102314 w 1260475"/>
                    <a:gd name="connsiteY202" fmla="*/ 596742 h 1204913"/>
                    <a:gd name="connsiteX203" fmla="*/ 1101600 w 1260475"/>
                    <a:gd name="connsiteY203" fmla="*/ 596028 h 1204913"/>
                    <a:gd name="connsiteX204" fmla="*/ 1100886 w 1260475"/>
                    <a:gd name="connsiteY204" fmla="*/ 584600 h 1204913"/>
                    <a:gd name="connsiteX205" fmla="*/ 1100172 w 1260475"/>
                    <a:gd name="connsiteY205" fmla="*/ 573171 h 1204913"/>
                    <a:gd name="connsiteX206" fmla="*/ 1100172 w 1260475"/>
                    <a:gd name="connsiteY206" fmla="*/ 571743 h 1204913"/>
                    <a:gd name="connsiteX207" fmla="*/ 1098743 w 1260475"/>
                    <a:gd name="connsiteY207" fmla="*/ 561029 h 1204913"/>
                    <a:gd name="connsiteX208" fmla="*/ 1096601 w 1260475"/>
                    <a:gd name="connsiteY208" fmla="*/ 547457 h 1204913"/>
                    <a:gd name="connsiteX209" fmla="*/ 1095887 w 1260475"/>
                    <a:gd name="connsiteY209" fmla="*/ 541743 h 1204913"/>
                    <a:gd name="connsiteX210" fmla="*/ 1094458 w 1260475"/>
                    <a:gd name="connsiteY210" fmla="*/ 533886 h 1204913"/>
                    <a:gd name="connsiteX211" fmla="*/ 1092316 w 1260475"/>
                    <a:gd name="connsiteY211" fmla="*/ 521029 h 1204913"/>
                    <a:gd name="connsiteX212" fmla="*/ 1091602 w 1260475"/>
                    <a:gd name="connsiteY212" fmla="*/ 517458 h 1204913"/>
                    <a:gd name="connsiteX213" fmla="*/ 1088745 w 1260475"/>
                    <a:gd name="connsiteY213" fmla="*/ 507458 h 1204913"/>
                    <a:gd name="connsiteX214" fmla="*/ 1065177 w 1260475"/>
                    <a:gd name="connsiteY214" fmla="*/ 434602 h 1204913"/>
                    <a:gd name="connsiteX215" fmla="*/ 962334 w 1260475"/>
                    <a:gd name="connsiteY215" fmla="*/ 282461 h 1204913"/>
                    <a:gd name="connsiteX216" fmla="*/ 809498 w 1260475"/>
                    <a:gd name="connsiteY216" fmla="*/ 179605 h 1204913"/>
                    <a:gd name="connsiteX217" fmla="*/ 634523 w 1260475"/>
                    <a:gd name="connsiteY217" fmla="*/ 141749 h 1204913"/>
                    <a:gd name="connsiteX218" fmla="*/ 626667 w 1260475"/>
                    <a:gd name="connsiteY218" fmla="*/ 141749 h 1204913"/>
                    <a:gd name="connsiteX219" fmla="*/ 622382 w 1260475"/>
                    <a:gd name="connsiteY219" fmla="*/ 141749 h 1204913"/>
                    <a:gd name="connsiteX220" fmla="*/ 450977 w 1260475"/>
                    <a:gd name="connsiteY220" fmla="*/ 173891 h 1204913"/>
                    <a:gd name="connsiteX221" fmla="*/ 443835 w 1260475"/>
                    <a:gd name="connsiteY221" fmla="*/ 75321 h 1204913"/>
                    <a:gd name="connsiteX222" fmla="*/ 396699 w 1260475"/>
                    <a:gd name="connsiteY222" fmla="*/ 31750 h 1204913"/>
                    <a:gd name="connsiteX223" fmla="*/ 395271 w 1260475"/>
                    <a:gd name="connsiteY223" fmla="*/ 31750 h 1204913"/>
                    <a:gd name="connsiteX224" fmla="*/ 393128 w 1260475"/>
                    <a:gd name="connsiteY224" fmla="*/ 31750 h 1204913"/>
                    <a:gd name="connsiteX225" fmla="*/ 390862 w 1260475"/>
                    <a:gd name="connsiteY225" fmla="*/ 0 h 1204913"/>
                    <a:gd name="connsiteX226" fmla="*/ 396578 w 1260475"/>
                    <a:gd name="connsiteY226" fmla="*/ 0 h 1204913"/>
                    <a:gd name="connsiteX227" fmla="*/ 475179 w 1260475"/>
                    <a:gd name="connsiteY227" fmla="*/ 72895 h 1204913"/>
                    <a:gd name="connsiteX228" fmla="*/ 479467 w 1260475"/>
                    <a:gd name="connsiteY228" fmla="*/ 130783 h 1204913"/>
                    <a:gd name="connsiteX229" fmla="*/ 622378 w 1260475"/>
                    <a:gd name="connsiteY229" fmla="*/ 110057 h 1204913"/>
                    <a:gd name="connsiteX230" fmla="*/ 1133999 w 1260475"/>
                    <a:gd name="connsiteY230" fmla="*/ 621038 h 1204913"/>
                    <a:gd name="connsiteX231" fmla="*/ 1043251 w 1260475"/>
                    <a:gd name="connsiteY231" fmla="*/ 911903 h 1204913"/>
                    <a:gd name="connsiteX232" fmla="*/ 991803 w 1260475"/>
                    <a:gd name="connsiteY232" fmla="*/ 975508 h 1204913"/>
                    <a:gd name="connsiteX233" fmla="*/ 1037534 w 1260475"/>
                    <a:gd name="connsiteY233" fmla="*/ 975508 h 1204913"/>
                    <a:gd name="connsiteX234" fmla="*/ 1062543 w 1260475"/>
                    <a:gd name="connsiteY234" fmla="*/ 923338 h 1204913"/>
                    <a:gd name="connsiteX235" fmla="*/ 1115421 w 1260475"/>
                    <a:gd name="connsiteY235" fmla="*/ 902613 h 1204913"/>
                    <a:gd name="connsiteX236" fmla="*/ 1174014 w 1260475"/>
                    <a:gd name="connsiteY236" fmla="*/ 928341 h 1204913"/>
                    <a:gd name="connsiteX237" fmla="*/ 1240468 w 1260475"/>
                    <a:gd name="connsiteY237" fmla="*/ 1001236 h 1204913"/>
                    <a:gd name="connsiteX238" fmla="*/ 1240468 w 1260475"/>
                    <a:gd name="connsiteY238" fmla="*/ 1001950 h 1204913"/>
                    <a:gd name="connsiteX239" fmla="*/ 1241897 w 1260475"/>
                    <a:gd name="connsiteY239" fmla="*/ 1003380 h 1204913"/>
                    <a:gd name="connsiteX240" fmla="*/ 1243326 w 1260475"/>
                    <a:gd name="connsiteY240" fmla="*/ 1004809 h 1204913"/>
                    <a:gd name="connsiteX241" fmla="*/ 1244040 w 1260475"/>
                    <a:gd name="connsiteY241" fmla="*/ 1006238 h 1204913"/>
                    <a:gd name="connsiteX242" fmla="*/ 1244755 w 1260475"/>
                    <a:gd name="connsiteY242" fmla="*/ 1006953 h 1204913"/>
                    <a:gd name="connsiteX243" fmla="*/ 1245470 w 1260475"/>
                    <a:gd name="connsiteY243" fmla="*/ 1008382 h 1204913"/>
                    <a:gd name="connsiteX244" fmla="*/ 1248328 w 1260475"/>
                    <a:gd name="connsiteY244" fmla="*/ 1012670 h 1204913"/>
                    <a:gd name="connsiteX245" fmla="*/ 1249757 w 1260475"/>
                    <a:gd name="connsiteY245" fmla="*/ 1014814 h 1204913"/>
                    <a:gd name="connsiteX246" fmla="*/ 1252615 w 1260475"/>
                    <a:gd name="connsiteY246" fmla="*/ 1019817 h 1204913"/>
                    <a:gd name="connsiteX247" fmla="*/ 1253330 w 1260475"/>
                    <a:gd name="connsiteY247" fmla="*/ 1021961 h 1204913"/>
                    <a:gd name="connsiteX248" fmla="*/ 1255473 w 1260475"/>
                    <a:gd name="connsiteY248" fmla="*/ 1026963 h 1204913"/>
                    <a:gd name="connsiteX249" fmla="*/ 1256188 w 1260475"/>
                    <a:gd name="connsiteY249" fmla="*/ 1028393 h 1204913"/>
                    <a:gd name="connsiteX250" fmla="*/ 1257617 w 1260475"/>
                    <a:gd name="connsiteY250" fmla="*/ 1034110 h 1204913"/>
                    <a:gd name="connsiteX251" fmla="*/ 1257617 w 1260475"/>
                    <a:gd name="connsiteY251" fmla="*/ 1034825 h 1204913"/>
                    <a:gd name="connsiteX252" fmla="*/ 1258332 w 1260475"/>
                    <a:gd name="connsiteY252" fmla="*/ 1035539 h 1204913"/>
                    <a:gd name="connsiteX253" fmla="*/ 1258332 w 1260475"/>
                    <a:gd name="connsiteY253" fmla="*/ 1036254 h 1204913"/>
                    <a:gd name="connsiteX254" fmla="*/ 1259046 w 1260475"/>
                    <a:gd name="connsiteY254" fmla="*/ 1041257 h 1204913"/>
                    <a:gd name="connsiteX255" fmla="*/ 1259761 w 1260475"/>
                    <a:gd name="connsiteY255" fmla="*/ 1044115 h 1204913"/>
                    <a:gd name="connsiteX256" fmla="*/ 1260475 w 1260475"/>
                    <a:gd name="connsiteY256" fmla="*/ 1049118 h 1204913"/>
                    <a:gd name="connsiteX257" fmla="*/ 1260475 w 1260475"/>
                    <a:gd name="connsiteY257" fmla="*/ 1049832 h 1204913"/>
                    <a:gd name="connsiteX258" fmla="*/ 1260475 w 1260475"/>
                    <a:gd name="connsiteY258" fmla="*/ 1054120 h 1204913"/>
                    <a:gd name="connsiteX259" fmla="*/ 1260475 w 1260475"/>
                    <a:gd name="connsiteY259" fmla="*/ 1058408 h 1204913"/>
                    <a:gd name="connsiteX260" fmla="*/ 1259761 w 1260475"/>
                    <a:gd name="connsiteY260" fmla="*/ 1064126 h 1204913"/>
                    <a:gd name="connsiteX261" fmla="*/ 1259761 w 1260475"/>
                    <a:gd name="connsiteY261" fmla="*/ 1064840 h 1204913"/>
                    <a:gd name="connsiteX262" fmla="*/ 1259046 w 1260475"/>
                    <a:gd name="connsiteY262" fmla="*/ 1065555 h 1204913"/>
                    <a:gd name="connsiteX263" fmla="*/ 1259046 w 1260475"/>
                    <a:gd name="connsiteY263" fmla="*/ 1066270 h 1204913"/>
                    <a:gd name="connsiteX264" fmla="*/ 1258332 w 1260475"/>
                    <a:gd name="connsiteY264" fmla="*/ 1071987 h 1204913"/>
                    <a:gd name="connsiteX265" fmla="*/ 1257617 w 1260475"/>
                    <a:gd name="connsiteY265" fmla="*/ 1073416 h 1204913"/>
                    <a:gd name="connsiteX266" fmla="*/ 1256188 w 1260475"/>
                    <a:gd name="connsiteY266" fmla="*/ 1079133 h 1204913"/>
                    <a:gd name="connsiteX267" fmla="*/ 1256188 w 1260475"/>
                    <a:gd name="connsiteY267" fmla="*/ 1079848 h 1204913"/>
                    <a:gd name="connsiteX268" fmla="*/ 1255473 w 1260475"/>
                    <a:gd name="connsiteY268" fmla="*/ 1080563 h 1204913"/>
                    <a:gd name="connsiteX269" fmla="*/ 1255473 w 1260475"/>
                    <a:gd name="connsiteY269" fmla="*/ 1081277 h 1204913"/>
                    <a:gd name="connsiteX270" fmla="*/ 1253330 w 1260475"/>
                    <a:gd name="connsiteY270" fmla="*/ 1086280 h 1204913"/>
                    <a:gd name="connsiteX271" fmla="*/ 1253330 w 1260475"/>
                    <a:gd name="connsiteY271" fmla="*/ 1086995 h 1204913"/>
                    <a:gd name="connsiteX272" fmla="*/ 1252615 w 1260475"/>
                    <a:gd name="connsiteY272" fmla="*/ 1086995 h 1204913"/>
                    <a:gd name="connsiteX273" fmla="*/ 1252615 w 1260475"/>
                    <a:gd name="connsiteY273" fmla="*/ 1087709 h 1204913"/>
                    <a:gd name="connsiteX274" fmla="*/ 1252615 w 1260475"/>
                    <a:gd name="connsiteY274" fmla="*/ 1088424 h 1204913"/>
                    <a:gd name="connsiteX275" fmla="*/ 1249757 w 1260475"/>
                    <a:gd name="connsiteY275" fmla="*/ 1093427 h 1204913"/>
                    <a:gd name="connsiteX276" fmla="*/ 1249042 w 1260475"/>
                    <a:gd name="connsiteY276" fmla="*/ 1094856 h 1204913"/>
                    <a:gd name="connsiteX277" fmla="*/ 1246184 w 1260475"/>
                    <a:gd name="connsiteY277" fmla="*/ 1099144 h 1204913"/>
                    <a:gd name="connsiteX278" fmla="*/ 1245470 w 1260475"/>
                    <a:gd name="connsiteY278" fmla="*/ 1099144 h 1204913"/>
                    <a:gd name="connsiteX279" fmla="*/ 1245470 w 1260475"/>
                    <a:gd name="connsiteY279" fmla="*/ 1099858 h 1204913"/>
                    <a:gd name="connsiteX280" fmla="*/ 1244755 w 1260475"/>
                    <a:gd name="connsiteY280" fmla="*/ 1100573 h 1204913"/>
                    <a:gd name="connsiteX281" fmla="*/ 1244040 w 1260475"/>
                    <a:gd name="connsiteY281" fmla="*/ 1101288 h 1204913"/>
                    <a:gd name="connsiteX282" fmla="*/ 1243326 w 1260475"/>
                    <a:gd name="connsiteY282" fmla="*/ 1102717 h 1204913"/>
                    <a:gd name="connsiteX283" fmla="*/ 1241897 w 1260475"/>
                    <a:gd name="connsiteY283" fmla="*/ 1104146 h 1204913"/>
                    <a:gd name="connsiteX284" fmla="*/ 1240468 w 1260475"/>
                    <a:gd name="connsiteY284" fmla="*/ 1106290 h 1204913"/>
                    <a:gd name="connsiteX285" fmla="*/ 1239753 w 1260475"/>
                    <a:gd name="connsiteY285" fmla="*/ 1106290 h 1204913"/>
                    <a:gd name="connsiteX286" fmla="*/ 1239753 w 1260475"/>
                    <a:gd name="connsiteY286" fmla="*/ 1107005 h 1204913"/>
                    <a:gd name="connsiteX287" fmla="*/ 1174014 w 1260475"/>
                    <a:gd name="connsiteY287" fmla="*/ 1179186 h 1204913"/>
                    <a:gd name="connsiteX288" fmla="*/ 1115421 w 1260475"/>
                    <a:gd name="connsiteY288" fmla="*/ 1204913 h 1204913"/>
                    <a:gd name="connsiteX289" fmla="*/ 1062543 w 1260475"/>
                    <a:gd name="connsiteY289" fmla="*/ 1184903 h 1204913"/>
                    <a:gd name="connsiteX290" fmla="*/ 1037534 w 1260475"/>
                    <a:gd name="connsiteY290" fmla="*/ 1132733 h 1204913"/>
                    <a:gd name="connsiteX291" fmla="*/ 78601 w 1260475"/>
                    <a:gd name="connsiteY291" fmla="*/ 1132733 h 1204913"/>
                    <a:gd name="connsiteX292" fmla="*/ 0 w 1260475"/>
                    <a:gd name="connsiteY292" fmla="*/ 1054120 h 1204913"/>
                    <a:gd name="connsiteX293" fmla="*/ 78601 w 1260475"/>
                    <a:gd name="connsiteY293" fmla="*/ 975508 h 1204913"/>
                    <a:gd name="connsiteX294" fmla="*/ 253667 w 1260475"/>
                    <a:gd name="connsiteY294" fmla="*/ 975508 h 1204913"/>
                    <a:gd name="connsiteX295" fmla="*/ 201505 w 1260475"/>
                    <a:gd name="connsiteY295" fmla="*/ 911903 h 1204913"/>
                    <a:gd name="connsiteX296" fmla="*/ 110756 w 1260475"/>
                    <a:gd name="connsiteY296" fmla="*/ 621038 h 1204913"/>
                    <a:gd name="connsiteX297" fmla="*/ 126476 w 1260475"/>
                    <a:gd name="connsiteY297" fmla="*/ 494543 h 1204913"/>
                    <a:gd name="connsiteX298" fmla="*/ 42159 w 1260475"/>
                    <a:gd name="connsiteY298" fmla="*/ 413787 h 1204913"/>
                    <a:gd name="connsiteX299" fmla="*/ 715 w 1260475"/>
                    <a:gd name="connsiteY299" fmla="*/ 275858 h 1204913"/>
                    <a:gd name="connsiteX300" fmla="*/ 255096 w 1260475"/>
                    <a:gd name="connsiteY300" fmla="*/ 21440 h 1204913"/>
                    <a:gd name="connsiteX301" fmla="*/ 332268 w 1260475"/>
                    <a:gd name="connsiteY301" fmla="*/ 32874 h 1204913"/>
                    <a:gd name="connsiteX302" fmla="*/ 337270 w 1260475"/>
                    <a:gd name="connsiteY302" fmla="*/ 27157 h 1204913"/>
                    <a:gd name="connsiteX303" fmla="*/ 390862 w 1260475"/>
                    <a:gd name="connsiteY303" fmla="*/ 0 h 1204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</a:cxnLst>
                  <a:rect l="l" t="t" r="r" b="b"/>
                  <a:pathLst>
                    <a:path w="1260475" h="1204913">
                      <a:moveTo>
                        <a:pt x="229849" y="180975"/>
                      </a:moveTo>
                      <a:cubicBezTo>
                        <a:pt x="188108" y="192373"/>
                        <a:pt x="157162" y="230127"/>
                        <a:pt x="157162" y="275004"/>
                      </a:cubicBezTo>
                      <a:cubicBezTo>
                        <a:pt x="157162" y="302786"/>
                        <a:pt x="169397" y="329142"/>
                        <a:pt x="189547" y="347663"/>
                      </a:cubicBezTo>
                      <a:cubicBezTo>
                        <a:pt x="210418" y="313471"/>
                        <a:pt x="236326" y="282128"/>
                        <a:pt x="265112" y="254346"/>
                      </a:cubicBezTo>
                      <a:cubicBezTo>
                        <a:pt x="245681" y="241524"/>
                        <a:pt x="231288" y="219442"/>
                        <a:pt x="229849" y="194510"/>
                      </a:cubicBezTo>
                      <a:cubicBezTo>
                        <a:pt x="229129" y="190236"/>
                        <a:pt x="229129" y="185962"/>
                        <a:pt x="229849" y="180975"/>
                      </a:cubicBezTo>
                      <a:close/>
                      <a:moveTo>
                        <a:pt x="254252" y="146050"/>
                      </a:moveTo>
                      <a:cubicBezTo>
                        <a:pt x="262072" y="146050"/>
                        <a:pt x="269181" y="146765"/>
                        <a:pt x="275579" y="147481"/>
                      </a:cubicBezTo>
                      <a:cubicBezTo>
                        <a:pt x="277712" y="148196"/>
                        <a:pt x="279844" y="148196"/>
                        <a:pt x="281266" y="148911"/>
                      </a:cubicBezTo>
                      <a:cubicBezTo>
                        <a:pt x="272024" y="155349"/>
                        <a:pt x="264915" y="165363"/>
                        <a:pt x="262072" y="177523"/>
                      </a:cubicBezTo>
                      <a:cubicBezTo>
                        <a:pt x="260650" y="181815"/>
                        <a:pt x="260650" y="186822"/>
                        <a:pt x="260650" y="191829"/>
                      </a:cubicBezTo>
                      <a:cubicBezTo>
                        <a:pt x="261361" y="197552"/>
                        <a:pt x="262783" y="203274"/>
                        <a:pt x="265626" y="208281"/>
                      </a:cubicBezTo>
                      <a:cubicBezTo>
                        <a:pt x="266337" y="209712"/>
                        <a:pt x="267048" y="211858"/>
                        <a:pt x="267759" y="213288"/>
                      </a:cubicBezTo>
                      <a:cubicBezTo>
                        <a:pt x="270603" y="217580"/>
                        <a:pt x="274157" y="221872"/>
                        <a:pt x="278422" y="224733"/>
                      </a:cubicBezTo>
                      <a:cubicBezTo>
                        <a:pt x="279133" y="225448"/>
                        <a:pt x="279844" y="226164"/>
                        <a:pt x="280555" y="226879"/>
                      </a:cubicBezTo>
                      <a:cubicBezTo>
                        <a:pt x="281977" y="227594"/>
                        <a:pt x="282688" y="227594"/>
                        <a:pt x="283399" y="228310"/>
                      </a:cubicBezTo>
                      <a:cubicBezTo>
                        <a:pt x="285531" y="229740"/>
                        <a:pt x="286953" y="230455"/>
                        <a:pt x="288375" y="231171"/>
                      </a:cubicBezTo>
                      <a:cubicBezTo>
                        <a:pt x="289797" y="231886"/>
                        <a:pt x="290508" y="231886"/>
                        <a:pt x="291930" y="232601"/>
                      </a:cubicBezTo>
                      <a:cubicBezTo>
                        <a:pt x="294062" y="233317"/>
                        <a:pt x="296195" y="234032"/>
                        <a:pt x="299039" y="234747"/>
                      </a:cubicBezTo>
                      <a:cubicBezTo>
                        <a:pt x="301882" y="234747"/>
                        <a:pt x="304726" y="235463"/>
                        <a:pt x="307569" y="235463"/>
                      </a:cubicBezTo>
                      <a:cubicBezTo>
                        <a:pt x="308991" y="235463"/>
                        <a:pt x="309702" y="235463"/>
                        <a:pt x="311124" y="235463"/>
                      </a:cubicBezTo>
                      <a:cubicBezTo>
                        <a:pt x="311124" y="235463"/>
                        <a:pt x="311124" y="235463"/>
                        <a:pt x="311835" y="235463"/>
                      </a:cubicBezTo>
                      <a:cubicBezTo>
                        <a:pt x="311835" y="235463"/>
                        <a:pt x="311835" y="235463"/>
                        <a:pt x="338138" y="233317"/>
                      </a:cubicBezTo>
                      <a:cubicBezTo>
                        <a:pt x="330318" y="238324"/>
                        <a:pt x="323209" y="244046"/>
                        <a:pt x="316100" y="250484"/>
                      </a:cubicBezTo>
                      <a:cubicBezTo>
                        <a:pt x="306148" y="258352"/>
                        <a:pt x="296195" y="267651"/>
                        <a:pt x="286953" y="276235"/>
                      </a:cubicBezTo>
                      <a:cubicBezTo>
                        <a:pt x="277712" y="285534"/>
                        <a:pt x="268470" y="294832"/>
                        <a:pt x="259939" y="304847"/>
                      </a:cubicBezTo>
                      <a:cubicBezTo>
                        <a:pt x="257095" y="308423"/>
                        <a:pt x="254252" y="311284"/>
                        <a:pt x="251408" y="314861"/>
                      </a:cubicBezTo>
                      <a:cubicBezTo>
                        <a:pt x="251408" y="315576"/>
                        <a:pt x="250697" y="316291"/>
                        <a:pt x="249986" y="317007"/>
                      </a:cubicBezTo>
                      <a:cubicBezTo>
                        <a:pt x="247854" y="319868"/>
                        <a:pt x="245721" y="322014"/>
                        <a:pt x="243588" y="324875"/>
                      </a:cubicBezTo>
                      <a:cubicBezTo>
                        <a:pt x="242877" y="325590"/>
                        <a:pt x="242877" y="326306"/>
                        <a:pt x="242166" y="326306"/>
                      </a:cubicBezTo>
                      <a:cubicBezTo>
                        <a:pt x="237190" y="332743"/>
                        <a:pt x="232214" y="340612"/>
                        <a:pt x="227948" y="347049"/>
                      </a:cubicBezTo>
                      <a:cubicBezTo>
                        <a:pt x="217996" y="361355"/>
                        <a:pt x="208754" y="377092"/>
                        <a:pt x="200934" y="392113"/>
                      </a:cubicBezTo>
                      <a:cubicBezTo>
                        <a:pt x="168943" y="377092"/>
                        <a:pt x="144773" y="349195"/>
                        <a:pt x="134109" y="315576"/>
                      </a:cubicBezTo>
                      <a:cubicBezTo>
                        <a:pt x="133398" y="315576"/>
                        <a:pt x="133398" y="314861"/>
                        <a:pt x="133398" y="314145"/>
                      </a:cubicBezTo>
                      <a:cubicBezTo>
                        <a:pt x="133398" y="313430"/>
                        <a:pt x="132687" y="312000"/>
                        <a:pt x="132687" y="311284"/>
                      </a:cubicBezTo>
                      <a:cubicBezTo>
                        <a:pt x="132687" y="311284"/>
                        <a:pt x="131977" y="310569"/>
                        <a:pt x="131977" y="309854"/>
                      </a:cubicBezTo>
                      <a:cubicBezTo>
                        <a:pt x="131977" y="309138"/>
                        <a:pt x="131266" y="307708"/>
                        <a:pt x="131266" y="306993"/>
                      </a:cubicBezTo>
                      <a:cubicBezTo>
                        <a:pt x="131266" y="305562"/>
                        <a:pt x="130555" y="304847"/>
                        <a:pt x="130555" y="303416"/>
                      </a:cubicBezTo>
                      <a:cubicBezTo>
                        <a:pt x="130555" y="303416"/>
                        <a:pt x="130555" y="302701"/>
                        <a:pt x="129844" y="302701"/>
                      </a:cubicBezTo>
                      <a:cubicBezTo>
                        <a:pt x="129844" y="301270"/>
                        <a:pt x="129844" y="299840"/>
                        <a:pt x="129133" y="298409"/>
                      </a:cubicBezTo>
                      <a:cubicBezTo>
                        <a:pt x="129133" y="298409"/>
                        <a:pt x="129133" y="298409"/>
                        <a:pt x="129133" y="297694"/>
                      </a:cubicBezTo>
                      <a:cubicBezTo>
                        <a:pt x="129133" y="296978"/>
                        <a:pt x="129133" y="295548"/>
                        <a:pt x="128422" y="294117"/>
                      </a:cubicBezTo>
                      <a:cubicBezTo>
                        <a:pt x="128422" y="294117"/>
                        <a:pt x="128422" y="294117"/>
                        <a:pt x="128422" y="293402"/>
                      </a:cubicBezTo>
                      <a:cubicBezTo>
                        <a:pt x="128422" y="290541"/>
                        <a:pt x="127711" y="287679"/>
                        <a:pt x="127711" y="284818"/>
                      </a:cubicBezTo>
                      <a:cubicBezTo>
                        <a:pt x="127711" y="284818"/>
                        <a:pt x="127711" y="284818"/>
                        <a:pt x="127711" y="284103"/>
                      </a:cubicBezTo>
                      <a:cubicBezTo>
                        <a:pt x="127000" y="281242"/>
                        <a:pt x="127000" y="278381"/>
                        <a:pt x="127000" y="274804"/>
                      </a:cubicBezTo>
                      <a:cubicBezTo>
                        <a:pt x="127000" y="267651"/>
                        <a:pt x="127711" y="260498"/>
                        <a:pt x="129133" y="253345"/>
                      </a:cubicBezTo>
                      <a:cubicBezTo>
                        <a:pt x="129844" y="249053"/>
                        <a:pt x="130555" y="245477"/>
                        <a:pt x="131266" y="241900"/>
                      </a:cubicBezTo>
                      <a:cubicBezTo>
                        <a:pt x="137664" y="218295"/>
                        <a:pt x="150460" y="197552"/>
                        <a:pt x="166811" y="181815"/>
                      </a:cubicBezTo>
                      <a:cubicBezTo>
                        <a:pt x="172498" y="176093"/>
                        <a:pt x="178896" y="171086"/>
                        <a:pt x="185294" y="166794"/>
                      </a:cubicBezTo>
                      <a:cubicBezTo>
                        <a:pt x="189560" y="163933"/>
                        <a:pt x="194536" y="161787"/>
                        <a:pt x="198801" y="158926"/>
                      </a:cubicBezTo>
                      <a:cubicBezTo>
                        <a:pt x="203778" y="156780"/>
                        <a:pt x="208754" y="154634"/>
                        <a:pt x="213019" y="153203"/>
                      </a:cubicBezTo>
                      <a:cubicBezTo>
                        <a:pt x="215152" y="152488"/>
                        <a:pt x="217996" y="151057"/>
                        <a:pt x="220839" y="150342"/>
                      </a:cubicBezTo>
                      <a:cubicBezTo>
                        <a:pt x="223683" y="149627"/>
                        <a:pt x="225816" y="148911"/>
                        <a:pt x="228659" y="148911"/>
                      </a:cubicBezTo>
                      <a:cubicBezTo>
                        <a:pt x="237190" y="146765"/>
                        <a:pt x="245721" y="146050"/>
                        <a:pt x="254252" y="146050"/>
                      </a:cubicBezTo>
                      <a:close/>
                      <a:moveTo>
                        <a:pt x="393128" y="31750"/>
                      </a:moveTo>
                      <a:cubicBezTo>
                        <a:pt x="383844" y="32464"/>
                        <a:pt x="375273" y="36036"/>
                        <a:pt x="367417" y="41750"/>
                      </a:cubicBezTo>
                      <a:cubicBezTo>
                        <a:pt x="365989" y="42464"/>
                        <a:pt x="365275" y="43893"/>
                        <a:pt x="363847" y="44607"/>
                      </a:cubicBezTo>
                      <a:cubicBezTo>
                        <a:pt x="363132" y="46036"/>
                        <a:pt x="361704" y="46750"/>
                        <a:pt x="360990" y="48178"/>
                      </a:cubicBezTo>
                      <a:cubicBezTo>
                        <a:pt x="356705" y="52464"/>
                        <a:pt x="353848" y="57464"/>
                        <a:pt x="351705" y="63178"/>
                      </a:cubicBezTo>
                      <a:cubicBezTo>
                        <a:pt x="351705" y="65321"/>
                        <a:pt x="350991" y="66750"/>
                        <a:pt x="350991" y="68178"/>
                      </a:cubicBezTo>
                      <a:cubicBezTo>
                        <a:pt x="350277" y="70321"/>
                        <a:pt x="350277" y="71750"/>
                        <a:pt x="349563" y="73892"/>
                      </a:cubicBezTo>
                      <a:cubicBezTo>
                        <a:pt x="348134" y="73178"/>
                        <a:pt x="345992" y="72464"/>
                        <a:pt x="344564" y="71750"/>
                      </a:cubicBezTo>
                      <a:cubicBezTo>
                        <a:pt x="318139" y="60321"/>
                        <a:pt x="290285" y="53893"/>
                        <a:pt x="261718" y="53178"/>
                      </a:cubicBezTo>
                      <a:cubicBezTo>
                        <a:pt x="259575" y="53178"/>
                        <a:pt x="257433" y="53178"/>
                        <a:pt x="255290" y="53178"/>
                      </a:cubicBezTo>
                      <a:cubicBezTo>
                        <a:pt x="243863" y="53178"/>
                        <a:pt x="232436" y="53893"/>
                        <a:pt x="221724" y="56036"/>
                      </a:cubicBezTo>
                      <a:cubicBezTo>
                        <a:pt x="211725" y="57464"/>
                        <a:pt x="201726" y="59607"/>
                        <a:pt x="192442" y="62464"/>
                      </a:cubicBezTo>
                      <a:cubicBezTo>
                        <a:pt x="186729" y="63893"/>
                        <a:pt x="181015" y="66035"/>
                        <a:pt x="176016" y="68178"/>
                      </a:cubicBezTo>
                      <a:cubicBezTo>
                        <a:pt x="173159" y="68892"/>
                        <a:pt x="171016" y="69607"/>
                        <a:pt x="168874" y="71035"/>
                      </a:cubicBezTo>
                      <a:cubicBezTo>
                        <a:pt x="161732" y="73892"/>
                        <a:pt x="153876" y="77464"/>
                        <a:pt x="147448" y="81035"/>
                      </a:cubicBezTo>
                      <a:cubicBezTo>
                        <a:pt x="126023" y="93178"/>
                        <a:pt x="107454" y="108178"/>
                        <a:pt x="91028" y="126035"/>
                      </a:cubicBezTo>
                      <a:cubicBezTo>
                        <a:pt x="85314" y="131749"/>
                        <a:pt x="80315" y="138892"/>
                        <a:pt x="75316" y="145320"/>
                      </a:cubicBezTo>
                      <a:cubicBezTo>
                        <a:pt x="61746" y="163891"/>
                        <a:pt x="51033" y="184605"/>
                        <a:pt x="43891" y="206748"/>
                      </a:cubicBezTo>
                      <a:cubicBezTo>
                        <a:pt x="43177" y="208891"/>
                        <a:pt x="42463" y="211748"/>
                        <a:pt x="41035" y="214605"/>
                      </a:cubicBezTo>
                      <a:cubicBezTo>
                        <a:pt x="37464" y="226747"/>
                        <a:pt x="35321" y="240319"/>
                        <a:pt x="33893" y="253176"/>
                      </a:cubicBezTo>
                      <a:cubicBezTo>
                        <a:pt x="33179" y="261033"/>
                        <a:pt x="32464" y="268175"/>
                        <a:pt x="32464" y="276033"/>
                      </a:cubicBezTo>
                      <a:cubicBezTo>
                        <a:pt x="32464" y="278890"/>
                        <a:pt x="32464" y="281747"/>
                        <a:pt x="32464" y="284604"/>
                      </a:cubicBezTo>
                      <a:cubicBezTo>
                        <a:pt x="33179" y="286032"/>
                        <a:pt x="33179" y="288175"/>
                        <a:pt x="33179" y="289604"/>
                      </a:cubicBezTo>
                      <a:cubicBezTo>
                        <a:pt x="33179" y="291032"/>
                        <a:pt x="33179" y="291747"/>
                        <a:pt x="33179" y="292461"/>
                      </a:cubicBezTo>
                      <a:cubicBezTo>
                        <a:pt x="33179" y="293889"/>
                        <a:pt x="33179" y="296032"/>
                        <a:pt x="33893" y="297461"/>
                      </a:cubicBezTo>
                      <a:cubicBezTo>
                        <a:pt x="33893" y="298889"/>
                        <a:pt x="33893" y="299604"/>
                        <a:pt x="33893" y="300318"/>
                      </a:cubicBezTo>
                      <a:cubicBezTo>
                        <a:pt x="33893" y="302461"/>
                        <a:pt x="34607" y="303889"/>
                        <a:pt x="34607" y="305318"/>
                      </a:cubicBezTo>
                      <a:cubicBezTo>
                        <a:pt x="34607" y="306032"/>
                        <a:pt x="34607" y="307461"/>
                        <a:pt x="35321" y="308889"/>
                      </a:cubicBezTo>
                      <a:cubicBezTo>
                        <a:pt x="35321" y="311032"/>
                        <a:pt x="36035" y="313175"/>
                        <a:pt x="36035" y="315318"/>
                      </a:cubicBezTo>
                      <a:cubicBezTo>
                        <a:pt x="36035" y="315318"/>
                        <a:pt x="36035" y="316032"/>
                        <a:pt x="36035" y="316746"/>
                      </a:cubicBezTo>
                      <a:cubicBezTo>
                        <a:pt x="49605" y="387460"/>
                        <a:pt x="97455" y="448887"/>
                        <a:pt x="163875" y="478887"/>
                      </a:cubicBezTo>
                      <a:cubicBezTo>
                        <a:pt x="160304" y="490315"/>
                        <a:pt x="157447" y="502458"/>
                        <a:pt x="154590" y="514601"/>
                      </a:cubicBezTo>
                      <a:cubicBezTo>
                        <a:pt x="146734" y="549600"/>
                        <a:pt x="142449" y="585314"/>
                        <a:pt x="142449" y="621028"/>
                      </a:cubicBezTo>
                      <a:cubicBezTo>
                        <a:pt x="142449" y="624599"/>
                        <a:pt x="142449" y="627456"/>
                        <a:pt x="142449" y="630313"/>
                      </a:cubicBezTo>
                      <a:cubicBezTo>
                        <a:pt x="143163" y="654599"/>
                        <a:pt x="145306" y="678170"/>
                        <a:pt x="149591" y="701741"/>
                      </a:cubicBezTo>
                      <a:cubicBezTo>
                        <a:pt x="149591" y="705312"/>
                        <a:pt x="150305" y="708884"/>
                        <a:pt x="151019" y="711741"/>
                      </a:cubicBezTo>
                      <a:cubicBezTo>
                        <a:pt x="153162" y="721026"/>
                        <a:pt x="154590" y="729598"/>
                        <a:pt x="156733" y="738169"/>
                      </a:cubicBezTo>
                      <a:cubicBezTo>
                        <a:pt x="158875" y="747455"/>
                        <a:pt x="161732" y="756026"/>
                        <a:pt x="164589" y="764597"/>
                      </a:cubicBezTo>
                      <a:cubicBezTo>
                        <a:pt x="165303" y="767454"/>
                        <a:pt x="166017" y="770312"/>
                        <a:pt x="166731" y="773169"/>
                      </a:cubicBezTo>
                      <a:cubicBezTo>
                        <a:pt x="168874" y="778883"/>
                        <a:pt x="171016" y="784597"/>
                        <a:pt x="173159" y="790311"/>
                      </a:cubicBezTo>
                      <a:cubicBezTo>
                        <a:pt x="175302" y="796025"/>
                        <a:pt x="177444" y="801025"/>
                        <a:pt x="179587" y="806740"/>
                      </a:cubicBezTo>
                      <a:cubicBezTo>
                        <a:pt x="182443" y="812454"/>
                        <a:pt x="184586" y="818168"/>
                        <a:pt x="187443" y="823168"/>
                      </a:cubicBezTo>
                      <a:cubicBezTo>
                        <a:pt x="191014" y="831025"/>
                        <a:pt x="195299" y="838882"/>
                        <a:pt x="199584" y="846739"/>
                      </a:cubicBezTo>
                      <a:cubicBezTo>
                        <a:pt x="201012" y="849596"/>
                        <a:pt x="202441" y="852453"/>
                        <a:pt x="203869" y="855310"/>
                      </a:cubicBezTo>
                      <a:cubicBezTo>
                        <a:pt x="205297" y="858167"/>
                        <a:pt x="207440" y="861739"/>
                        <a:pt x="209582" y="864596"/>
                      </a:cubicBezTo>
                      <a:cubicBezTo>
                        <a:pt x="212439" y="869596"/>
                        <a:pt x="215296" y="874596"/>
                        <a:pt x="218153" y="879596"/>
                      </a:cubicBezTo>
                      <a:cubicBezTo>
                        <a:pt x="221009" y="883881"/>
                        <a:pt x="224580" y="888881"/>
                        <a:pt x="228151" y="893881"/>
                      </a:cubicBezTo>
                      <a:cubicBezTo>
                        <a:pt x="230294" y="897453"/>
                        <a:pt x="233865" y="901738"/>
                        <a:pt x="236721" y="905310"/>
                      </a:cubicBezTo>
                      <a:cubicBezTo>
                        <a:pt x="265289" y="944595"/>
                        <a:pt x="298856" y="978166"/>
                        <a:pt x="336707" y="1006737"/>
                      </a:cubicBezTo>
                      <a:cubicBezTo>
                        <a:pt x="336707" y="1006737"/>
                        <a:pt x="336707" y="1006737"/>
                        <a:pt x="78886" y="1006737"/>
                      </a:cubicBezTo>
                      <a:cubicBezTo>
                        <a:pt x="76030" y="1006737"/>
                        <a:pt x="72459" y="1006737"/>
                        <a:pt x="69602" y="1007451"/>
                      </a:cubicBezTo>
                      <a:cubicBezTo>
                        <a:pt x="66745" y="1008165"/>
                        <a:pt x="64603" y="1008880"/>
                        <a:pt x="61746" y="1009594"/>
                      </a:cubicBezTo>
                      <a:cubicBezTo>
                        <a:pt x="44606" y="1016737"/>
                        <a:pt x="31750" y="1033879"/>
                        <a:pt x="31750" y="1053879"/>
                      </a:cubicBezTo>
                      <a:cubicBezTo>
                        <a:pt x="31750" y="1073879"/>
                        <a:pt x="44606" y="1090307"/>
                        <a:pt x="61746" y="1097450"/>
                      </a:cubicBezTo>
                      <a:cubicBezTo>
                        <a:pt x="64603" y="1098878"/>
                        <a:pt x="66745" y="1099593"/>
                        <a:pt x="69602" y="1099593"/>
                      </a:cubicBezTo>
                      <a:cubicBezTo>
                        <a:pt x="72459" y="1100307"/>
                        <a:pt x="76030" y="1101021"/>
                        <a:pt x="78886" y="1101021"/>
                      </a:cubicBezTo>
                      <a:cubicBezTo>
                        <a:pt x="78886" y="1101021"/>
                        <a:pt x="78886" y="1101021"/>
                        <a:pt x="1075890" y="1101021"/>
                      </a:cubicBezTo>
                      <a:cubicBezTo>
                        <a:pt x="1063748" y="1119592"/>
                        <a:pt x="1066605" y="1145306"/>
                        <a:pt x="1083746" y="1161020"/>
                      </a:cubicBezTo>
                      <a:cubicBezTo>
                        <a:pt x="1091602" y="1168163"/>
                        <a:pt x="1100886" y="1171735"/>
                        <a:pt x="1110885" y="1173163"/>
                      </a:cubicBezTo>
                      <a:cubicBezTo>
                        <a:pt x="1112313" y="1173163"/>
                        <a:pt x="1113741" y="1173163"/>
                        <a:pt x="1115170" y="1173163"/>
                      </a:cubicBezTo>
                      <a:cubicBezTo>
                        <a:pt x="1118026" y="1173163"/>
                        <a:pt x="1120169" y="1173163"/>
                        <a:pt x="1122312" y="1172449"/>
                      </a:cubicBezTo>
                      <a:cubicBezTo>
                        <a:pt x="1124454" y="1172449"/>
                        <a:pt x="1126597" y="1171735"/>
                        <a:pt x="1128739" y="1171020"/>
                      </a:cubicBezTo>
                      <a:cubicBezTo>
                        <a:pt x="1136595" y="1168878"/>
                        <a:pt x="1144451" y="1164592"/>
                        <a:pt x="1150165" y="1158163"/>
                      </a:cubicBezTo>
                      <a:cubicBezTo>
                        <a:pt x="1150165" y="1158163"/>
                        <a:pt x="1150165" y="1158163"/>
                        <a:pt x="1216584" y="1085307"/>
                      </a:cubicBezTo>
                      <a:cubicBezTo>
                        <a:pt x="1216584" y="1085307"/>
                        <a:pt x="1216584" y="1085307"/>
                        <a:pt x="1218012" y="1083879"/>
                      </a:cubicBezTo>
                      <a:cubicBezTo>
                        <a:pt x="1218012" y="1083879"/>
                        <a:pt x="1218012" y="1083879"/>
                        <a:pt x="1218012" y="1083164"/>
                      </a:cubicBezTo>
                      <a:cubicBezTo>
                        <a:pt x="1218012" y="1083164"/>
                        <a:pt x="1218012" y="1083164"/>
                        <a:pt x="1218727" y="1083164"/>
                      </a:cubicBezTo>
                      <a:cubicBezTo>
                        <a:pt x="1218727" y="1082450"/>
                        <a:pt x="1218727" y="1082450"/>
                        <a:pt x="1218727" y="1082450"/>
                      </a:cubicBezTo>
                      <a:cubicBezTo>
                        <a:pt x="1218727" y="1082450"/>
                        <a:pt x="1218727" y="1081736"/>
                        <a:pt x="1219441" y="1081736"/>
                      </a:cubicBezTo>
                      <a:cubicBezTo>
                        <a:pt x="1219441" y="1081736"/>
                        <a:pt x="1219441" y="1081736"/>
                        <a:pt x="1219441" y="1081022"/>
                      </a:cubicBezTo>
                      <a:cubicBezTo>
                        <a:pt x="1219441" y="1081022"/>
                        <a:pt x="1219441" y="1081022"/>
                        <a:pt x="1220155" y="1081022"/>
                      </a:cubicBezTo>
                      <a:cubicBezTo>
                        <a:pt x="1220155" y="1080307"/>
                        <a:pt x="1220869" y="1078879"/>
                        <a:pt x="1221583" y="1078164"/>
                      </a:cubicBezTo>
                      <a:cubicBezTo>
                        <a:pt x="1221583" y="1077450"/>
                        <a:pt x="1222298" y="1077450"/>
                        <a:pt x="1222298" y="1077450"/>
                      </a:cubicBezTo>
                      <a:cubicBezTo>
                        <a:pt x="1223012" y="1076022"/>
                        <a:pt x="1223012" y="1075307"/>
                        <a:pt x="1223726" y="1073879"/>
                      </a:cubicBezTo>
                      <a:cubicBezTo>
                        <a:pt x="1223726" y="1073879"/>
                        <a:pt x="1223726" y="1073879"/>
                        <a:pt x="1224440" y="1073879"/>
                      </a:cubicBezTo>
                      <a:cubicBezTo>
                        <a:pt x="1224440" y="1073879"/>
                        <a:pt x="1224440" y="1073879"/>
                        <a:pt x="1224440" y="1073165"/>
                      </a:cubicBezTo>
                      <a:cubicBezTo>
                        <a:pt x="1224440" y="1072450"/>
                        <a:pt x="1225154" y="1071736"/>
                        <a:pt x="1225154" y="1071022"/>
                      </a:cubicBezTo>
                      <a:cubicBezTo>
                        <a:pt x="1225154" y="1071022"/>
                        <a:pt x="1225154" y="1070307"/>
                        <a:pt x="1225868" y="1070307"/>
                      </a:cubicBezTo>
                      <a:cubicBezTo>
                        <a:pt x="1225868" y="1070307"/>
                        <a:pt x="1225868" y="1070307"/>
                        <a:pt x="1225868" y="1068879"/>
                      </a:cubicBezTo>
                      <a:cubicBezTo>
                        <a:pt x="1226583" y="1067450"/>
                        <a:pt x="1226583" y="1066736"/>
                        <a:pt x="1227297" y="1065307"/>
                      </a:cubicBezTo>
                      <a:cubicBezTo>
                        <a:pt x="1227297" y="1065307"/>
                        <a:pt x="1227297" y="1065307"/>
                        <a:pt x="1227297" y="1064593"/>
                      </a:cubicBezTo>
                      <a:cubicBezTo>
                        <a:pt x="1227297" y="1063165"/>
                        <a:pt x="1228011" y="1062450"/>
                        <a:pt x="1228011" y="1061022"/>
                      </a:cubicBezTo>
                      <a:cubicBezTo>
                        <a:pt x="1228011" y="1060308"/>
                        <a:pt x="1228011" y="1060308"/>
                        <a:pt x="1228011" y="1059593"/>
                      </a:cubicBezTo>
                      <a:cubicBezTo>
                        <a:pt x="1228011" y="1059593"/>
                        <a:pt x="1228011" y="1059593"/>
                        <a:pt x="1228011" y="1058879"/>
                      </a:cubicBezTo>
                      <a:cubicBezTo>
                        <a:pt x="1228011" y="1058165"/>
                        <a:pt x="1228725" y="1057450"/>
                        <a:pt x="1228725" y="1056736"/>
                      </a:cubicBezTo>
                      <a:cubicBezTo>
                        <a:pt x="1228725" y="1056022"/>
                        <a:pt x="1228725" y="1056022"/>
                        <a:pt x="1228725" y="1056022"/>
                      </a:cubicBezTo>
                      <a:cubicBezTo>
                        <a:pt x="1228725" y="1055308"/>
                        <a:pt x="1228725" y="1054593"/>
                        <a:pt x="1228725" y="1053879"/>
                      </a:cubicBezTo>
                      <a:cubicBezTo>
                        <a:pt x="1228725" y="1053165"/>
                        <a:pt x="1228725" y="1052451"/>
                        <a:pt x="1228725" y="1051736"/>
                      </a:cubicBezTo>
                      <a:cubicBezTo>
                        <a:pt x="1228725" y="1051022"/>
                        <a:pt x="1228725" y="1051022"/>
                        <a:pt x="1228725" y="1051022"/>
                      </a:cubicBezTo>
                      <a:cubicBezTo>
                        <a:pt x="1228011" y="1049593"/>
                        <a:pt x="1228011" y="1048879"/>
                        <a:pt x="1228011" y="1047451"/>
                      </a:cubicBezTo>
                      <a:cubicBezTo>
                        <a:pt x="1228011" y="1046736"/>
                        <a:pt x="1228011" y="1046736"/>
                        <a:pt x="1228011" y="1046022"/>
                      </a:cubicBezTo>
                      <a:cubicBezTo>
                        <a:pt x="1228011" y="1046022"/>
                        <a:pt x="1228011" y="1045308"/>
                        <a:pt x="1227297" y="1044593"/>
                      </a:cubicBezTo>
                      <a:cubicBezTo>
                        <a:pt x="1227297" y="1043879"/>
                        <a:pt x="1227297" y="1043165"/>
                        <a:pt x="1227297" y="1043165"/>
                      </a:cubicBezTo>
                      <a:cubicBezTo>
                        <a:pt x="1227297" y="1043165"/>
                        <a:pt x="1227297" y="1043165"/>
                        <a:pt x="1227297" y="1041736"/>
                      </a:cubicBezTo>
                      <a:cubicBezTo>
                        <a:pt x="1226583" y="1040308"/>
                        <a:pt x="1226583" y="1039594"/>
                        <a:pt x="1225868" y="1038165"/>
                      </a:cubicBezTo>
                      <a:cubicBezTo>
                        <a:pt x="1225868" y="1038165"/>
                        <a:pt x="1225868" y="1038165"/>
                        <a:pt x="1225868" y="1037451"/>
                      </a:cubicBezTo>
                      <a:cubicBezTo>
                        <a:pt x="1225154" y="1036022"/>
                        <a:pt x="1225154" y="1035308"/>
                        <a:pt x="1224440" y="1034594"/>
                      </a:cubicBezTo>
                      <a:cubicBezTo>
                        <a:pt x="1224440" y="1033879"/>
                        <a:pt x="1223726" y="1033879"/>
                        <a:pt x="1223726" y="1033165"/>
                      </a:cubicBezTo>
                      <a:cubicBezTo>
                        <a:pt x="1223012" y="1032451"/>
                        <a:pt x="1223012" y="1031022"/>
                        <a:pt x="1222298" y="1030308"/>
                      </a:cubicBezTo>
                      <a:cubicBezTo>
                        <a:pt x="1222298" y="1029594"/>
                        <a:pt x="1221583" y="1029594"/>
                        <a:pt x="1221583" y="1028879"/>
                      </a:cubicBezTo>
                      <a:cubicBezTo>
                        <a:pt x="1220869" y="1028165"/>
                        <a:pt x="1220155" y="1027451"/>
                        <a:pt x="1219441" y="1026022"/>
                      </a:cubicBezTo>
                      <a:cubicBezTo>
                        <a:pt x="1219441" y="1026022"/>
                        <a:pt x="1219441" y="1026022"/>
                        <a:pt x="1218727" y="1025308"/>
                      </a:cubicBezTo>
                      <a:cubicBezTo>
                        <a:pt x="1218727" y="1025308"/>
                        <a:pt x="1218727" y="1025308"/>
                        <a:pt x="1218727" y="1024594"/>
                      </a:cubicBezTo>
                      <a:cubicBezTo>
                        <a:pt x="1218727" y="1024594"/>
                        <a:pt x="1218727" y="1024594"/>
                        <a:pt x="1218012" y="1023879"/>
                      </a:cubicBezTo>
                      <a:cubicBezTo>
                        <a:pt x="1218012" y="1023879"/>
                        <a:pt x="1218012" y="1023879"/>
                        <a:pt x="1216584" y="1022451"/>
                      </a:cubicBezTo>
                      <a:cubicBezTo>
                        <a:pt x="1216584" y="1022451"/>
                        <a:pt x="1216584" y="1022451"/>
                        <a:pt x="1216584" y="1021737"/>
                      </a:cubicBezTo>
                      <a:cubicBezTo>
                        <a:pt x="1216584" y="1021737"/>
                        <a:pt x="1216584" y="1021737"/>
                        <a:pt x="1150165" y="949595"/>
                      </a:cubicBezTo>
                      <a:cubicBezTo>
                        <a:pt x="1148022" y="946738"/>
                        <a:pt x="1145880" y="944595"/>
                        <a:pt x="1143023" y="943166"/>
                      </a:cubicBezTo>
                      <a:cubicBezTo>
                        <a:pt x="1140880" y="941738"/>
                        <a:pt x="1139452" y="940309"/>
                        <a:pt x="1137309" y="939595"/>
                      </a:cubicBezTo>
                      <a:cubicBezTo>
                        <a:pt x="1136595" y="938881"/>
                        <a:pt x="1135167" y="938881"/>
                        <a:pt x="1134453" y="938166"/>
                      </a:cubicBezTo>
                      <a:cubicBezTo>
                        <a:pt x="1133739" y="937452"/>
                        <a:pt x="1132310" y="937452"/>
                        <a:pt x="1131596" y="936738"/>
                      </a:cubicBezTo>
                      <a:cubicBezTo>
                        <a:pt x="1126597" y="935309"/>
                        <a:pt x="1120883" y="933881"/>
                        <a:pt x="1115170" y="933881"/>
                      </a:cubicBezTo>
                      <a:cubicBezTo>
                        <a:pt x="1105171" y="933881"/>
                        <a:pt x="1095172" y="937452"/>
                        <a:pt x="1087316" y="943881"/>
                      </a:cubicBezTo>
                      <a:cubicBezTo>
                        <a:pt x="1085888" y="944595"/>
                        <a:pt x="1084460" y="945309"/>
                        <a:pt x="1083746" y="946023"/>
                      </a:cubicBezTo>
                      <a:cubicBezTo>
                        <a:pt x="1082317" y="947452"/>
                        <a:pt x="1081603" y="948166"/>
                        <a:pt x="1080175" y="949595"/>
                      </a:cubicBezTo>
                      <a:cubicBezTo>
                        <a:pt x="1080175" y="950309"/>
                        <a:pt x="1079460" y="950309"/>
                        <a:pt x="1079460" y="951023"/>
                      </a:cubicBezTo>
                      <a:cubicBezTo>
                        <a:pt x="1078746" y="951738"/>
                        <a:pt x="1078032" y="952452"/>
                        <a:pt x="1078032" y="953166"/>
                      </a:cubicBezTo>
                      <a:cubicBezTo>
                        <a:pt x="1077318" y="953880"/>
                        <a:pt x="1076604" y="953880"/>
                        <a:pt x="1076604" y="954595"/>
                      </a:cubicBezTo>
                      <a:cubicBezTo>
                        <a:pt x="1075890" y="955309"/>
                        <a:pt x="1075890" y="956023"/>
                        <a:pt x="1075175" y="956738"/>
                      </a:cubicBezTo>
                      <a:cubicBezTo>
                        <a:pt x="1075175" y="957452"/>
                        <a:pt x="1074461" y="958166"/>
                        <a:pt x="1073747" y="958880"/>
                      </a:cubicBezTo>
                      <a:cubicBezTo>
                        <a:pt x="1073747" y="959595"/>
                        <a:pt x="1073747" y="959595"/>
                        <a:pt x="1073033" y="960309"/>
                      </a:cubicBezTo>
                      <a:cubicBezTo>
                        <a:pt x="1073033" y="961023"/>
                        <a:pt x="1072319" y="961737"/>
                        <a:pt x="1072319" y="962452"/>
                      </a:cubicBezTo>
                      <a:cubicBezTo>
                        <a:pt x="1071604" y="963166"/>
                        <a:pt x="1071604" y="963880"/>
                        <a:pt x="1071604" y="963880"/>
                      </a:cubicBezTo>
                      <a:cubicBezTo>
                        <a:pt x="1070890" y="964595"/>
                        <a:pt x="1070890" y="966023"/>
                        <a:pt x="1070890" y="966737"/>
                      </a:cubicBezTo>
                      <a:cubicBezTo>
                        <a:pt x="1070176" y="967452"/>
                        <a:pt x="1070176" y="967452"/>
                        <a:pt x="1070176" y="968166"/>
                      </a:cubicBezTo>
                      <a:cubicBezTo>
                        <a:pt x="1070176" y="968880"/>
                        <a:pt x="1069462" y="969595"/>
                        <a:pt x="1069462" y="971023"/>
                      </a:cubicBezTo>
                      <a:cubicBezTo>
                        <a:pt x="1069462" y="971023"/>
                        <a:pt x="1069462" y="971023"/>
                        <a:pt x="1069462" y="971737"/>
                      </a:cubicBezTo>
                      <a:cubicBezTo>
                        <a:pt x="1068748" y="973166"/>
                        <a:pt x="1068748" y="973880"/>
                        <a:pt x="1068748" y="975309"/>
                      </a:cubicBezTo>
                      <a:cubicBezTo>
                        <a:pt x="1068748" y="975309"/>
                        <a:pt x="1068748" y="975309"/>
                        <a:pt x="1068748" y="976023"/>
                      </a:cubicBezTo>
                      <a:cubicBezTo>
                        <a:pt x="1068748" y="976737"/>
                        <a:pt x="1068748" y="978166"/>
                        <a:pt x="1068033" y="978880"/>
                      </a:cubicBezTo>
                      <a:cubicBezTo>
                        <a:pt x="1068033" y="979594"/>
                        <a:pt x="1068033" y="981023"/>
                        <a:pt x="1068033" y="981737"/>
                      </a:cubicBezTo>
                      <a:cubicBezTo>
                        <a:pt x="1068033" y="982451"/>
                        <a:pt x="1068033" y="983166"/>
                        <a:pt x="1068748" y="983880"/>
                      </a:cubicBezTo>
                      <a:cubicBezTo>
                        <a:pt x="1068748" y="985309"/>
                        <a:pt x="1068748" y="986023"/>
                        <a:pt x="1068748" y="987451"/>
                      </a:cubicBezTo>
                      <a:cubicBezTo>
                        <a:pt x="1068748" y="988880"/>
                        <a:pt x="1069462" y="990309"/>
                        <a:pt x="1069462" y="991023"/>
                      </a:cubicBezTo>
                      <a:cubicBezTo>
                        <a:pt x="1069462" y="991023"/>
                        <a:pt x="1069462" y="991023"/>
                        <a:pt x="1069462" y="991737"/>
                      </a:cubicBezTo>
                      <a:cubicBezTo>
                        <a:pt x="1069462" y="992451"/>
                        <a:pt x="1070176" y="993880"/>
                        <a:pt x="1070176" y="995308"/>
                      </a:cubicBezTo>
                      <a:cubicBezTo>
                        <a:pt x="1070890" y="996737"/>
                        <a:pt x="1071604" y="997451"/>
                        <a:pt x="1071604" y="998880"/>
                      </a:cubicBezTo>
                      <a:cubicBezTo>
                        <a:pt x="1071604" y="998880"/>
                        <a:pt x="1071604" y="998880"/>
                        <a:pt x="1071604" y="999594"/>
                      </a:cubicBezTo>
                      <a:cubicBezTo>
                        <a:pt x="1072319" y="1000308"/>
                        <a:pt x="1073033" y="1001737"/>
                        <a:pt x="1073747" y="1002451"/>
                      </a:cubicBezTo>
                      <a:cubicBezTo>
                        <a:pt x="1073747" y="1003165"/>
                        <a:pt x="1073747" y="1003165"/>
                        <a:pt x="1073747" y="1003165"/>
                      </a:cubicBezTo>
                      <a:cubicBezTo>
                        <a:pt x="1074461" y="1003880"/>
                        <a:pt x="1075175" y="1005308"/>
                        <a:pt x="1075890" y="1006737"/>
                      </a:cubicBezTo>
                      <a:cubicBezTo>
                        <a:pt x="1075890" y="1006737"/>
                        <a:pt x="1075890" y="1006737"/>
                        <a:pt x="908056" y="1006737"/>
                      </a:cubicBezTo>
                      <a:cubicBezTo>
                        <a:pt x="948764" y="976023"/>
                        <a:pt x="985188" y="939595"/>
                        <a:pt x="1014470" y="897453"/>
                      </a:cubicBezTo>
                      <a:cubicBezTo>
                        <a:pt x="1015898" y="896024"/>
                        <a:pt x="1016612" y="894596"/>
                        <a:pt x="1017326" y="893881"/>
                      </a:cubicBezTo>
                      <a:cubicBezTo>
                        <a:pt x="1019469" y="891024"/>
                        <a:pt x="1020897" y="888881"/>
                        <a:pt x="1022326" y="886024"/>
                      </a:cubicBezTo>
                      <a:cubicBezTo>
                        <a:pt x="1075175" y="808168"/>
                        <a:pt x="1102314" y="716741"/>
                        <a:pt x="1102314" y="621028"/>
                      </a:cubicBezTo>
                      <a:cubicBezTo>
                        <a:pt x="1102314" y="617456"/>
                        <a:pt x="1102314" y="613171"/>
                        <a:pt x="1102314" y="608885"/>
                      </a:cubicBezTo>
                      <a:cubicBezTo>
                        <a:pt x="1102314" y="604599"/>
                        <a:pt x="1102314" y="600314"/>
                        <a:pt x="1102314" y="596742"/>
                      </a:cubicBezTo>
                      <a:cubicBezTo>
                        <a:pt x="1101600" y="596028"/>
                        <a:pt x="1101600" y="596028"/>
                        <a:pt x="1101600" y="596028"/>
                      </a:cubicBezTo>
                      <a:cubicBezTo>
                        <a:pt x="1101600" y="591743"/>
                        <a:pt x="1101600" y="588171"/>
                        <a:pt x="1100886" y="584600"/>
                      </a:cubicBezTo>
                      <a:cubicBezTo>
                        <a:pt x="1100886" y="580314"/>
                        <a:pt x="1100886" y="576743"/>
                        <a:pt x="1100172" y="573171"/>
                      </a:cubicBezTo>
                      <a:cubicBezTo>
                        <a:pt x="1100172" y="572457"/>
                        <a:pt x="1100172" y="572457"/>
                        <a:pt x="1100172" y="571743"/>
                      </a:cubicBezTo>
                      <a:cubicBezTo>
                        <a:pt x="1099458" y="568171"/>
                        <a:pt x="1099458" y="564600"/>
                        <a:pt x="1098743" y="561029"/>
                      </a:cubicBezTo>
                      <a:cubicBezTo>
                        <a:pt x="1098029" y="556743"/>
                        <a:pt x="1097315" y="551743"/>
                        <a:pt x="1096601" y="547457"/>
                      </a:cubicBezTo>
                      <a:cubicBezTo>
                        <a:pt x="1096601" y="545315"/>
                        <a:pt x="1096601" y="543886"/>
                        <a:pt x="1095887" y="541743"/>
                      </a:cubicBezTo>
                      <a:cubicBezTo>
                        <a:pt x="1095887" y="538886"/>
                        <a:pt x="1095172" y="536743"/>
                        <a:pt x="1094458" y="533886"/>
                      </a:cubicBezTo>
                      <a:cubicBezTo>
                        <a:pt x="1093744" y="529600"/>
                        <a:pt x="1093030" y="525315"/>
                        <a:pt x="1092316" y="521029"/>
                      </a:cubicBezTo>
                      <a:cubicBezTo>
                        <a:pt x="1091602" y="519601"/>
                        <a:pt x="1091602" y="518886"/>
                        <a:pt x="1091602" y="517458"/>
                      </a:cubicBezTo>
                      <a:cubicBezTo>
                        <a:pt x="1090887" y="513886"/>
                        <a:pt x="1089459" y="511029"/>
                        <a:pt x="1088745" y="507458"/>
                      </a:cubicBezTo>
                      <a:cubicBezTo>
                        <a:pt x="1083031" y="482458"/>
                        <a:pt x="1075175" y="458173"/>
                        <a:pt x="1065177" y="434602"/>
                      </a:cubicBezTo>
                      <a:cubicBezTo>
                        <a:pt x="1040894" y="377460"/>
                        <a:pt x="1005899" y="326746"/>
                        <a:pt x="962334" y="282461"/>
                      </a:cubicBezTo>
                      <a:cubicBezTo>
                        <a:pt x="918054" y="238176"/>
                        <a:pt x="866633" y="203891"/>
                        <a:pt x="809498" y="179605"/>
                      </a:cubicBezTo>
                      <a:cubicBezTo>
                        <a:pt x="753792" y="156034"/>
                        <a:pt x="695229" y="143891"/>
                        <a:pt x="634523" y="141749"/>
                      </a:cubicBezTo>
                      <a:cubicBezTo>
                        <a:pt x="631666" y="141749"/>
                        <a:pt x="629524" y="141749"/>
                        <a:pt x="626667" y="141749"/>
                      </a:cubicBezTo>
                      <a:cubicBezTo>
                        <a:pt x="625238" y="141749"/>
                        <a:pt x="623810" y="141749"/>
                        <a:pt x="622382" y="141749"/>
                      </a:cubicBezTo>
                      <a:cubicBezTo>
                        <a:pt x="563104" y="141749"/>
                        <a:pt x="505255" y="152463"/>
                        <a:pt x="450977" y="173891"/>
                      </a:cubicBezTo>
                      <a:cubicBezTo>
                        <a:pt x="450977" y="173891"/>
                        <a:pt x="450977" y="173891"/>
                        <a:pt x="443835" y="75321"/>
                      </a:cubicBezTo>
                      <a:cubicBezTo>
                        <a:pt x="441693" y="51036"/>
                        <a:pt x="420981" y="31750"/>
                        <a:pt x="396699" y="31750"/>
                      </a:cubicBezTo>
                      <a:cubicBezTo>
                        <a:pt x="395985" y="31750"/>
                        <a:pt x="395985" y="31750"/>
                        <a:pt x="395271" y="31750"/>
                      </a:cubicBezTo>
                      <a:cubicBezTo>
                        <a:pt x="394556" y="31750"/>
                        <a:pt x="393842" y="31750"/>
                        <a:pt x="393128" y="31750"/>
                      </a:cubicBezTo>
                      <a:close/>
                      <a:moveTo>
                        <a:pt x="390862" y="0"/>
                      </a:moveTo>
                      <a:cubicBezTo>
                        <a:pt x="393005" y="0"/>
                        <a:pt x="394435" y="0"/>
                        <a:pt x="396578" y="0"/>
                      </a:cubicBezTo>
                      <a:cubicBezTo>
                        <a:pt x="437308" y="0"/>
                        <a:pt x="471607" y="32160"/>
                        <a:pt x="475179" y="72895"/>
                      </a:cubicBezTo>
                      <a:cubicBezTo>
                        <a:pt x="475179" y="72895"/>
                        <a:pt x="475179" y="72895"/>
                        <a:pt x="479467" y="130783"/>
                      </a:cubicBezTo>
                      <a:cubicBezTo>
                        <a:pt x="525198" y="117204"/>
                        <a:pt x="573788" y="110057"/>
                        <a:pt x="622378" y="110057"/>
                      </a:cubicBezTo>
                      <a:cubicBezTo>
                        <a:pt x="904627" y="110057"/>
                        <a:pt x="1133999" y="340177"/>
                        <a:pt x="1133999" y="621038"/>
                      </a:cubicBezTo>
                      <a:cubicBezTo>
                        <a:pt x="1133999" y="726092"/>
                        <a:pt x="1102559" y="826859"/>
                        <a:pt x="1043251" y="911903"/>
                      </a:cubicBezTo>
                      <a:cubicBezTo>
                        <a:pt x="1027530" y="934058"/>
                        <a:pt x="1010381" y="955498"/>
                        <a:pt x="991803" y="975508"/>
                      </a:cubicBezTo>
                      <a:cubicBezTo>
                        <a:pt x="991803" y="975508"/>
                        <a:pt x="991803" y="975508"/>
                        <a:pt x="1037534" y="975508"/>
                      </a:cubicBezTo>
                      <a:cubicBezTo>
                        <a:pt x="1038963" y="956212"/>
                        <a:pt x="1047538" y="936916"/>
                        <a:pt x="1062543" y="923338"/>
                      </a:cubicBezTo>
                      <a:cubicBezTo>
                        <a:pt x="1077549" y="909759"/>
                        <a:pt x="1096128" y="902613"/>
                        <a:pt x="1115421" y="902613"/>
                      </a:cubicBezTo>
                      <a:cubicBezTo>
                        <a:pt x="1137572" y="902613"/>
                        <a:pt x="1159008" y="911903"/>
                        <a:pt x="1174014" y="928341"/>
                      </a:cubicBezTo>
                      <a:cubicBezTo>
                        <a:pt x="1174014" y="928341"/>
                        <a:pt x="1174014" y="928341"/>
                        <a:pt x="1240468" y="1001236"/>
                      </a:cubicBezTo>
                      <a:cubicBezTo>
                        <a:pt x="1240468" y="1001236"/>
                        <a:pt x="1240468" y="1001236"/>
                        <a:pt x="1240468" y="1001950"/>
                      </a:cubicBezTo>
                      <a:cubicBezTo>
                        <a:pt x="1240468" y="1001950"/>
                        <a:pt x="1240468" y="1001950"/>
                        <a:pt x="1241897" y="1003380"/>
                      </a:cubicBezTo>
                      <a:cubicBezTo>
                        <a:pt x="1241897" y="1003380"/>
                        <a:pt x="1241897" y="1003380"/>
                        <a:pt x="1243326" y="1004809"/>
                      </a:cubicBezTo>
                      <a:cubicBezTo>
                        <a:pt x="1243326" y="1004809"/>
                        <a:pt x="1243326" y="1004809"/>
                        <a:pt x="1244040" y="1006238"/>
                      </a:cubicBezTo>
                      <a:cubicBezTo>
                        <a:pt x="1244040" y="1006238"/>
                        <a:pt x="1244040" y="1006238"/>
                        <a:pt x="1244755" y="1006953"/>
                      </a:cubicBezTo>
                      <a:cubicBezTo>
                        <a:pt x="1244755" y="1006953"/>
                        <a:pt x="1245470" y="1007668"/>
                        <a:pt x="1245470" y="1008382"/>
                      </a:cubicBezTo>
                      <a:cubicBezTo>
                        <a:pt x="1246899" y="1009812"/>
                        <a:pt x="1247613" y="1011241"/>
                        <a:pt x="1248328" y="1012670"/>
                      </a:cubicBezTo>
                      <a:cubicBezTo>
                        <a:pt x="1249042" y="1013385"/>
                        <a:pt x="1249757" y="1014100"/>
                        <a:pt x="1249757" y="1014814"/>
                      </a:cubicBezTo>
                      <a:cubicBezTo>
                        <a:pt x="1250471" y="1016244"/>
                        <a:pt x="1251901" y="1017673"/>
                        <a:pt x="1252615" y="1019817"/>
                      </a:cubicBezTo>
                      <a:cubicBezTo>
                        <a:pt x="1252615" y="1020531"/>
                        <a:pt x="1253330" y="1021246"/>
                        <a:pt x="1253330" y="1021961"/>
                      </a:cubicBezTo>
                      <a:cubicBezTo>
                        <a:pt x="1254044" y="1023390"/>
                        <a:pt x="1254759" y="1024819"/>
                        <a:pt x="1255473" y="1026963"/>
                      </a:cubicBezTo>
                      <a:cubicBezTo>
                        <a:pt x="1255473" y="1026963"/>
                        <a:pt x="1256188" y="1027678"/>
                        <a:pt x="1256188" y="1028393"/>
                      </a:cubicBezTo>
                      <a:cubicBezTo>
                        <a:pt x="1256902" y="1030537"/>
                        <a:pt x="1257617" y="1032681"/>
                        <a:pt x="1257617" y="1034110"/>
                      </a:cubicBezTo>
                      <a:cubicBezTo>
                        <a:pt x="1257617" y="1034110"/>
                        <a:pt x="1257617" y="1034110"/>
                        <a:pt x="1257617" y="1034825"/>
                      </a:cubicBezTo>
                      <a:cubicBezTo>
                        <a:pt x="1257617" y="1034825"/>
                        <a:pt x="1257617" y="1034825"/>
                        <a:pt x="1258332" y="1035539"/>
                      </a:cubicBezTo>
                      <a:cubicBezTo>
                        <a:pt x="1258332" y="1035539"/>
                        <a:pt x="1258332" y="1035539"/>
                        <a:pt x="1258332" y="1036254"/>
                      </a:cubicBezTo>
                      <a:cubicBezTo>
                        <a:pt x="1258332" y="1037683"/>
                        <a:pt x="1259046" y="1039827"/>
                        <a:pt x="1259046" y="1041257"/>
                      </a:cubicBezTo>
                      <a:cubicBezTo>
                        <a:pt x="1259761" y="1042686"/>
                        <a:pt x="1259761" y="1043401"/>
                        <a:pt x="1259761" y="1044115"/>
                      </a:cubicBezTo>
                      <a:cubicBezTo>
                        <a:pt x="1259761" y="1045544"/>
                        <a:pt x="1259761" y="1047688"/>
                        <a:pt x="1260475" y="1049118"/>
                      </a:cubicBezTo>
                      <a:cubicBezTo>
                        <a:pt x="1260475" y="1049118"/>
                        <a:pt x="1260475" y="1049118"/>
                        <a:pt x="1260475" y="1049832"/>
                      </a:cubicBezTo>
                      <a:cubicBezTo>
                        <a:pt x="1260475" y="1051262"/>
                        <a:pt x="1260475" y="1052691"/>
                        <a:pt x="1260475" y="1054120"/>
                      </a:cubicBezTo>
                      <a:cubicBezTo>
                        <a:pt x="1260475" y="1055550"/>
                        <a:pt x="1260475" y="1056979"/>
                        <a:pt x="1260475" y="1058408"/>
                      </a:cubicBezTo>
                      <a:cubicBezTo>
                        <a:pt x="1259761" y="1060552"/>
                        <a:pt x="1259761" y="1062696"/>
                        <a:pt x="1259761" y="1064126"/>
                      </a:cubicBezTo>
                      <a:cubicBezTo>
                        <a:pt x="1259761" y="1064126"/>
                        <a:pt x="1259761" y="1064126"/>
                        <a:pt x="1259761" y="1064840"/>
                      </a:cubicBezTo>
                      <a:cubicBezTo>
                        <a:pt x="1259761" y="1064840"/>
                        <a:pt x="1259761" y="1064840"/>
                        <a:pt x="1259046" y="1065555"/>
                      </a:cubicBezTo>
                      <a:cubicBezTo>
                        <a:pt x="1259046" y="1065555"/>
                        <a:pt x="1259046" y="1065555"/>
                        <a:pt x="1259046" y="1066270"/>
                      </a:cubicBezTo>
                      <a:cubicBezTo>
                        <a:pt x="1259046" y="1068414"/>
                        <a:pt x="1258332" y="1069843"/>
                        <a:pt x="1258332" y="1071987"/>
                      </a:cubicBezTo>
                      <a:cubicBezTo>
                        <a:pt x="1258332" y="1071987"/>
                        <a:pt x="1258332" y="1071987"/>
                        <a:pt x="1257617" y="1073416"/>
                      </a:cubicBezTo>
                      <a:cubicBezTo>
                        <a:pt x="1257617" y="1075560"/>
                        <a:pt x="1256902" y="1077704"/>
                        <a:pt x="1256188" y="1079133"/>
                      </a:cubicBezTo>
                      <a:cubicBezTo>
                        <a:pt x="1256188" y="1079133"/>
                        <a:pt x="1256188" y="1079133"/>
                        <a:pt x="1256188" y="1079848"/>
                      </a:cubicBezTo>
                      <a:cubicBezTo>
                        <a:pt x="1256188" y="1079848"/>
                        <a:pt x="1256188" y="1079848"/>
                        <a:pt x="1255473" y="1080563"/>
                      </a:cubicBezTo>
                      <a:cubicBezTo>
                        <a:pt x="1255473" y="1080563"/>
                        <a:pt x="1255473" y="1080563"/>
                        <a:pt x="1255473" y="1081277"/>
                      </a:cubicBezTo>
                      <a:cubicBezTo>
                        <a:pt x="1254759" y="1082707"/>
                        <a:pt x="1254044" y="1084851"/>
                        <a:pt x="1253330" y="1086280"/>
                      </a:cubicBezTo>
                      <a:cubicBezTo>
                        <a:pt x="1253330" y="1086280"/>
                        <a:pt x="1253330" y="1086280"/>
                        <a:pt x="1253330" y="1086995"/>
                      </a:cubicBezTo>
                      <a:cubicBezTo>
                        <a:pt x="1253330" y="1086995"/>
                        <a:pt x="1253330" y="1086995"/>
                        <a:pt x="1252615" y="1086995"/>
                      </a:cubicBezTo>
                      <a:cubicBezTo>
                        <a:pt x="1252615" y="1086995"/>
                        <a:pt x="1252615" y="1086995"/>
                        <a:pt x="1252615" y="1087709"/>
                      </a:cubicBezTo>
                      <a:cubicBezTo>
                        <a:pt x="1252615" y="1087709"/>
                        <a:pt x="1252615" y="1087709"/>
                        <a:pt x="1252615" y="1088424"/>
                      </a:cubicBezTo>
                      <a:cubicBezTo>
                        <a:pt x="1251901" y="1089853"/>
                        <a:pt x="1250471" y="1091997"/>
                        <a:pt x="1249757" y="1093427"/>
                      </a:cubicBezTo>
                      <a:cubicBezTo>
                        <a:pt x="1249757" y="1093427"/>
                        <a:pt x="1249757" y="1093427"/>
                        <a:pt x="1249042" y="1094856"/>
                      </a:cubicBezTo>
                      <a:cubicBezTo>
                        <a:pt x="1247613" y="1096285"/>
                        <a:pt x="1246899" y="1097715"/>
                        <a:pt x="1246184" y="1099144"/>
                      </a:cubicBezTo>
                      <a:cubicBezTo>
                        <a:pt x="1246184" y="1099144"/>
                        <a:pt x="1246184" y="1099144"/>
                        <a:pt x="1245470" y="1099144"/>
                      </a:cubicBezTo>
                      <a:cubicBezTo>
                        <a:pt x="1245470" y="1099144"/>
                        <a:pt x="1245470" y="1099144"/>
                        <a:pt x="1245470" y="1099858"/>
                      </a:cubicBezTo>
                      <a:cubicBezTo>
                        <a:pt x="1245470" y="1099858"/>
                        <a:pt x="1245470" y="1099858"/>
                        <a:pt x="1244755" y="1100573"/>
                      </a:cubicBezTo>
                      <a:cubicBezTo>
                        <a:pt x="1244755" y="1100573"/>
                        <a:pt x="1244755" y="1100573"/>
                        <a:pt x="1244040" y="1101288"/>
                      </a:cubicBezTo>
                      <a:cubicBezTo>
                        <a:pt x="1244040" y="1101288"/>
                        <a:pt x="1244040" y="1101288"/>
                        <a:pt x="1243326" y="1102717"/>
                      </a:cubicBezTo>
                      <a:cubicBezTo>
                        <a:pt x="1243326" y="1102717"/>
                        <a:pt x="1243326" y="1102717"/>
                        <a:pt x="1241897" y="1104146"/>
                      </a:cubicBezTo>
                      <a:cubicBezTo>
                        <a:pt x="1241897" y="1104146"/>
                        <a:pt x="1241897" y="1104146"/>
                        <a:pt x="1240468" y="1106290"/>
                      </a:cubicBezTo>
                      <a:cubicBezTo>
                        <a:pt x="1240468" y="1106290"/>
                        <a:pt x="1240468" y="1106290"/>
                        <a:pt x="1239753" y="1106290"/>
                      </a:cubicBezTo>
                      <a:cubicBezTo>
                        <a:pt x="1239753" y="1106290"/>
                        <a:pt x="1239753" y="1106290"/>
                        <a:pt x="1239753" y="1107005"/>
                      </a:cubicBezTo>
                      <a:cubicBezTo>
                        <a:pt x="1239753" y="1107005"/>
                        <a:pt x="1239753" y="1107005"/>
                        <a:pt x="1174014" y="1179186"/>
                      </a:cubicBezTo>
                      <a:cubicBezTo>
                        <a:pt x="1159008" y="1195623"/>
                        <a:pt x="1137572" y="1204913"/>
                        <a:pt x="1115421" y="1204913"/>
                      </a:cubicBezTo>
                      <a:cubicBezTo>
                        <a:pt x="1096128" y="1204913"/>
                        <a:pt x="1077549" y="1197767"/>
                        <a:pt x="1062543" y="1184903"/>
                      </a:cubicBezTo>
                      <a:cubicBezTo>
                        <a:pt x="1047538" y="1170610"/>
                        <a:pt x="1038963" y="1152029"/>
                        <a:pt x="1037534" y="1132733"/>
                      </a:cubicBezTo>
                      <a:cubicBezTo>
                        <a:pt x="1037534" y="1132733"/>
                        <a:pt x="1037534" y="1132733"/>
                        <a:pt x="78601" y="1132733"/>
                      </a:cubicBezTo>
                      <a:cubicBezTo>
                        <a:pt x="35728" y="1132733"/>
                        <a:pt x="0" y="1097000"/>
                        <a:pt x="0" y="1054120"/>
                      </a:cubicBezTo>
                      <a:cubicBezTo>
                        <a:pt x="0" y="1010526"/>
                        <a:pt x="35728" y="975508"/>
                        <a:pt x="78601" y="975508"/>
                      </a:cubicBezTo>
                      <a:cubicBezTo>
                        <a:pt x="78601" y="975508"/>
                        <a:pt x="78601" y="975508"/>
                        <a:pt x="253667" y="975508"/>
                      </a:cubicBezTo>
                      <a:cubicBezTo>
                        <a:pt x="235089" y="955498"/>
                        <a:pt x="217225" y="934058"/>
                        <a:pt x="201505" y="911903"/>
                      </a:cubicBezTo>
                      <a:cubicBezTo>
                        <a:pt x="142197" y="826859"/>
                        <a:pt x="110756" y="726092"/>
                        <a:pt x="110756" y="621038"/>
                      </a:cubicBezTo>
                      <a:cubicBezTo>
                        <a:pt x="110756" y="578158"/>
                        <a:pt x="116473" y="535993"/>
                        <a:pt x="126476" y="494543"/>
                      </a:cubicBezTo>
                      <a:cubicBezTo>
                        <a:pt x="92892" y="475248"/>
                        <a:pt x="64310" y="447376"/>
                        <a:pt x="42159" y="413787"/>
                      </a:cubicBezTo>
                      <a:cubicBezTo>
                        <a:pt x="15006" y="373051"/>
                        <a:pt x="715" y="325169"/>
                        <a:pt x="715" y="275858"/>
                      </a:cubicBezTo>
                      <a:cubicBezTo>
                        <a:pt x="715" y="135785"/>
                        <a:pt x="115044" y="21440"/>
                        <a:pt x="255096" y="21440"/>
                      </a:cubicBezTo>
                      <a:cubicBezTo>
                        <a:pt x="281535" y="21440"/>
                        <a:pt x="307259" y="25013"/>
                        <a:pt x="332268" y="32874"/>
                      </a:cubicBezTo>
                      <a:cubicBezTo>
                        <a:pt x="333697" y="30730"/>
                        <a:pt x="335127" y="29301"/>
                        <a:pt x="337270" y="27157"/>
                      </a:cubicBezTo>
                      <a:cubicBezTo>
                        <a:pt x="350847" y="11435"/>
                        <a:pt x="370140" y="1429"/>
                        <a:pt x="39086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endParaRPr lang="en-US" sz="1350">
                    <a:solidFill>
                      <a:srgbClr val="6F7375"/>
                    </a:solidFill>
                    <a:latin typeface="Montserrat" panose="00000500000000000000" pitchFamily="2" charset="0"/>
                  </a:endParaRPr>
                </a:p>
              </p:txBody>
            </p:sp>
          </p:grpSp>
        </p:grpSp>
        <p:sp>
          <p:nvSpPr>
            <p:cNvPr id="29" name="Secure enterprise digital space in the quantum era">
              <a:extLst>
                <a:ext uri="{FF2B5EF4-FFF2-40B4-BE49-F238E27FC236}">
                  <a16:creationId xmlns:a16="http://schemas.microsoft.com/office/drawing/2014/main" id="{5BF2D368-B16A-2F19-3DFC-46DB0FC84F20}"/>
                </a:ext>
              </a:extLst>
            </p:cNvPr>
            <p:cNvSpPr/>
            <p:nvPr/>
          </p:nvSpPr>
          <p:spPr>
            <a:xfrm>
              <a:off x="8877923" y="5982372"/>
              <a:ext cx="1644669" cy="535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lnSpc>
                  <a:spcPct val="100000"/>
                </a:lnSpc>
                <a:spcAft>
                  <a:spcPts val="1500"/>
                </a:spcAft>
                <a:buNone/>
              </a:pPr>
              <a:r>
                <a:rPr lang="en-US" sz="1600">
                  <a:solidFill>
                    <a:schemeClr val="bg1"/>
                  </a:solidFill>
                  <a:latin typeface="Montserrat" panose="00000500000000000000" pitchFamily="2" charset="0"/>
                  <a:ea typeface="Montserrat Medium Italic" pitchFamily="34" charset="-122"/>
                  <a:cs typeface="Montserrat Medium Italic" pitchFamily="34" charset="-120"/>
                </a:rPr>
                <a:t>Modular &amp; scalable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24C0F80-48F0-739D-EC5E-CA2BC4B4E56D}"/>
              </a:ext>
            </a:extLst>
          </p:cNvPr>
          <p:cNvGrpSpPr/>
          <p:nvPr/>
        </p:nvGrpSpPr>
        <p:grpSpPr>
          <a:xfrm>
            <a:off x="6627482" y="5350212"/>
            <a:ext cx="1644669" cy="1167658"/>
            <a:chOff x="6870116" y="5350212"/>
            <a:chExt cx="1644669" cy="1167658"/>
          </a:xfrm>
        </p:grpSpPr>
        <p:sp>
          <p:nvSpPr>
            <p:cNvPr id="27" name="Secure enterprise digital space in the quantum era">
              <a:extLst>
                <a:ext uri="{FF2B5EF4-FFF2-40B4-BE49-F238E27FC236}">
                  <a16:creationId xmlns:a16="http://schemas.microsoft.com/office/drawing/2014/main" id="{965785FC-97D7-054F-8118-3ECDFD7DEF3E}"/>
                </a:ext>
              </a:extLst>
            </p:cNvPr>
            <p:cNvSpPr/>
            <p:nvPr/>
          </p:nvSpPr>
          <p:spPr>
            <a:xfrm>
              <a:off x="6870116" y="5982372"/>
              <a:ext cx="1644669" cy="53549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/>
            <a:lstStyle/>
            <a:p>
              <a:pPr marL="0" indent="0" algn="ctr">
                <a:lnSpc>
                  <a:spcPct val="100000"/>
                </a:lnSpc>
                <a:spcAft>
                  <a:spcPts val="1500"/>
                </a:spcAft>
                <a:buNone/>
              </a:pPr>
              <a:r>
                <a:rPr lang="en-US" sz="1600">
                  <a:solidFill>
                    <a:schemeClr val="bg1"/>
                  </a:solidFill>
                  <a:latin typeface="Montserrat" panose="00000500000000000000" pitchFamily="2" charset="0"/>
                  <a:ea typeface="Montserrat Medium Italic" pitchFamily="34" charset="-122"/>
                  <a:cs typeface="Montserrat Medium Italic" pitchFamily="34" charset="-120"/>
                </a:rPr>
                <a:t>No accuracy loss</a:t>
              </a:r>
            </a:p>
          </p:txBody>
        </p:sp>
        <p:pic>
          <p:nvPicPr>
            <p:cNvPr id="31" name="Graphic 30" descr="Upward trend with solid fill">
              <a:extLst>
                <a:ext uri="{FF2B5EF4-FFF2-40B4-BE49-F238E27FC236}">
                  <a16:creationId xmlns:a16="http://schemas.microsoft.com/office/drawing/2014/main" id="{D6B8E24A-9667-7A40-5100-F525B4A0C0E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365393" y="5350212"/>
              <a:ext cx="654114" cy="6541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5383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C9F8A-5086-EA8D-1D65-1B41811192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804C899F-B050-C1EC-7C1F-7FC97323FB69}"/>
              </a:ext>
            </a:extLst>
          </p:cNvPr>
          <p:cNvSpPr/>
          <p:nvPr/>
        </p:nvSpPr>
        <p:spPr>
          <a:xfrm>
            <a:off x="495900" y="248500"/>
            <a:ext cx="9562499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Differential Privacy -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Problems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C3C530AE-E42F-F4D4-6213-899323214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552" y="493415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45200C61-ED4B-F6BA-B96B-3F065D242B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C008D56A-BA9A-B9A9-5BBE-870FA73316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6724" y="4903626"/>
            <a:ext cx="465050" cy="4658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43B8AEFA-BBE6-2192-3F1D-EDECA85BEB61}"/>
              </a:ext>
            </a:extLst>
          </p:cNvPr>
          <p:cNvSpPr txBox="1"/>
          <p:nvPr/>
        </p:nvSpPr>
        <p:spPr>
          <a:xfrm>
            <a:off x="5667066" y="6259560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C9DDF5-8BB6-742C-F5B8-5F6127CAEA40}"/>
              </a:ext>
            </a:extLst>
          </p:cNvPr>
          <p:cNvSpPr/>
          <p:nvPr/>
        </p:nvSpPr>
        <p:spPr>
          <a:xfrm>
            <a:off x="5436631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1359F4B2-7170-2865-9D5E-DB134B8051A8}"/>
              </a:ext>
            </a:extLst>
          </p:cNvPr>
          <p:cNvSpPr/>
          <p:nvPr/>
        </p:nvSpPr>
        <p:spPr>
          <a:xfrm>
            <a:off x="6081947" y="502050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26C98BDC-DBD3-BA1E-FC0F-0018E24C2457}"/>
              </a:ext>
            </a:extLst>
          </p:cNvPr>
          <p:cNvCxnSpPr>
            <a:cxnSpLocks/>
          </p:cNvCxnSpPr>
          <p:nvPr/>
        </p:nvCxnSpPr>
        <p:spPr>
          <a:xfrm flipV="1">
            <a:off x="3672989" y="2749479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6">
            <a:extLst>
              <a:ext uri="{FF2B5EF4-FFF2-40B4-BE49-F238E27FC236}">
                <a16:creationId xmlns:a16="http://schemas.microsoft.com/office/drawing/2014/main" id="{70741959-DDE3-36C9-B89D-E647FBAC1F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105" y="4908227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2869B60B-C187-391E-29AB-FA733ED58A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9018CC0A-3E29-1909-26E2-6DFB346B85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9277" y="4877695"/>
            <a:ext cx="465050" cy="465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8FEEDBF0-1849-746D-3742-0A8A86AB1A9F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CA0681B-615E-938E-ECDF-93E861DFCAAF}"/>
              </a:ext>
            </a:extLst>
          </p:cNvPr>
          <p:cNvSpPr/>
          <p:nvPr/>
        </p:nvSpPr>
        <p:spPr>
          <a:xfrm>
            <a:off x="3239184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911C88BF-3B33-72E2-B37C-84BD1F4B172C}"/>
              </a:ext>
            </a:extLst>
          </p:cNvPr>
          <p:cNvSpPr/>
          <p:nvPr/>
        </p:nvSpPr>
        <p:spPr>
          <a:xfrm>
            <a:off x="3884500" y="499457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6" name="Picture 16">
            <a:extLst>
              <a:ext uri="{FF2B5EF4-FFF2-40B4-BE49-F238E27FC236}">
                <a16:creationId xmlns:a16="http://schemas.microsoft.com/office/drawing/2014/main" id="{4891D7A8-E197-87AC-51F6-50645E6013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658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6E49FCD5-8052-2C00-6800-EA4D93574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5300C95A-19D8-93F5-8F0D-5F03255DB6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30" y="4851764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214C72B2-9FC6-207C-5C2A-2F8697272AE0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7001860-2967-8494-CC5B-3CA9FC5AF0C9}"/>
              </a:ext>
            </a:extLst>
          </p:cNvPr>
          <p:cNvSpPr/>
          <p:nvPr/>
        </p:nvSpPr>
        <p:spPr>
          <a:xfrm>
            <a:off x="1041737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285760F9-F65C-15EA-9525-DC91C0F90C1B}"/>
              </a:ext>
            </a:extLst>
          </p:cNvPr>
          <p:cNvSpPr/>
          <p:nvPr/>
        </p:nvSpPr>
        <p:spPr>
          <a:xfrm>
            <a:off x="1687053" y="4968643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4629F4A-A003-A108-D7F3-93E2E6EC39C2}"/>
              </a:ext>
            </a:extLst>
          </p:cNvPr>
          <p:cNvSpPr txBox="1"/>
          <p:nvPr/>
        </p:nvSpPr>
        <p:spPr>
          <a:xfrm>
            <a:off x="3227587" y="2508675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6A307BC4-BCBF-B87F-94AC-D6CE0CC1AB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1986" y="1696453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FAE31BA4-10CE-ECBE-3635-34A7F5855719}"/>
              </a:ext>
            </a:extLst>
          </p:cNvPr>
          <p:cNvCxnSpPr>
            <a:cxnSpLocks/>
          </p:cNvCxnSpPr>
          <p:nvPr/>
        </p:nvCxnSpPr>
        <p:spPr>
          <a:xfrm flipH="1" flipV="1">
            <a:off x="3834195" y="2775410"/>
            <a:ext cx="1903772" cy="141484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544D658D-2C62-1913-97E7-D8336B763142}"/>
              </a:ext>
            </a:extLst>
          </p:cNvPr>
          <p:cNvSpPr txBox="1"/>
          <p:nvPr/>
        </p:nvSpPr>
        <p:spPr>
          <a:xfrm>
            <a:off x="2001461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12D0AF0-E4CD-BC80-54A8-896714CA23FE}"/>
              </a:ext>
            </a:extLst>
          </p:cNvPr>
          <p:cNvSpPr txBox="1"/>
          <p:nvPr/>
        </p:nvSpPr>
        <p:spPr>
          <a:xfrm>
            <a:off x="4243503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2F6FA0B-56ED-D65D-7FA5-FBA30985E8CD}"/>
              </a:ext>
            </a:extLst>
          </p:cNvPr>
          <p:cNvSpPr txBox="1"/>
          <p:nvPr/>
        </p:nvSpPr>
        <p:spPr>
          <a:xfrm>
            <a:off x="6426724" y="5317605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45ADE24B-A8EC-1333-E8D1-67987119EB92}"/>
              </a:ext>
            </a:extLst>
          </p:cNvPr>
          <p:cNvSpPr/>
          <p:nvPr/>
        </p:nvSpPr>
        <p:spPr>
          <a:xfrm rot="5400000">
            <a:off x="5635313" y="44920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C3BB5BBF-008A-E082-174B-3C3F43B028EA}"/>
              </a:ext>
            </a:extLst>
          </p:cNvPr>
          <p:cNvCxnSpPr>
            <a:cxnSpLocks/>
          </p:cNvCxnSpPr>
          <p:nvPr/>
        </p:nvCxnSpPr>
        <p:spPr>
          <a:xfrm flipV="1">
            <a:off x="1623992" y="2775410"/>
            <a:ext cx="1925676" cy="133176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89FCA293-E39E-D7CB-9D10-AE3DE56C1628}"/>
              </a:ext>
            </a:extLst>
          </p:cNvPr>
          <p:cNvSpPr/>
          <p:nvPr/>
        </p:nvSpPr>
        <p:spPr>
          <a:xfrm rot="5400000">
            <a:off x="3537070" y="446661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B51FD744-ABCE-F57D-4BB6-F1D46E6D0836}"/>
              </a:ext>
            </a:extLst>
          </p:cNvPr>
          <p:cNvSpPr/>
          <p:nvPr/>
        </p:nvSpPr>
        <p:spPr>
          <a:xfrm rot="5400000">
            <a:off x="1331036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30" name="Picture 16">
            <a:extLst>
              <a:ext uri="{FF2B5EF4-FFF2-40B4-BE49-F238E27FC236}">
                <a16:creationId xmlns:a16="http://schemas.microsoft.com/office/drawing/2014/main" id="{4CD183AE-86EE-326C-EB53-5ED6F79C9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259" y="1176814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31" name="Picture 16">
            <a:extLst>
              <a:ext uri="{FF2B5EF4-FFF2-40B4-BE49-F238E27FC236}">
                <a16:creationId xmlns:a16="http://schemas.microsoft.com/office/drawing/2014/main" id="{0E3C51D7-67F1-63F4-066F-AA4B7AB8E2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660" y="1186655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34" name="Picture 16">
            <a:extLst>
              <a:ext uri="{FF2B5EF4-FFF2-40B4-BE49-F238E27FC236}">
                <a16:creationId xmlns:a16="http://schemas.microsoft.com/office/drawing/2014/main" id="{B9EE020A-3AF7-E2C6-5034-A585F9C60E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621" y="1184189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0FE2EF2-E77A-EA26-2E37-46F2034FCA75}"/>
              </a:ext>
            </a:extLst>
          </p:cNvPr>
          <p:cNvSpPr txBox="1"/>
          <p:nvPr/>
        </p:nvSpPr>
        <p:spPr>
          <a:xfrm>
            <a:off x="2738685" y="1146304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AAE2F3B-C551-8A83-AF2E-CC61398CE3FC}"/>
              </a:ext>
            </a:extLst>
          </p:cNvPr>
          <p:cNvSpPr txBox="1"/>
          <p:nvPr/>
        </p:nvSpPr>
        <p:spPr>
          <a:xfrm>
            <a:off x="3725162" y="1173233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E399102-BAB8-3BFF-2B07-5F4D2069EA32}"/>
              </a:ext>
            </a:extLst>
          </p:cNvPr>
          <p:cNvSpPr txBox="1"/>
          <p:nvPr/>
        </p:nvSpPr>
        <p:spPr>
          <a:xfrm>
            <a:off x="4745535" y="1133930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=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8" name="Picture 20">
            <a:extLst>
              <a:ext uri="{FF2B5EF4-FFF2-40B4-BE49-F238E27FC236}">
                <a16:creationId xmlns:a16="http://schemas.microsoft.com/office/drawing/2014/main" id="{048A475B-F7B0-566F-CB75-8FA5E362E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936" y="1099118"/>
            <a:ext cx="544291" cy="489330"/>
          </a:xfrm>
          <a:prstGeom prst="rect">
            <a:avLst/>
          </a:prstGeom>
          <a:noFill/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674E2227-19B4-8603-05FA-460DA53D5A61}"/>
              </a:ext>
            </a:extLst>
          </p:cNvPr>
          <p:cNvSpPr/>
          <p:nvPr/>
        </p:nvSpPr>
        <p:spPr>
          <a:xfrm>
            <a:off x="2050398" y="953115"/>
            <a:ext cx="4031549" cy="8170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9" name="Picture 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5BF23082-567F-DBDD-4751-FD03F30699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834" y="946190"/>
            <a:ext cx="524604" cy="524604"/>
          </a:xfrm>
          <a:prstGeom prst="rect">
            <a:avLst/>
          </a:prstGeom>
        </p:spPr>
      </p:pic>
      <p:pic>
        <p:nvPicPr>
          <p:cNvPr id="52" name="Picture 5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E4D877BA-592F-5BFF-FB50-8D6ED27D4D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896" y="938306"/>
            <a:ext cx="524604" cy="524604"/>
          </a:xfrm>
          <a:prstGeom prst="rect">
            <a:avLst/>
          </a:prstGeom>
        </p:spPr>
      </p:pic>
      <p:pic>
        <p:nvPicPr>
          <p:cNvPr id="53" name="Picture 5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821A6C3-6112-17E3-99F7-16DF224B0F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958" y="930422"/>
            <a:ext cx="524604" cy="524604"/>
          </a:xfrm>
          <a:prstGeom prst="rect">
            <a:avLst/>
          </a:prstGeom>
        </p:spPr>
      </p:pic>
      <p:sp>
        <p:nvSpPr>
          <p:cNvPr id="3" name="TextBox 103">
            <a:extLst>
              <a:ext uri="{FF2B5EF4-FFF2-40B4-BE49-F238E27FC236}">
                <a16:creationId xmlns:a16="http://schemas.microsoft.com/office/drawing/2014/main" id="{919D6466-4906-F271-B3F5-39C900E8D58F}"/>
              </a:ext>
            </a:extLst>
          </p:cNvPr>
          <p:cNvSpPr txBox="1"/>
          <p:nvPr/>
        </p:nvSpPr>
        <p:spPr>
          <a:xfrm>
            <a:off x="8283844" y="1848667"/>
            <a:ext cx="3549109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The added noise seriously deteriorates the accuracy of the aggregated model</a:t>
            </a:r>
            <a:endParaRPr lang="en-US"/>
          </a:p>
        </p:txBody>
      </p:sp>
      <p:pic>
        <p:nvPicPr>
          <p:cNvPr id="4" name="Picture 3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0F63659C-DCF7-56F4-D577-43C6C89916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734" y="1932244"/>
            <a:ext cx="378984" cy="375594"/>
          </a:xfrm>
          <a:prstGeom prst="rect">
            <a:avLst/>
          </a:prstGeom>
        </p:spPr>
      </p:pic>
      <p:sp>
        <p:nvSpPr>
          <p:cNvPr id="5" name="TextBox 103">
            <a:extLst>
              <a:ext uri="{FF2B5EF4-FFF2-40B4-BE49-F238E27FC236}">
                <a16:creationId xmlns:a16="http://schemas.microsoft.com/office/drawing/2014/main" id="{4BF041A3-2C93-ED06-79B8-8E9487C350D3}"/>
              </a:ext>
            </a:extLst>
          </p:cNvPr>
          <p:cNvSpPr txBox="1"/>
          <p:nvPr/>
        </p:nvSpPr>
        <p:spPr>
          <a:xfrm>
            <a:off x="8254127" y="3629777"/>
            <a:ext cx="375427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Applying DP noise directly in the aggregated model is a good practice, but this does not protect the locally trained models </a:t>
            </a:r>
            <a:endParaRPr lang="en-US"/>
          </a:p>
        </p:txBody>
      </p:sp>
      <p:pic>
        <p:nvPicPr>
          <p:cNvPr id="6" name="Picture 5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7E20695B-3349-7645-9813-E226941D6C9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017" y="3713354"/>
            <a:ext cx="378984" cy="375594"/>
          </a:xfrm>
          <a:prstGeom prst="rect">
            <a:avLst/>
          </a:prstGeom>
        </p:spPr>
      </p:pic>
      <p:pic>
        <p:nvPicPr>
          <p:cNvPr id="7" name="Picture 20">
            <a:extLst>
              <a:ext uri="{FF2B5EF4-FFF2-40B4-BE49-F238E27FC236}">
                <a16:creationId xmlns:a16="http://schemas.microsoft.com/office/drawing/2014/main" id="{64C1EEAD-50DC-8217-A631-C04340EB85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984" y="4612181"/>
            <a:ext cx="544291" cy="489330"/>
          </a:xfrm>
          <a:prstGeom prst="rect">
            <a:avLst/>
          </a:prstGeom>
          <a:noFill/>
        </p:spPr>
      </p:pic>
      <p:pic>
        <p:nvPicPr>
          <p:cNvPr id="8" name="Picture 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6074E8F-1D4C-896D-ABF6-2839C7F543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9168" y="4437086"/>
            <a:ext cx="557488" cy="55748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E45A9C1-46A4-2965-2D8B-7657E53CC902}"/>
              </a:ext>
            </a:extLst>
          </p:cNvPr>
          <p:cNvSpPr txBox="1"/>
          <p:nvPr/>
        </p:nvSpPr>
        <p:spPr>
          <a:xfrm>
            <a:off x="8691145" y="2685094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29231F-1C16-A6DC-8446-3A26900AAFCC}"/>
              </a:ext>
            </a:extLst>
          </p:cNvPr>
          <p:cNvSpPr txBox="1"/>
          <p:nvPr/>
        </p:nvSpPr>
        <p:spPr>
          <a:xfrm>
            <a:off x="9409079" y="2694986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A3149C-1011-EC71-10A3-66AB3BC40615}"/>
              </a:ext>
            </a:extLst>
          </p:cNvPr>
          <p:cNvSpPr txBox="1"/>
          <p:nvPr/>
        </p:nvSpPr>
        <p:spPr>
          <a:xfrm>
            <a:off x="10086929" y="2694986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=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22" name="Picture 2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9C8BF08-01DF-531A-8B0C-6068892025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802" y="2776345"/>
            <a:ext cx="360503" cy="360503"/>
          </a:xfrm>
          <a:prstGeom prst="rect">
            <a:avLst/>
          </a:prstGeom>
        </p:spPr>
      </p:pic>
      <p:pic>
        <p:nvPicPr>
          <p:cNvPr id="25" name="Picture 2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90F2312-7B81-4BCC-3732-7153B2B16D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6740" y="2464406"/>
            <a:ext cx="964594" cy="964594"/>
          </a:xfrm>
          <a:prstGeom prst="rect">
            <a:avLst/>
          </a:prstGeom>
        </p:spPr>
      </p:pic>
      <p:pic>
        <p:nvPicPr>
          <p:cNvPr id="26" name="Picture 25" descr="A green circle with a white tick in it&#10;&#10;AI-generated content may be incorrect.">
            <a:extLst>
              <a:ext uri="{FF2B5EF4-FFF2-40B4-BE49-F238E27FC236}">
                <a16:creationId xmlns:a16="http://schemas.microsoft.com/office/drawing/2014/main" id="{DCA5973E-2E3B-4A6D-3DFA-33DEF320770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819" y="3732905"/>
            <a:ext cx="404885" cy="376664"/>
          </a:xfrm>
          <a:prstGeom prst="rect">
            <a:avLst/>
          </a:prstGeom>
        </p:spPr>
      </p:pic>
      <p:pic>
        <p:nvPicPr>
          <p:cNvPr id="35" name="Picture 3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8FAA291-567A-56D9-6901-DC6DFE3CD8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8576" y="2770534"/>
            <a:ext cx="360503" cy="360503"/>
          </a:xfrm>
          <a:prstGeom prst="rect">
            <a:avLst/>
          </a:prstGeom>
        </p:spPr>
      </p:pic>
      <p:pic>
        <p:nvPicPr>
          <p:cNvPr id="36" name="Picture 3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2BBDB81-015D-64B0-ECD8-2A64259D39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563" y="2766452"/>
            <a:ext cx="360503" cy="360503"/>
          </a:xfrm>
          <a:prstGeom prst="rect">
            <a:avLst/>
          </a:prstGeom>
        </p:spPr>
      </p:pic>
      <p:pic>
        <p:nvPicPr>
          <p:cNvPr id="39" name="Picture 3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306BF7E-4008-2233-2344-16EF782FCD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558" y="953115"/>
            <a:ext cx="524604" cy="524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719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1000" fill="hold"/>
                                        <p:tgtEl>
                                          <p:spTgt spid="3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15" grpId="0"/>
      <p:bldP spid="16" grpId="0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556EB-F79C-3AE4-0A45-E7FC57D47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22B3E-97A2-8098-CCC8-89D35FA15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/>
              <a:t>PetalGuard, applying MP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16746-12D7-E9E7-8E51-F2CA79A7D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1519245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F4FE2-3DEF-F809-AF34-973F992C95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57E6D3F6-801D-4249-165A-1CEE7151175B}"/>
              </a:ext>
            </a:extLst>
          </p:cNvPr>
          <p:cNvSpPr/>
          <p:nvPr/>
        </p:nvSpPr>
        <p:spPr>
          <a:xfrm>
            <a:off x="495900" y="248500"/>
            <a:ext cx="5600099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MPC (I)</a:t>
            </a:r>
            <a:endParaRPr kumimoji="0" lang="en-US" sz="2400" b="1" i="0" u="none" strike="noStrike" kern="1200" cap="none" spc="0" normalizeH="0" noProof="0" dirty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D0447E2-C43E-A088-2AF6-3765B2D2EA7E}"/>
              </a:ext>
            </a:extLst>
          </p:cNvPr>
          <p:cNvCxnSpPr>
            <a:cxnSpLocks/>
          </p:cNvCxnSpPr>
          <p:nvPr/>
        </p:nvCxnSpPr>
        <p:spPr>
          <a:xfrm flipV="1">
            <a:off x="5870436" y="2775410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16">
            <a:extLst>
              <a:ext uri="{FF2B5EF4-FFF2-40B4-BE49-F238E27FC236}">
                <a16:creationId xmlns:a16="http://schemas.microsoft.com/office/drawing/2014/main" id="{638D425D-2CF6-2C62-8114-3DA6EFA61D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552" y="493415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41753880-06F2-6F55-8AB3-80B43C0DB3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F828D11F-475D-9214-8768-66869E44B9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6724" y="4903626"/>
            <a:ext cx="465050" cy="4658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413079A1-BDF7-0CFF-89A5-326CF8311AEB}"/>
              </a:ext>
            </a:extLst>
          </p:cNvPr>
          <p:cNvSpPr txBox="1"/>
          <p:nvPr/>
        </p:nvSpPr>
        <p:spPr>
          <a:xfrm>
            <a:off x="5667066" y="6259560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D58924-BA47-0133-6A77-6ADA15FFF7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7465" y="1470411"/>
            <a:ext cx="805942" cy="91228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FE2AAB7-C110-23AA-58A0-AE6AC97A6565}"/>
              </a:ext>
            </a:extLst>
          </p:cNvPr>
          <p:cNvSpPr/>
          <p:nvPr/>
        </p:nvSpPr>
        <p:spPr>
          <a:xfrm>
            <a:off x="5436631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B049EA37-82E6-5C81-BA15-28372DB86FDE}"/>
              </a:ext>
            </a:extLst>
          </p:cNvPr>
          <p:cNvSpPr/>
          <p:nvPr/>
        </p:nvSpPr>
        <p:spPr>
          <a:xfrm>
            <a:off x="6081947" y="502050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247C60B2-932E-7EAF-7CEF-EDE61CA5AF32}"/>
              </a:ext>
            </a:extLst>
          </p:cNvPr>
          <p:cNvSpPr/>
          <p:nvPr/>
        </p:nvSpPr>
        <p:spPr>
          <a:xfrm>
            <a:off x="7386526" y="4811599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ining Ph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EBCBFA8-E494-5607-BB88-0209C47F42EC}"/>
              </a:ext>
            </a:extLst>
          </p:cNvPr>
          <p:cNvCxnSpPr>
            <a:cxnSpLocks/>
          </p:cNvCxnSpPr>
          <p:nvPr/>
        </p:nvCxnSpPr>
        <p:spPr>
          <a:xfrm flipV="1">
            <a:off x="3672989" y="2749479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6">
            <a:extLst>
              <a:ext uri="{FF2B5EF4-FFF2-40B4-BE49-F238E27FC236}">
                <a16:creationId xmlns:a16="http://schemas.microsoft.com/office/drawing/2014/main" id="{F0DE29A5-F3EF-11E5-AE17-4E80F4E68D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105" y="4908227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CF0F2301-79F7-3F4E-9256-45BBDC23A1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089B975A-7BEB-EA9D-938F-01B0072BD6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9277" y="4877695"/>
            <a:ext cx="465050" cy="465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160A7D1-918B-B4CF-4945-F19E0B0998B9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A10943C-34DD-6046-7929-07D7B9E5A018}"/>
              </a:ext>
            </a:extLst>
          </p:cNvPr>
          <p:cNvSpPr/>
          <p:nvPr/>
        </p:nvSpPr>
        <p:spPr>
          <a:xfrm>
            <a:off x="3239184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12593792-46C1-DDCB-3D80-D354453964C0}"/>
              </a:ext>
            </a:extLst>
          </p:cNvPr>
          <p:cNvSpPr/>
          <p:nvPr/>
        </p:nvSpPr>
        <p:spPr>
          <a:xfrm>
            <a:off x="3884500" y="499457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FD697E10-03F2-ECAE-FE94-427A4B82CDDA}"/>
              </a:ext>
            </a:extLst>
          </p:cNvPr>
          <p:cNvCxnSpPr>
            <a:cxnSpLocks/>
          </p:cNvCxnSpPr>
          <p:nvPr/>
        </p:nvCxnSpPr>
        <p:spPr>
          <a:xfrm flipV="1">
            <a:off x="1475542" y="2723548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16">
            <a:extLst>
              <a:ext uri="{FF2B5EF4-FFF2-40B4-BE49-F238E27FC236}">
                <a16:creationId xmlns:a16="http://schemas.microsoft.com/office/drawing/2014/main" id="{13D19785-10D2-54DA-B986-C65E4169A7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658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A580775A-C2CF-8D3F-C064-67B6893226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DA3230FB-BE69-3C8C-AF7A-7A6ED42B34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30" y="4851764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F7DD19BE-9282-07D0-3769-7C9DD5DBEDAD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1FCF649-6EE5-BCC7-13F5-FEC04FB7D151}"/>
              </a:ext>
            </a:extLst>
          </p:cNvPr>
          <p:cNvSpPr/>
          <p:nvPr/>
        </p:nvSpPr>
        <p:spPr>
          <a:xfrm>
            <a:off x="1041737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4EE9110D-EBEE-1740-E898-81AD2CF08A66}"/>
              </a:ext>
            </a:extLst>
          </p:cNvPr>
          <p:cNvSpPr/>
          <p:nvPr/>
        </p:nvSpPr>
        <p:spPr>
          <a:xfrm>
            <a:off x="1687053" y="4968643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6169A32-DB02-757F-E3EC-7BDE168A7AA9}"/>
              </a:ext>
            </a:extLst>
          </p:cNvPr>
          <p:cNvSpPr txBox="1"/>
          <p:nvPr/>
        </p:nvSpPr>
        <p:spPr>
          <a:xfrm>
            <a:off x="5436631" y="2322895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0A3C8BF-7F7C-71EC-50B0-D171266F9C55}"/>
              </a:ext>
            </a:extLst>
          </p:cNvPr>
          <p:cNvSpPr txBox="1"/>
          <p:nvPr/>
        </p:nvSpPr>
        <p:spPr>
          <a:xfrm>
            <a:off x="3239184" y="2296964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12440F2-9248-750C-D391-FF9DC3A05662}"/>
              </a:ext>
            </a:extLst>
          </p:cNvPr>
          <p:cNvSpPr txBox="1"/>
          <p:nvPr/>
        </p:nvSpPr>
        <p:spPr>
          <a:xfrm>
            <a:off x="1041737" y="2271033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18F004AA-3FDD-189C-A33D-7690A86219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3583" y="1484742"/>
            <a:ext cx="805942" cy="91228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158D8B41-8ED4-9E13-38E4-0281100A32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1026" y="1499073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085432CD-C1B1-697F-90E3-4364C4BEB545}"/>
              </a:ext>
            </a:extLst>
          </p:cNvPr>
          <p:cNvCxnSpPr>
            <a:cxnSpLocks/>
          </p:cNvCxnSpPr>
          <p:nvPr/>
        </p:nvCxnSpPr>
        <p:spPr>
          <a:xfrm flipH="1" flipV="1">
            <a:off x="3834195" y="2775410"/>
            <a:ext cx="1903772" cy="141484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87DC4815-0384-58AD-A752-CE07C76129CF}"/>
              </a:ext>
            </a:extLst>
          </p:cNvPr>
          <p:cNvSpPr/>
          <p:nvPr/>
        </p:nvSpPr>
        <p:spPr>
          <a:xfrm>
            <a:off x="7386526" y="4110202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Secret Sharing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062B23C-8AB2-EEFA-BFB2-E37663109BCA}"/>
              </a:ext>
            </a:extLst>
          </p:cNvPr>
          <p:cNvSpPr txBox="1"/>
          <p:nvPr/>
        </p:nvSpPr>
        <p:spPr>
          <a:xfrm>
            <a:off x="2001461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8E6E7D7-2536-7C8A-D8C7-80D81CA14965}"/>
              </a:ext>
            </a:extLst>
          </p:cNvPr>
          <p:cNvSpPr txBox="1"/>
          <p:nvPr/>
        </p:nvSpPr>
        <p:spPr>
          <a:xfrm>
            <a:off x="4243503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8B82D9B-14A2-24A9-8E5D-7F713259E60D}"/>
              </a:ext>
            </a:extLst>
          </p:cNvPr>
          <p:cNvSpPr txBox="1"/>
          <p:nvPr/>
        </p:nvSpPr>
        <p:spPr>
          <a:xfrm>
            <a:off x="6426724" y="5317605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A8BAE233-61D1-C599-A968-1C6A635C4F48}"/>
              </a:ext>
            </a:extLst>
          </p:cNvPr>
          <p:cNvSpPr/>
          <p:nvPr/>
        </p:nvSpPr>
        <p:spPr>
          <a:xfrm rot="5400000">
            <a:off x="5635313" y="44920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B17C822C-826A-60CA-912D-168A112D50B8}"/>
              </a:ext>
            </a:extLst>
          </p:cNvPr>
          <p:cNvCxnSpPr>
            <a:cxnSpLocks/>
          </p:cNvCxnSpPr>
          <p:nvPr/>
        </p:nvCxnSpPr>
        <p:spPr>
          <a:xfrm flipH="1" flipV="1">
            <a:off x="1802797" y="2754974"/>
            <a:ext cx="3758558" cy="1436176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324F5F06-523B-B59B-940B-3E0750C50C31}"/>
              </a:ext>
            </a:extLst>
          </p:cNvPr>
          <p:cNvCxnSpPr>
            <a:cxnSpLocks/>
          </p:cNvCxnSpPr>
          <p:nvPr/>
        </p:nvCxnSpPr>
        <p:spPr>
          <a:xfrm flipV="1">
            <a:off x="3821439" y="2775410"/>
            <a:ext cx="1916528" cy="134800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CE2775EC-668D-374D-6A63-5BF8B5C318AC}"/>
              </a:ext>
            </a:extLst>
          </p:cNvPr>
          <p:cNvCxnSpPr>
            <a:cxnSpLocks/>
          </p:cNvCxnSpPr>
          <p:nvPr/>
        </p:nvCxnSpPr>
        <p:spPr>
          <a:xfrm flipH="1" flipV="1">
            <a:off x="1594526" y="2763737"/>
            <a:ext cx="1955142" cy="1362018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CA411A38-99F2-4C7E-BF88-BCD5C59D589A}"/>
              </a:ext>
            </a:extLst>
          </p:cNvPr>
          <p:cNvCxnSpPr>
            <a:cxnSpLocks/>
          </p:cNvCxnSpPr>
          <p:nvPr/>
        </p:nvCxnSpPr>
        <p:spPr>
          <a:xfrm flipV="1">
            <a:off x="1623992" y="2775410"/>
            <a:ext cx="1925676" cy="133176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A8CBB2EE-E3D1-2A7C-FF42-B76EFD180F2E}"/>
              </a:ext>
            </a:extLst>
          </p:cNvPr>
          <p:cNvSpPr/>
          <p:nvPr/>
        </p:nvSpPr>
        <p:spPr>
          <a:xfrm rot="5400000">
            <a:off x="3537070" y="446661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916AF7E7-1FA9-7EA4-17F7-F0F67400AFA4}"/>
              </a:ext>
            </a:extLst>
          </p:cNvPr>
          <p:cNvSpPr/>
          <p:nvPr/>
        </p:nvSpPr>
        <p:spPr>
          <a:xfrm rot="5400000">
            <a:off x="1331036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AAAB0D2C-B807-A443-FB5D-E721846E2B15}"/>
              </a:ext>
            </a:extLst>
          </p:cNvPr>
          <p:cNvSpPr/>
          <p:nvPr/>
        </p:nvSpPr>
        <p:spPr>
          <a:xfrm>
            <a:off x="7386526" y="3094923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nsmission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51985D9C-D022-B0FA-3205-2485D46DA0B4}"/>
              </a:ext>
            </a:extLst>
          </p:cNvPr>
          <p:cNvCxnSpPr>
            <a:cxnSpLocks/>
          </p:cNvCxnSpPr>
          <p:nvPr/>
        </p:nvCxnSpPr>
        <p:spPr>
          <a:xfrm flipV="1">
            <a:off x="1820507" y="2794198"/>
            <a:ext cx="3616124" cy="1327646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671233-20F8-A888-E4FB-BCA6BAAEFB40}"/>
              </a:ext>
            </a:extLst>
          </p:cNvPr>
          <p:cNvSpPr/>
          <p:nvPr/>
        </p:nvSpPr>
        <p:spPr>
          <a:xfrm>
            <a:off x="973955" y="1113784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24" name="Picture 14">
            <a:extLst>
              <a:ext uri="{FF2B5EF4-FFF2-40B4-BE49-F238E27FC236}">
                <a16:creationId xmlns:a16="http://schemas.microsoft.com/office/drawing/2014/main" id="{3D5984CD-6F84-AD5E-5791-8F386D032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837" y="1218825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25" name="Picture 14">
            <a:extLst>
              <a:ext uri="{FF2B5EF4-FFF2-40B4-BE49-F238E27FC236}">
                <a16:creationId xmlns:a16="http://schemas.microsoft.com/office/drawing/2014/main" id="{F888B607-4CE3-6115-A3C1-38F6D727EC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547" y="1219661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26" name="Picture 14">
            <a:extLst>
              <a:ext uri="{FF2B5EF4-FFF2-40B4-BE49-F238E27FC236}">
                <a16:creationId xmlns:a16="http://schemas.microsoft.com/office/drawing/2014/main" id="{6F68478E-41DC-3D97-6F86-335908318B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808" y="1218825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63C5BD0A-D16B-CF3B-F83A-128A628BB3E0}"/>
              </a:ext>
            </a:extLst>
          </p:cNvPr>
          <p:cNvSpPr/>
          <p:nvPr/>
        </p:nvSpPr>
        <p:spPr>
          <a:xfrm>
            <a:off x="3345390" y="1110506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28" name="Picture 14">
            <a:extLst>
              <a:ext uri="{FF2B5EF4-FFF2-40B4-BE49-F238E27FC236}">
                <a16:creationId xmlns:a16="http://schemas.microsoft.com/office/drawing/2014/main" id="{8140C164-DF01-166D-B154-FD229577E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272" y="1215547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29" name="Picture 14">
            <a:extLst>
              <a:ext uri="{FF2B5EF4-FFF2-40B4-BE49-F238E27FC236}">
                <a16:creationId xmlns:a16="http://schemas.microsoft.com/office/drawing/2014/main" id="{BF561408-C9E7-10D2-ACA3-EB5F00FAD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982" y="1216383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30" name="Picture 14">
            <a:extLst>
              <a:ext uri="{FF2B5EF4-FFF2-40B4-BE49-F238E27FC236}">
                <a16:creationId xmlns:a16="http://schemas.microsoft.com/office/drawing/2014/main" id="{1FE97056-2355-90BD-ADC1-D639A19C4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243" y="1215547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31" name="Rectangle 130">
            <a:extLst>
              <a:ext uri="{FF2B5EF4-FFF2-40B4-BE49-F238E27FC236}">
                <a16:creationId xmlns:a16="http://schemas.microsoft.com/office/drawing/2014/main" id="{23F3BE5D-E4DF-8B1D-E44F-042609EF9396}"/>
              </a:ext>
            </a:extLst>
          </p:cNvPr>
          <p:cNvSpPr/>
          <p:nvPr/>
        </p:nvSpPr>
        <p:spPr>
          <a:xfrm>
            <a:off x="5621155" y="1109198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32" name="Picture 14">
            <a:extLst>
              <a:ext uri="{FF2B5EF4-FFF2-40B4-BE49-F238E27FC236}">
                <a16:creationId xmlns:a16="http://schemas.microsoft.com/office/drawing/2014/main" id="{5426CBE5-CF1E-1FB7-7ED4-BB3915C5A7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037" y="1214239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33" name="Picture 14">
            <a:extLst>
              <a:ext uri="{FF2B5EF4-FFF2-40B4-BE49-F238E27FC236}">
                <a16:creationId xmlns:a16="http://schemas.microsoft.com/office/drawing/2014/main" id="{02950A09-46D3-6EF2-6D3C-669D18D052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9747" y="1215075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34" name="Picture 14">
            <a:extLst>
              <a:ext uri="{FF2B5EF4-FFF2-40B4-BE49-F238E27FC236}">
                <a16:creationId xmlns:a16="http://schemas.microsoft.com/office/drawing/2014/main" id="{9EB40E66-1DE2-9F75-CEEB-3627D8F41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008" y="1214239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35" name="Left Arrow 134">
            <a:extLst>
              <a:ext uri="{FF2B5EF4-FFF2-40B4-BE49-F238E27FC236}">
                <a16:creationId xmlns:a16="http://schemas.microsoft.com/office/drawing/2014/main" id="{F5D745F4-C9A6-AD00-33C1-1727FEDDB550}"/>
              </a:ext>
            </a:extLst>
          </p:cNvPr>
          <p:cNvSpPr/>
          <p:nvPr/>
        </p:nvSpPr>
        <p:spPr>
          <a:xfrm rot="10800000">
            <a:off x="1729217" y="115961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36" name="Left Arrow 135">
            <a:extLst>
              <a:ext uri="{FF2B5EF4-FFF2-40B4-BE49-F238E27FC236}">
                <a16:creationId xmlns:a16="http://schemas.microsoft.com/office/drawing/2014/main" id="{B90B93C9-8DD6-D438-06A3-8A4FD549AB7B}"/>
              </a:ext>
            </a:extLst>
          </p:cNvPr>
          <p:cNvSpPr/>
          <p:nvPr/>
        </p:nvSpPr>
        <p:spPr>
          <a:xfrm rot="10800000">
            <a:off x="4071621" y="1163302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37" name="Left Arrow 136">
            <a:extLst>
              <a:ext uri="{FF2B5EF4-FFF2-40B4-BE49-F238E27FC236}">
                <a16:creationId xmlns:a16="http://schemas.microsoft.com/office/drawing/2014/main" id="{66A06476-D047-7B48-9F14-4F317830D8DA}"/>
              </a:ext>
            </a:extLst>
          </p:cNvPr>
          <p:cNvSpPr/>
          <p:nvPr/>
        </p:nvSpPr>
        <p:spPr>
          <a:xfrm rot="10800000">
            <a:off x="6349885" y="1168959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38" name="Picture 14">
            <a:extLst>
              <a:ext uri="{FF2B5EF4-FFF2-40B4-BE49-F238E27FC236}">
                <a16:creationId xmlns:a16="http://schemas.microsoft.com/office/drawing/2014/main" id="{F25520D5-18E0-E598-9676-F1F597D01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606" y="1186675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139" name="Picture 14">
            <a:extLst>
              <a:ext uri="{FF2B5EF4-FFF2-40B4-BE49-F238E27FC236}">
                <a16:creationId xmlns:a16="http://schemas.microsoft.com/office/drawing/2014/main" id="{8726878C-03DA-5CF1-F253-F854F7A15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8342" y="1180522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140" name="Picture 14">
            <a:extLst>
              <a:ext uri="{FF2B5EF4-FFF2-40B4-BE49-F238E27FC236}">
                <a16:creationId xmlns:a16="http://schemas.microsoft.com/office/drawing/2014/main" id="{1BEC465B-22EE-C190-E00D-60110C559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700" y="1171058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41" name="Rounded Rectangle 140">
            <a:extLst>
              <a:ext uri="{FF2B5EF4-FFF2-40B4-BE49-F238E27FC236}">
                <a16:creationId xmlns:a16="http://schemas.microsoft.com/office/drawing/2014/main" id="{11F70ABE-12D3-C22B-EA43-89039E833B6E}"/>
              </a:ext>
            </a:extLst>
          </p:cNvPr>
          <p:cNvSpPr/>
          <p:nvPr/>
        </p:nvSpPr>
        <p:spPr>
          <a:xfrm>
            <a:off x="7384074" y="1084704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Decentralized aggretatio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4947FD2-C186-E150-5303-AA133EA5946C}"/>
              </a:ext>
            </a:extLst>
          </p:cNvPr>
          <p:cNvSpPr txBox="1"/>
          <p:nvPr/>
        </p:nvSpPr>
        <p:spPr>
          <a:xfrm>
            <a:off x="368959" y="3992577"/>
            <a:ext cx="81624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iffer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rand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shares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95A667C7-2DFB-E325-E600-2E999D2EAC81}"/>
              </a:ext>
            </a:extLst>
          </p:cNvPr>
          <p:cNvSpPr txBox="1"/>
          <p:nvPr/>
        </p:nvSpPr>
        <p:spPr>
          <a:xfrm>
            <a:off x="1954991" y="879070"/>
            <a:ext cx="6799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FE742FD1-96AA-1217-7BF3-C1B7F92E95D2}"/>
              </a:ext>
            </a:extLst>
          </p:cNvPr>
          <p:cNvSpPr txBox="1"/>
          <p:nvPr/>
        </p:nvSpPr>
        <p:spPr>
          <a:xfrm>
            <a:off x="4283686" y="886462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FECD4D51-E121-8F1F-9311-0FE14E1F3703}"/>
              </a:ext>
            </a:extLst>
          </p:cNvPr>
          <p:cNvSpPr txBox="1"/>
          <p:nvPr/>
        </p:nvSpPr>
        <p:spPr>
          <a:xfrm>
            <a:off x="6507540" y="898005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28350E73-648E-0968-8CE5-279202E6C5B6}"/>
              </a:ext>
            </a:extLst>
          </p:cNvPr>
          <p:cNvSpPr txBox="1"/>
          <p:nvPr/>
        </p:nvSpPr>
        <p:spPr>
          <a:xfrm>
            <a:off x="2310406" y="1224909"/>
            <a:ext cx="2664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89D5CFF6-3A9B-4CD6-2401-1132558E24F3}"/>
              </a:ext>
            </a:extLst>
          </p:cNvPr>
          <p:cNvSpPr txBox="1"/>
          <p:nvPr/>
        </p:nvSpPr>
        <p:spPr>
          <a:xfrm>
            <a:off x="4658683" y="1250678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DFC01777-FE4C-5492-03A5-DC035CAE6C8B}"/>
              </a:ext>
            </a:extLst>
          </p:cNvPr>
          <p:cNvSpPr txBox="1"/>
          <p:nvPr/>
        </p:nvSpPr>
        <p:spPr>
          <a:xfrm>
            <a:off x="6945388" y="1250678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A6D4557-45C6-64B8-AEA5-6A81402DF84B}"/>
              </a:ext>
            </a:extLst>
          </p:cNvPr>
          <p:cNvGrpSpPr/>
          <p:nvPr/>
        </p:nvGrpSpPr>
        <p:grpSpPr>
          <a:xfrm>
            <a:off x="1709959" y="4206536"/>
            <a:ext cx="357180" cy="229696"/>
            <a:chOff x="1709959" y="4206536"/>
            <a:chExt cx="357180" cy="229696"/>
          </a:xfrm>
        </p:grpSpPr>
        <p:pic>
          <p:nvPicPr>
            <p:cNvPr id="111" name="Picture 14">
              <a:extLst>
                <a:ext uri="{FF2B5EF4-FFF2-40B4-BE49-F238E27FC236}">
                  <a16:creationId xmlns:a16="http://schemas.microsoft.com/office/drawing/2014/main" id="{65B89D26-CE22-5F40-EAC6-18A0C2AD8C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9959" y="4206536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FF4C791-B923-4A43-EC86-5A4AC92D6712}"/>
                </a:ext>
              </a:extLst>
            </p:cNvPr>
            <p:cNvSpPr txBox="1"/>
            <p:nvPr/>
          </p:nvSpPr>
          <p:spPr>
            <a:xfrm>
              <a:off x="1811941" y="4236177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8629C94-0C90-5C94-C686-D45350BEA8C1}"/>
              </a:ext>
            </a:extLst>
          </p:cNvPr>
          <p:cNvGrpSpPr/>
          <p:nvPr/>
        </p:nvGrpSpPr>
        <p:grpSpPr>
          <a:xfrm>
            <a:off x="1422601" y="4201550"/>
            <a:ext cx="350391" cy="228697"/>
            <a:chOff x="1422601" y="4201550"/>
            <a:chExt cx="350391" cy="228697"/>
          </a:xfrm>
        </p:grpSpPr>
        <p:pic>
          <p:nvPicPr>
            <p:cNvPr id="110" name="Picture 14">
              <a:extLst>
                <a:ext uri="{FF2B5EF4-FFF2-40B4-BE49-F238E27FC236}">
                  <a16:creationId xmlns:a16="http://schemas.microsoft.com/office/drawing/2014/main" id="{C43E725F-3DD7-560A-6ED8-172B77519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2601" y="4201550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CC4AE05-2C01-27EC-4EF8-CA8C105AA4B1}"/>
                </a:ext>
              </a:extLst>
            </p:cNvPr>
            <p:cNvSpPr txBox="1"/>
            <p:nvPr/>
          </p:nvSpPr>
          <p:spPr>
            <a:xfrm>
              <a:off x="1517794" y="4230192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F5B3DE0-4765-12ED-7D1A-6D5F63B1950E}"/>
              </a:ext>
            </a:extLst>
          </p:cNvPr>
          <p:cNvGrpSpPr/>
          <p:nvPr/>
        </p:nvGrpSpPr>
        <p:grpSpPr>
          <a:xfrm>
            <a:off x="1133225" y="4206536"/>
            <a:ext cx="326384" cy="217726"/>
            <a:chOff x="1133225" y="4206536"/>
            <a:chExt cx="326384" cy="217726"/>
          </a:xfrm>
        </p:grpSpPr>
        <p:pic>
          <p:nvPicPr>
            <p:cNvPr id="109" name="Picture 14">
              <a:extLst>
                <a:ext uri="{FF2B5EF4-FFF2-40B4-BE49-F238E27FC236}">
                  <a16:creationId xmlns:a16="http://schemas.microsoft.com/office/drawing/2014/main" id="{046144CF-DD90-2816-FED5-21AE3F82EA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3225" y="4206536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316EF91-DF8C-BEE1-3188-D6A49B58D47A}"/>
                </a:ext>
              </a:extLst>
            </p:cNvPr>
            <p:cNvSpPr txBox="1"/>
            <p:nvPr/>
          </p:nvSpPr>
          <p:spPr>
            <a:xfrm>
              <a:off x="1223647" y="4224207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68043E2-2D2A-FB68-24C9-DB2ED33AA4CE}"/>
              </a:ext>
            </a:extLst>
          </p:cNvPr>
          <p:cNvGrpSpPr/>
          <p:nvPr/>
        </p:nvGrpSpPr>
        <p:grpSpPr>
          <a:xfrm>
            <a:off x="3628635" y="4238958"/>
            <a:ext cx="363828" cy="236990"/>
            <a:chOff x="3628635" y="4238958"/>
            <a:chExt cx="363828" cy="236990"/>
          </a:xfrm>
        </p:grpSpPr>
        <p:pic>
          <p:nvPicPr>
            <p:cNvPr id="106" name="Picture 14">
              <a:extLst>
                <a:ext uri="{FF2B5EF4-FFF2-40B4-BE49-F238E27FC236}">
                  <a16:creationId xmlns:a16="http://schemas.microsoft.com/office/drawing/2014/main" id="{3778E15F-83DF-7431-C0F0-54A4E8DE9B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8635" y="423895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303942D-0F84-F3BF-3B5F-65A8D56D330B}"/>
                </a:ext>
              </a:extLst>
            </p:cNvPr>
            <p:cNvSpPr txBox="1"/>
            <p:nvPr/>
          </p:nvSpPr>
          <p:spPr>
            <a:xfrm>
              <a:off x="3737265" y="4275893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F53C261-88C9-CDC9-493C-A811824A849D}"/>
              </a:ext>
            </a:extLst>
          </p:cNvPr>
          <p:cNvGrpSpPr/>
          <p:nvPr/>
        </p:nvGrpSpPr>
        <p:grpSpPr>
          <a:xfrm>
            <a:off x="3916838" y="4238958"/>
            <a:ext cx="361877" cy="229725"/>
            <a:chOff x="3916838" y="4238958"/>
            <a:chExt cx="361877" cy="229725"/>
          </a:xfrm>
        </p:grpSpPr>
        <p:pic>
          <p:nvPicPr>
            <p:cNvPr id="107" name="Picture 14">
              <a:extLst>
                <a:ext uri="{FF2B5EF4-FFF2-40B4-BE49-F238E27FC236}">
                  <a16:creationId xmlns:a16="http://schemas.microsoft.com/office/drawing/2014/main" id="{3D6B6B28-198F-3FC1-C297-F4A81C073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838" y="423895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DF8051B-C9B9-4A9B-6FEF-2C38E79AE326}"/>
                </a:ext>
              </a:extLst>
            </p:cNvPr>
            <p:cNvSpPr txBox="1"/>
            <p:nvPr/>
          </p:nvSpPr>
          <p:spPr>
            <a:xfrm>
              <a:off x="4023517" y="4268628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33C587-76AD-63FF-CF09-6C4A01E9002B}"/>
              </a:ext>
            </a:extLst>
          </p:cNvPr>
          <p:cNvGrpSpPr/>
          <p:nvPr/>
        </p:nvGrpSpPr>
        <p:grpSpPr>
          <a:xfrm>
            <a:off x="3349198" y="4246348"/>
            <a:ext cx="342638" cy="233218"/>
            <a:chOff x="3349198" y="4246348"/>
            <a:chExt cx="342638" cy="233218"/>
          </a:xfrm>
        </p:grpSpPr>
        <p:pic>
          <p:nvPicPr>
            <p:cNvPr id="105" name="Picture 14">
              <a:extLst>
                <a:ext uri="{FF2B5EF4-FFF2-40B4-BE49-F238E27FC236}">
                  <a16:creationId xmlns:a16="http://schemas.microsoft.com/office/drawing/2014/main" id="{C7717DD3-65B3-5CAF-FA13-EF337BCA8B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198" y="424634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F4EE4C9-9E6D-92D2-F863-A2E4E3CB4451}"/>
                </a:ext>
              </a:extLst>
            </p:cNvPr>
            <p:cNvSpPr txBox="1"/>
            <p:nvPr/>
          </p:nvSpPr>
          <p:spPr>
            <a:xfrm>
              <a:off x="3455874" y="4279511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1B6B6DD-387E-E4B9-F892-57B11F8A3B37}"/>
              </a:ext>
            </a:extLst>
          </p:cNvPr>
          <p:cNvGrpSpPr/>
          <p:nvPr/>
        </p:nvGrpSpPr>
        <p:grpSpPr>
          <a:xfrm>
            <a:off x="5726878" y="4264394"/>
            <a:ext cx="353655" cy="235933"/>
            <a:chOff x="5726878" y="4264394"/>
            <a:chExt cx="353655" cy="235933"/>
          </a:xfrm>
        </p:grpSpPr>
        <p:pic>
          <p:nvPicPr>
            <p:cNvPr id="79" name="Picture 14">
              <a:extLst>
                <a:ext uri="{FF2B5EF4-FFF2-40B4-BE49-F238E27FC236}">
                  <a16:creationId xmlns:a16="http://schemas.microsoft.com/office/drawing/2014/main" id="{F82B6EB1-C325-2CD1-5C46-BD63DE4E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6878" y="4264394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5D86D6-28C5-A91F-F65E-D4C85E3CFAE8}"/>
                </a:ext>
              </a:extLst>
            </p:cNvPr>
            <p:cNvSpPr txBox="1"/>
            <p:nvPr/>
          </p:nvSpPr>
          <p:spPr>
            <a:xfrm>
              <a:off x="5825335" y="4300272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5444D1D-2D75-959B-DCDE-1426FD3C048E}"/>
              </a:ext>
            </a:extLst>
          </p:cNvPr>
          <p:cNvGrpSpPr/>
          <p:nvPr/>
        </p:nvGrpSpPr>
        <p:grpSpPr>
          <a:xfrm>
            <a:off x="6026417" y="4260468"/>
            <a:ext cx="374589" cy="232246"/>
            <a:chOff x="6026417" y="4260468"/>
            <a:chExt cx="374589" cy="232246"/>
          </a:xfrm>
        </p:grpSpPr>
        <p:pic>
          <p:nvPicPr>
            <p:cNvPr id="80" name="Picture 14">
              <a:extLst>
                <a:ext uri="{FF2B5EF4-FFF2-40B4-BE49-F238E27FC236}">
                  <a16:creationId xmlns:a16="http://schemas.microsoft.com/office/drawing/2014/main" id="{A9CB1A00-0640-8367-FD8B-FAA308C441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417" y="4260468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1C570FC-77E4-FD80-BEBA-096986DDEC64}"/>
                </a:ext>
              </a:extLst>
            </p:cNvPr>
            <p:cNvSpPr txBox="1"/>
            <p:nvPr/>
          </p:nvSpPr>
          <p:spPr>
            <a:xfrm>
              <a:off x="6145808" y="4292659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208D2A7-DB3F-8E32-F311-C90FC6D7F4A4}"/>
              </a:ext>
            </a:extLst>
          </p:cNvPr>
          <p:cNvGrpSpPr/>
          <p:nvPr/>
        </p:nvGrpSpPr>
        <p:grpSpPr>
          <a:xfrm>
            <a:off x="5434891" y="4267080"/>
            <a:ext cx="343254" cy="236752"/>
            <a:chOff x="5396387" y="4267080"/>
            <a:chExt cx="343254" cy="236752"/>
          </a:xfrm>
        </p:grpSpPr>
        <p:pic>
          <p:nvPicPr>
            <p:cNvPr id="74" name="Picture 14">
              <a:extLst>
                <a:ext uri="{FF2B5EF4-FFF2-40B4-BE49-F238E27FC236}">
                  <a16:creationId xmlns:a16="http://schemas.microsoft.com/office/drawing/2014/main" id="{4A799001-3DF4-B4C6-438D-BB32D95D47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6387" y="4267080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29E198F-8230-79FB-F29D-2E6A482856E6}"/>
                </a:ext>
              </a:extLst>
            </p:cNvPr>
            <p:cNvSpPr txBox="1"/>
            <p:nvPr/>
          </p:nvSpPr>
          <p:spPr>
            <a:xfrm>
              <a:off x="5503679" y="4303777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3501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5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24 -0.00324 L -0.00924 -0.24005 " pathEditMode="relative" ptsTypes="AA">
                                      <p:cBhvr>
                                        <p:cTn id="6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482 0.00833 L -0.15872 -0.23889 " pathEditMode="relative" ptsTypes="AA">
                                      <p:cBhvr>
                                        <p:cTn id="69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25 0.00509 L -0.30508 -0.25023 " pathEditMode="relative" ptsTypes="AA">
                                      <p:cBhvr>
                                        <p:cTn id="7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6 -0.00347 L 0.14336 -0.23218 " pathEditMode="relative" ptsTypes="AA">
                                      <p:cBhvr>
                                        <p:cTn id="73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51 0.00208 L -0.00951 -0.23797 " pathEditMode="relative" ptsTypes="AA">
                                      <p:cBhvr>
                                        <p:cTn id="7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85 0.00555 L -0.1526 -0.24167 " pathEditMode="relative" ptsTypes="AA">
                                      <p:cBhvr>
                                        <p:cTn id="77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47 -0.00416 L 0.27916 -0.23287 " pathEditMode="relative" ptsTypes="AA">
                                      <p:cBhvr>
                                        <p:cTn id="7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729 -0.00879 L 0.1345 -0.2375 " pathEditMode="relative" ptsTypes="AA">
                                      <p:cBhvr>
                                        <p:cTn id="81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3 -0.00393 L -0.00313 -0.24097 " pathEditMode="relative" ptsTypes="AA">
                                      <p:cBhvr>
                                        <p:cTn id="83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4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0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6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5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8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0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3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6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9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2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5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1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4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73" grpId="0" animBg="1"/>
      <p:bldP spid="81" grpId="0" animBg="1"/>
      <p:bldP spid="108" grpId="0" animBg="1"/>
      <p:bldP spid="112" grpId="0" animBg="1"/>
      <p:bldP spid="113" grpId="0" animBg="1"/>
      <p:bldP spid="117" grpId="0" animBg="1"/>
      <p:bldP spid="127" grpId="0" animBg="1"/>
      <p:bldP spid="131" grpId="0" animBg="1"/>
      <p:bldP spid="135" grpId="0" animBg="1"/>
      <p:bldP spid="136" grpId="0" animBg="1"/>
      <p:bldP spid="137" grpId="0" animBg="1"/>
      <p:bldP spid="141" grpId="0" animBg="1"/>
      <p:bldP spid="142" grpId="0"/>
      <p:bldP spid="143" grpId="0"/>
      <p:bldP spid="144" grpId="0"/>
      <p:bldP spid="145" grpId="0"/>
      <p:bldP spid="146" grpId="0"/>
      <p:bldP spid="147" grpId="0"/>
      <p:bldP spid="14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C28CE3-94A9-7636-84F9-FEAC3077E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04278039-4215-901F-52A3-41895F92F563}"/>
              </a:ext>
            </a:extLst>
          </p:cNvPr>
          <p:cNvSpPr/>
          <p:nvPr/>
        </p:nvSpPr>
        <p:spPr>
          <a:xfrm>
            <a:off x="495901" y="248500"/>
            <a:ext cx="5853984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MPC (II)</a:t>
            </a:r>
            <a:endParaRPr kumimoji="0" lang="en-US" sz="2400" b="1" i="0" u="none" strike="noStrike" kern="1200" cap="none" spc="0" normalizeH="0" noProof="0" dirty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42DCF4F-A849-73D4-522A-093B77F0DD03}"/>
              </a:ext>
            </a:extLst>
          </p:cNvPr>
          <p:cNvCxnSpPr>
            <a:cxnSpLocks/>
          </p:cNvCxnSpPr>
          <p:nvPr/>
        </p:nvCxnSpPr>
        <p:spPr>
          <a:xfrm flipV="1">
            <a:off x="5870436" y="2775410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CCC6D57E-18C0-16AE-8362-01847929C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AC2348BF-9141-311F-3C8C-453CA6B546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6724" y="4903626"/>
            <a:ext cx="465050" cy="465841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8F8E7C7D-641E-B5E8-C0C2-FDA64EE6711D}"/>
              </a:ext>
            </a:extLst>
          </p:cNvPr>
          <p:cNvSpPr txBox="1"/>
          <p:nvPr/>
        </p:nvSpPr>
        <p:spPr>
          <a:xfrm>
            <a:off x="5667066" y="6259560"/>
            <a:ext cx="798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‘n’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05C349-620A-2A02-D272-64E58FD342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7465" y="1470411"/>
            <a:ext cx="805942" cy="91228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CE43614-E67D-3737-3622-D48D02083561}"/>
              </a:ext>
            </a:extLst>
          </p:cNvPr>
          <p:cNvSpPr/>
          <p:nvPr/>
        </p:nvSpPr>
        <p:spPr>
          <a:xfrm>
            <a:off x="5436631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CC8AB89B-B777-F468-80E9-A8D98FD70146}"/>
              </a:ext>
            </a:extLst>
          </p:cNvPr>
          <p:cNvSpPr/>
          <p:nvPr/>
        </p:nvSpPr>
        <p:spPr>
          <a:xfrm>
            <a:off x="6081947" y="502050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B938B32F-E9B3-B3B2-FCCE-7EEEF065851E}"/>
              </a:ext>
            </a:extLst>
          </p:cNvPr>
          <p:cNvSpPr/>
          <p:nvPr/>
        </p:nvSpPr>
        <p:spPr>
          <a:xfrm>
            <a:off x="7386526" y="4811599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Re-training Ph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7DBB788-446C-4032-FC81-093F9DDC556B}"/>
              </a:ext>
            </a:extLst>
          </p:cNvPr>
          <p:cNvCxnSpPr>
            <a:cxnSpLocks/>
          </p:cNvCxnSpPr>
          <p:nvPr/>
        </p:nvCxnSpPr>
        <p:spPr>
          <a:xfrm flipV="1">
            <a:off x="3672989" y="2749479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02E269CB-AEE9-F640-981D-5D50934CD4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3B2FC5E6-3DA3-9FF5-2DA9-1019AC9098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9277" y="4877695"/>
            <a:ext cx="465050" cy="46584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684CDB2-1133-C297-D470-F3D01902A4D6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2339DC3-2099-246A-4D4E-97070FE29A30}"/>
              </a:ext>
            </a:extLst>
          </p:cNvPr>
          <p:cNvSpPr/>
          <p:nvPr/>
        </p:nvSpPr>
        <p:spPr>
          <a:xfrm>
            <a:off x="3239184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0AADF06E-8552-4066-3BAD-3D8FC4C0CA03}"/>
              </a:ext>
            </a:extLst>
          </p:cNvPr>
          <p:cNvSpPr/>
          <p:nvPr/>
        </p:nvSpPr>
        <p:spPr>
          <a:xfrm>
            <a:off x="3884500" y="499457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DD96388-2FF0-AE22-9E7E-263347A18668}"/>
              </a:ext>
            </a:extLst>
          </p:cNvPr>
          <p:cNvCxnSpPr>
            <a:cxnSpLocks/>
          </p:cNvCxnSpPr>
          <p:nvPr/>
        </p:nvCxnSpPr>
        <p:spPr>
          <a:xfrm flipV="1">
            <a:off x="1475542" y="2723548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2EC2E4F9-BB5B-F77E-E5CA-C8C3B3F5DF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76199C28-DC9E-F4DF-4173-FB9A251FDB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830" y="4851764"/>
            <a:ext cx="465050" cy="465841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52143EF-7C3A-29AC-EE36-540CF864D564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47267E5-0F70-6A97-8C1B-F248B15D8C25}"/>
              </a:ext>
            </a:extLst>
          </p:cNvPr>
          <p:cNvSpPr/>
          <p:nvPr/>
        </p:nvSpPr>
        <p:spPr>
          <a:xfrm>
            <a:off x="1041737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DBA35D40-D0E5-19ED-6912-DA1D226DEDB4}"/>
              </a:ext>
            </a:extLst>
          </p:cNvPr>
          <p:cNvSpPr/>
          <p:nvPr/>
        </p:nvSpPr>
        <p:spPr>
          <a:xfrm>
            <a:off x="1687053" y="4968643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E89997A-82C3-FFCD-FC45-84C29E460B0E}"/>
              </a:ext>
            </a:extLst>
          </p:cNvPr>
          <p:cNvSpPr txBox="1"/>
          <p:nvPr/>
        </p:nvSpPr>
        <p:spPr>
          <a:xfrm>
            <a:off x="5436631" y="2322895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4FE3915-D26A-D47E-C67D-6E3329DF7934}"/>
              </a:ext>
            </a:extLst>
          </p:cNvPr>
          <p:cNvSpPr txBox="1"/>
          <p:nvPr/>
        </p:nvSpPr>
        <p:spPr>
          <a:xfrm>
            <a:off x="3239184" y="2296964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DF5F0FD-CB97-6D21-152A-D357F6E619A7}"/>
              </a:ext>
            </a:extLst>
          </p:cNvPr>
          <p:cNvSpPr txBox="1"/>
          <p:nvPr/>
        </p:nvSpPr>
        <p:spPr>
          <a:xfrm>
            <a:off x="1041737" y="2271033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88F3563-1809-2FB4-31B2-A18DE01CE2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3583" y="1484742"/>
            <a:ext cx="805942" cy="91228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C86B31A-22EC-CBEE-72E2-B696A00B77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1026" y="1499073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51F6013-4CFB-2F04-75B8-9111729EB7E3}"/>
              </a:ext>
            </a:extLst>
          </p:cNvPr>
          <p:cNvCxnSpPr>
            <a:cxnSpLocks/>
          </p:cNvCxnSpPr>
          <p:nvPr/>
        </p:nvCxnSpPr>
        <p:spPr>
          <a:xfrm flipH="1" flipV="1">
            <a:off x="3834195" y="2775410"/>
            <a:ext cx="1903772" cy="141484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79CF1514-E0CA-942D-29CF-14CB6EA51839}"/>
              </a:ext>
            </a:extLst>
          </p:cNvPr>
          <p:cNvSpPr/>
          <p:nvPr/>
        </p:nvSpPr>
        <p:spPr>
          <a:xfrm>
            <a:off x="7386526" y="4110202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Reconstruction of aggregated model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A057C4B-FC7A-8253-CFE3-7E963BC4D7D6}"/>
              </a:ext>
            </a:extLst>
          </p:cNvPr>
          <p:cNvSpPr txBox="1"/>
          <p:nvPr/>
        </p:nvSpPr>
        <p:spPr>
          <a:xfrm>
            <a:off x="2001461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51BCE2B-6D36-EB81-C714-24E19A228486}"/>
              </a:ext>
            </a:extLst>
          </p:cNvPr>
          <p:cNvSpPr txBox="1"/>
          <p:nvPr/>
        </p:nvSpPr>
        <p:spPr>
          <a:xfrm>
            <a:off x="4243503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BA61358-D579-862F-D0D4-90C74AC17E87}"/>
              </a:ext>
            </a:extLst>
          </p:cNvPr>
          <p:cNvSpPr txBox="1"/>
          <p:nvPr/>
        </p:nvSpPr>
        <p:spPr>
          <a:xfrm>
            <a:off x="6426724" y="5317605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E2E8CB2B-7063-35DE-8CD3-FC0256C3ED2E}"/>
              </a:ext>
            </a:extLst>
          </p:cNvPr>
          <p:cNvSpPr/>
          <p:nvPr/>
        </p:nvSpPr>
        <p:spPr>
          <a:xfrm rot="16200000">
            <a:off x="5635313" y="44920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72CEACB7-3FCE-74FF-987E-F7D7C76547D8}"/>
              </a:ext>
            </a:extLst>
          </p:cNvPr>
          <p:cNvCxnSpPr>
            <a:cxnSpLocks/>
          </p:cNvCxnSpPr>
          <p:nvPr/>
        </p:nvCxnSpPr>
        <p:spPr>
          <a:xfrm flipH="1" flipV="1">
            <a:off x="1802797" y="2754974"/>
            <a:ext cx="3559286" cy="143243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D987FF77-50D7-C06C-630D-43262C22A0F0}"/>
              </a:ext>
            </a:extLst>
          </p:cNvPr>
          <p:cNvCxnSpPr>
            <a:cxnSpLocks/>
          </p:cNvCxnSpPr>
          <p:nvPr/>
        </p:nvCxnSpPr>
        <p:spPr>
          <a:xfrm flipV="1">
            <a:off x="3821439" y="2775410"/>
            <a:ext cx="1916528" cy="134800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0B2E0234-B30A-B73E-1067-CB5E67D057D9}"/>
              </a:ext>
            </a:extLst>
          </p:cNvPr>
          <p:cNvCxnSpPr>
            <a:cxnSpLocks/>
          </p:cNvCxnSpPr>
          <p:nvPr/>
        </p:nvCxnSpPr>
        <p:spPr>
          <a:xfrm flipH="1" flipV="1">
            <a:off x="1594526" y="2763737"/>
            <a:ext cx="1955142" cy="1362018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C0A94DE2-B7C4-6FFD-B1D8-831714BFD57F}"/>
              </a:ext>
            </a:extLst>
          </p:cNvPr>
          <p:cNvCxnSpPr>
            <a:cxnSpLocks/>
          </p:cNvCxnSpPr>
          <p:nvPr/>
        </p:nvCxnSpPr>
        <p:spPr>
          <a:xfrm flipV="1">
            <a:off x="1623992" y="2775410"/>
            <a:ext cx="1925676" cy="133176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00996DC0-408F-574C-AB39-5AD3B28411DF}"/>
              </a:ext>
            </a:extLst>
          </p:cNvPr>
          <p:cNvSpPr/>
          <p:nvPr/>
        </p:nvSpPr>
        <p:spPr>
          <a:xfrm rot="16200000">
            <a:off x="3537070" y="446661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23E1B628-B642-4136-7C5D-99BC933E22D6}"/>
              </a:ext>
            </a:extLst>
          </p:cNvPr>
          <p:cNvSpPr/>
          <p:nvPr/>
        </p:nvSpPr>
        <p:spPr>
          <a:xfrm rot="16200000">
            <a:off x="1331036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08CE8349-DF90-CA57-8CDE-B44EC3D5963F}"/>
              </a:ext>
            </a:extLst>
          </p:cNvPr>
          <p:cNvSpPr/>
          <p:nvPr/>
        </p:nvSpPr>
        <p:spPr>
          <a:xfrm>
            <a:off x="7386526" y="3094923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nsmission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BC66992E-A2C5-DF14-1467-08BF4BF25D9A}"/>
              </a:ext>
            </a:extLst>
          </p:cNvPr>
          <p:cNvCxnSpPr>
            <a:cxnSpLocks/>
          </p:cNvCxnSpPr>
          <p:nvPr/>
        </p:nvCxnSpPr>
        <p:spPr>
          <a:xfrm flipV="1">
            <a:off x="2001461" y="2794198"/>
            <a:ext cx="3435170" cy="1404816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F5C0027-56C3-7600-3CB4-4A2C8B767EEF}"/>
              </a:ext>
            </a:extLst>
          </p:cNvPr>
          <p:cNvSpPr/>
          <p:nvPr/>
        </p:nvSpPr>
        <p:spPr>
          <a:xfrm>
            <a:off x="973955" y="1113784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24" name="Picture 14">
            <a:extLst>
              <a:ext uri="{FF2B5EF4-FFF2-40B4-BE49-F238E27FC236}">
                <a16:creationId xmlns:a16="http://schemas.microsoft.com/office/drawing/2014/main" id="{A43D11AF-DB93-B690-D43C-445E4E485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837" y="1218825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25" name="Picture 14">
            <a:extLst>
              <a:ext uri="{FF2B5EF4-FFF2-40B4-BE49-F238E27FC236}">
                <a16:creationId xmlns:a16="http://schemas.microsoft.com/office/drawing/2014/main" id="{2C4B7F97-6005-6B01-4D76-FF984B633D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547" y="1219661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26" name="Picture 14">
            <a:extLst>
              <a:ext uri="{FF2B5EF4-FFF2-40B4-BE49-F238E27FC236}">
                <a16:creationId xmlns:a16="http://schemas.microsoft.com/office/drawing/2014/main" id="{1D35334D-BECB-7634-83F1-7C53ADD93A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808" y="1218825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0F17CD6C-1812-E614-2C72-6BDFB6CD9EB5}"/>
              </a:ext>
            </a:extLst>
          </p:cNvPr>
          <p:cNvSpPr/>
          <p:nvPr/>
        </p:nvSpPr>
        <p:spPr>
          <a:xfrm>
            <a:off x="3345390" y="1110506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28" name="Picture 14">
            <a:extLst>
              <a:ext uri="{FF2B5EF4-FFF2-40B4-BE49-F238E27FC236}">
                <a16:creationId xmlns:a16="http://schemas.microsoft.com/office/drawing/2014/main" id="{690FE750-0DA9-39E1-A550-C671923A5C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272" y="1215547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29" name="Picture 14">
            <a:extLst>
              <a:ext uri="{FF2B5EF4-FFF2-40B4-BE49-F238E27FC236}">
                <a16:creationId xmlns:a16="http://schemas.microsoft.com/office/drawing/2014/main" id="{B467FC60-4534-FBF1-1EC2-F66A5E849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982" y="1216383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30" name="Picture 14">
            <a:extLst>
              <a:ext uri="{FF2B5EF4-FFF2-40B4-BE49-F238E27FC236}">
                <a16:creationId xmlns:a16="http://schemas.microsoft.com/office/drawing/2014/main" id="{721A43B0-0B0C-2389-C0D7-050C973852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243" y="1215547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31" name="Rectangle 130">
            <a:extLst>
              <a:ext uri="{FF2B5EF4-FFF2-40B4-BE49-F238E27FC236}">
                <a16:creationId xmlns:a16="http://schemas.microsoft.com/office/drawing/2014/main" id="{28BA7FC5-F5EA-8EB3-5432-E5E2600B61E7}"/>
              </a:ext>
            </a:extLst>
          </p:cNvPr>
          <p:cNvSpPr/>
          <p:nvPr/>
        </p:nvSpPr>
        <p:spPr>
          <a:xfrm>
            <a:off x="5621155" y="1109198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32" name="Picture 14">
            <a:extLst>
              <a:ext uri="{FF2B5EF4-FFF2-40B4-BE49-F238E27FC236}">
                <a16:creationId xmlns:a16="http://schemas.microsoft.com/office/drawing/2014/main" id="{207B3B32-1EA1-F07E-4B9A-63FA74EBE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037" y="1214239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33" name="Picture 14">
            <a:extLst>
              <a:ext uri="{FF2B5EF4-FFF2-40B4-BE49-F238E27FC236}">
                <a16:creationId xmlns:a16="http://schemas.microsoft.com/office/drawing/2014/main" id="{337B8C4B-1A68-CC84-865F-DB2579E0D5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9747" y="1215075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34" name="Picture 14">
            <a:extLst>
              <a:ext uri="{FF2B5EF4-FFF2-40B4-BE49-F238E27FC236}">
                <a16:creationId xmlns:a16="http://schemas.microsoft.com/office/drawing/2014/main" id="{0F340167-09AD-CB4A-2D51-DBFDAA169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008" y="1214239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35" name="Left Arrow 134">
            <a:extLst>
              <a:ext uri="{FF2B5EF4-FFF2-40B4-BE49-F238E27FC236}">
                <a16:creationId xmlns:a16="http://schemas.microsoft.com/office/drawing/2014/main" id="{F6E6258E-DDA9-B422-BC1A-100B142442EF}"/>
              </a:ext>
            </a:extLst>
          </p:cNvPr>
          <p:cNvSpPr/>
          <p:nvPr/>
        </p:nvSpPr>
        <p:spPr>
          <a:xfrm rot="10800000">
            <a:off x="1729217" y="115961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36" name="Left Arrow 135">
            <a:extLst>
              <a:ext uri="{FF2B5EF4-FFF2-40B4-BE49-F238E27FC236}">
                <a16:creationId xmlns:a16="http://schemas.microsoft.com/office/drawing/2014/main" id="{A0A7258D-39DC-39A1-B66F-235B5C94C08D}"/>
              </a:ext>
            </a:extLst>
          </p:cNvPr>
          <p:cNvSpPr/>
          <p:nvPr/>
        </p:nvSpPr>
        <p:spPr>
          <a:xfrm rot="10800000">
            <a:off x="4071621" y="1163302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37" name="Left Arrow 136">
            <a:extLst>
              <a:ext uri="{FF2B5EF4-FFF2-40B4-BE49-F238E27FC236}">
                <a16:creationId xmlns:a16="http://schemas.microsoft.com/office/drawing/2014/main" id="{C67BD3B8-3DC7-4CF7-DBCC-E077862AD93C}"/>
              </a:ext>
            </a:extLst>
          </p:cNvPr>
          <p:cNvSpPr/>
          <p:nvPr/>
        </p:nvSpPr>
        <p:spPr>
          <a:xfrm rot="10800000">
            <a:off x="6349885" y="1168959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38" name="Picture 14">
            <a:extLst>
              <a:ext uri="{FF2B5EF4-FFF2-40B4-BE49-F238E27FC236}">
                <a16:creationId xmlns:a16="http://schemas.microsoft.com/office/drawing/2014/main" id="{DD808EC9-97A9-8A51-B4E8-E1777951E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606" y="1186675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139" name="Picture 14">
            <a:extLst>
              <a:ext uri="{FF2B5EF4-FFF2-40B4-BE49-F238E27FC236}">
                <a16:creationId xmlns:a16="http://schemas.microsoft.com/office/drawing/2014/main" id="{26B27BFF-6568-A3BE-3947-7950AC7D4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8342" y="1180522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140" name="Picture 14">
            <a:extLst>
              <a:ext uri="{FF2B5EF4-FFF2-40B4-BE49-F238E27FC236}">
                <a16:creationId xmlns:a16="http://schemas.microsoft.com/office/drawing/2014/main" id="{BF4C327E-5A8C-D742-1E15-CE7A88E71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700" y="1171058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543F683-5455-A3BA-0E4B-B887CB3D7F87}"/>
              </a:ext>
            </a:extLst>
          </p:cNvPr>
          <p:cNvSpPr txBox="1"/>
          <p:nvPr/>
        </p:nvSpPr>
        <p:spPr>
          <a:xfrm>
            <a:off x="2310406" y="1224909"/>
            <a:ext cx="2664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8DA4B5-3523-2B5B-0D98-83839101263F}"/>
              </a:ext>
            </a:extLst>
          </p:cNvPr>
          <p:cNvSpPr txBox="1"/>
          <p:nvPr/>
        </p:nvSpPr>
        <p:spPr>
          <a:xfrm>
            <a:off x="4658683" y="1250678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C9DD94-B146-1B57-667C-75030D585C46}"/>
              </a:ext>
            </a:extLst>
          </p:cNvPr>
          <p:cNvSpPr txBox="1"/>
          <p:nvPr/>
        </p:nvSpPr>
        <p:spPr>
          <a:xfrm>
            <a:off x="6945388" y="1250678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753121E-21C6-6D35-2330-BDC7B102B24F}"/>
              </a:ext>
            </a:extLst>
          </p:cNvPr>
          <p:cNvGrpSpPr/>
          <p:nvPr/>
        </p:nvGrpSpPr>
        <p:grpSpPr>
          <a:xfrm>
            <a:off x="1062045" y="2563790"/>
            <a:ext cx="467126" cy="315461"/>
            <a:chOff x="1062045" y="2563790"/>
            <a:chExt cx="467126" cy="315461"/>
          </a:xfrm>
        </p:grpSpPr>
        <p:pic>
          <p:nvPicPr>
            <p:cNvPr id="16" name="Picture 14">
              <a:extLst>
                <a:ext uri="{FF2B5EF4-FFF2-40B4-BE49-F238E27FC236}">
                  <a16:creationId xmlns:a16="http://schemas.microsoft.com/office/drawing/2014/main" id="{E6D941BF-66FF-0C61-4FF9-F9E339E98E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045" y="2563790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201ECD2-C9AE-5A19-AE7A-0C14A7259078}"/>
                </a:ext>
              </a:extLst>
            </p:cNvPr>
            <p:cNvSpPr txBox="1"/>
            <p:nvPr/>
          </p:nvSpPr>
          <p:spPr>
            <a:xfrm>
              <a:off x="1262751" y="2617641"/>
              <a:ext cx="2664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1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558307C-B33D-D6B4-9DEA-E5BD525AECF6}"/>
              </a:ext>
            </a:extLst>
          </p:cNvPr>
          <p:cNvGrpSpPr/>
          <p:nvPr/>
        </p:nvGrpSpPr>
        <p:grpSpPr>
          <a:xfrm>
            <a:off x="3340878" y="2608669"/>
            <a:ext cx="495615" cy="331766"/>
            <a:chOff x="3340878" y="2608669"/>
            <a:chExt cx="495615" cy="331766"/>
          </a:xfrm>
        </p:grpSpPr>
        <p:pic>
          <p:nvPicPr>
            <p:cNvPr id="29" name="Picture 14">
              <a:extLst>
                <a:ext uri="{FF2B5EF4-FFF2-40B4-BE49-F238E27FC236}">
                  <a16:creationId xmlns:a16="http://schemas.microsoft.com/office/drawing/2014/main" id="{3CF7AD9D-E196-9141-B60C-9914DD4F8A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0878" y="2608669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45F212A-C420-0447-EF5F-979212543B2D}"/>
                </a:ext>
              </a:extLst>
            </p:cNvPr>
            <p:cNvSpPr txBox="1"/>
            <p:nvPr/>
          </p:nvSpPr>
          <p:spPr>
            <a:xfrm>
              <a:off x="3541219" y="2678825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035703B-B9E6-06DE-9BCF-A90C0742BFE0}"/>
              </a:ext>
            </a:extLst>
          </p:cNvPr>
          <p:cNvGrpSpPr/>
          <p:nvPr/>
        </p:nvGrpSpPr>
        <p:grpSpPr>
          <a:xfrm>
            <a:off x="5522223" y="2620253"/>
            <a:ext cx="504056" cy="325613"/>
            <a:chOff x="5522223" y="2620253"/>
            <a:chExt cx="504056" cy="325613"/>
          </a:xfrm>
        </p:grpSpPr>
        <p:pic>
          <p:nvPicPr>
            <p:cNvPr id="39" name="Picture 14">
              <a:extLst>
                <a:ext uri="{FF2B5EF4-FFF2-40B4-BE49-F238E27FC236}">
                  <a16:creationId xmlns:a16="http://schemas.microsoft.com/office/drawing/2014/main" id="{CD011DE1-76B3-EDA5-9C49-9A2367FAC2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223" y="2620253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0371014-1536-C21A-763E-F1BD53D35E0E}"/>
                </a:ext>
              </a:extLst>
            </p:cNvPr>
            <p:cNvSpPr txBox="1"/>
            <p:nvPr/>
          </p:nvSpPr>
          <p:spPr>
            <a:xfrm>
              <a:off x="5731005" y="2684256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3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785D770-3910-3814-4245-7DC96055B7B4}"/>
              </a:ext>
            </a:extLst>
          </p:cNvPr>
          <p:cNvGrpSpPr/>
          <p:nvPr/>
        </p:nvGrpSpPr>
        <p:grpSpPr>
          <a:xfrm>
            <a:off x="1495545" y="2566346"/>
            <a:ext cx="467126" cy="315461"/>
            <a:chOff x="1062045" y="2563790"/>
            <a:chExt cx="467126" cy="315461"/>
          </a:xfrm>
        </p:grpSpPr>
        <p:pic>
          <p:nvPicPr>
            <p:cNvPr id="67" name="Picture 14">
              <a:extLst>
                <a:ext uri="{FF2B5EF4-FFF2-40B4-BE49-F238E27FC236}">
                  <a16:creationId xmlns:a16="http://schemas.microsoft.com/office/drawing/2014/main" id="{2233B6B8-CCDC-F738-9C14-71C18AFC06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045" y="2563790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8931F7B-5233-077E-41CA-E7706FC62856}"/>
                </a:ext>
              </a:extLst>
            </p:cNvPr>
            <p:cNvSpPr txBox="1"/>
            <p:nvPr/>
          </p:nvSpPr>
          <p:spPr>
            <a:xfrm>
              <a:off x="1262751" y="2617641"/>
              <a:ext cx="2664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1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7D1539B-A167-759E-F4E8-838A41880451}"/>
              </a:ext>
            </a:extLst>
          </p:cNvPr>
          <p:cNvGrpSpPr/>
          <p:nvPr/>
        </p:nvGrpSpPr>
        <p:grpSpPr>
          <a:xfrm>
            <a:off x="1929045" y="2568902"/>
            <a:ext cx="467126" cy="315461"/>
            <a:chOff x="1062045" y="2563790"/>
            <a:chExt cx="467126" cy="315461"/>
          </a:xfrm>
        </p:grpSpPr>
        <p:pic>
          <p:nvPicPr>
            <p:cNvPr id="75" name="Picture 14">
              <a:extLst>
                <a:ext uri="{FF2B5EF4-FFF2-40B4-BE49-F238E27FC236}">
                  <a16:creationId xmlns:a16="http://schemas.microsoft.com/office/drawing/2014/main" id="{86359041-DF8B-4502-41F8-5B0CA33B4E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045" y="2563790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9E75F18-C7B6-0FB1-4F0C-35A883FE54F2}"/>
                </a:ext>
              </a:extLst>
            </p:cNvPr>
            <p:cNvSpPr txBox="1"/>
            <p:nvPr/>
          </p:nvSpPr>
          <p:spPr>
            <a:xfrm>
              <a:off x="1262751" y="2617641"/>
              <a:ext cx="2664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1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321546D-2A4A-0E15-77D4-6D404D8D96B8}"/>
              </a:ext>
            </a:extLst>
          </p:cNvPr>
          <p:cNvGrpSpPr/>
          <p:nvPr/>
        </p:nvGrpSpPr>
        <p:grpSpPr>
          <a:xfrm>
            <a:off x="3789026" y="2601249"/>
            <a:ext cx="495615" cy="331766"/>
            <a:chOff x="3340878" y="2608669"/>
            <a:chExt cx="495615" cy="331766"/>
          </a:xfrm>
        </p:grpSpPr>
        <p:pic>
          <p:nvPicPr>
            <p:cNvPr id="84" name="Picture 14">
              <a:extLst>
                <a:ext uri="{FF2B5EF4-FFF2-40B4-BE49-F238E27FC236}">
                  <a16:creationId xmlns:a16="http://schemas.microsoft.com/office/drawing/2014/main" id="{AB29AB13-DED7-DD19-CF35-C700B1E4DF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0878" y="2608669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D5B5AEC-4A25-1EAA-EC7E-C116F8D6DFF2}"/>
                </a:ext>
              </a:extLst>
            </p:cNvPr>
            <p:cNvSpPr txBox="1"/>
            <p:nvPr/>
          </p:nvSpPr>
          <p:spPr>
            <a:xfrm>
              <a:off x="3541219" y="2678825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46AF465-0271-7870-19F1-491A1610F5F8}"/>
              </a:ext>
            </a:extLst>
          </p:cNvPr>
          <p:cNvGrpSpPr/>
          <p:nvPr/>
        </p:nvGrpSpPr>
        <p:grpSpPr>
          <a:xfrm>
            <a:off x="4237174" y="2593829"/>
            <a:ext cx="495615" cy="331766"/>
            <a:chOff x="3340878" y="2608669"/>
            <a:chExt cx="495615" cy="331766"/>
          </a:xfrm>
        </p:grpSpPr>
        <p:pic>
          <p:nvPicPr>
            <p:cNvPr id="88" name="Picture 14">
              <a:extLst>
                <a:ext uri="{FF2B5EF4-FFF2-40B4-BE49-F238E27FC236}">
                  <a16:creationId xmlns:a16="http://schemas.microsoft.com/office/drawing/2014/main" id="{905F24E6-461F-8F13-1EAA-739ACD8FD8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0878" y="2608669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A417AB9-1F0C-C56F-B7EC-5D04229BF009}"/>
                </a:ext>
              </a:extLst>
            </p:cNvPr>
            <p:cNvSpPr txBox="1"/>
            <p:nvPr/>
          </p:nvSpPr>
          <p:spPr>
            <a:xfrm>
              <a:off x="3541219" y="2678825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AE65C5D-4E2F-43F7-A0F9-56D030DB4293}"/>
              </a:ext>
            </a:extLst>
          </p:cNvPr>
          <p:cNvGrpSpPr/>
          <p:nvPr/>
        </p:nvGrpSpPr>
        <p:grpSpPr>
          <a:xfrm>
            <a:off x="5987574" y="2602202"/>
            <a:ext cx="504056" cy="325613"/>
            <a:chOff x="5522223" y="2620253"/>
            <a:chExt cx="504056" cy="325613"/>
          </a:xfrm>
        </p:grpSpPr>
        <p:pic>
          <p:nvPicPr>
            <p:cNvPr id="91" name="Picture 14">
              <a:extLst>
                <a:ext uri="{FF2B5EF4-FFF2-40B4-BE49-F238E27FC236}">
                  <a16:creationId xmlns:a16="http://schemas.microsoft.com/office/drawing/2014/main" id="{92E37E9A-1457-CE8E-44C3-AE8F6F5EB4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223" y="2620253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6FB266A-3D0D-00CE-2003-00953AD334BB}"/>
                </a:ext>
              </a:extLst>
            </p:cNvPr>
            <p:cNvSpPr txBox="1"/>
            <p:nvPr/>
          </p:nvSpPr>
          <p:spPr>
            <a:xfrm>
              <a:off x="5731005" y="2684256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3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29A197FE-0ABE-E240-D3D2-5352CAA0B276}"/>
              </a:ext>
            </a:extLst>
          </p:cNvPr>
          <p:cNvGrpSpPr/>
          <p:nvPr/>
        </p:nvGrpSpPr>
        <p:grpSpPr>
          <a:xfrm>
            <a:off x="6452925" y="2584151"/>
            <a:ext cx="504056" cy="325613"/>
            <a:chOff x="5522223" y="2620253"/>
            <a:chExt cx="504056" cy="325613"/>
          </a:xfrm>
        </p:grpSpPr>
        <p:pic>
          <p:nvPicPr>
            <p:cNvPr id="99" name="Picture 14">
              <a:extLst>
                <a:ext uri="{FF2B5EF4-FFF2-40B4-BE49-F238E27FC236}">
                  <a16:creationId xmlns:a16="http://schemas.microsoft.com/office/drawing/2014/main" id="{E1EE04D7-7866-7832-C654-FDC0EF24B4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223" y="2620253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D07CEE8F-2466-D9C1-89C6-3EC9AA8D1A87}"/>
                </a:ext>
              </a:extLst>
            </p:cNvPr>
            <p:cNvSpPr txBox="1"/>
            <p:nvPr/>
          </p:nvSpPr>
          <p:spPr>
            <a:xfrm>
              <a:off x="5731005" y="2684256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3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10219DE-5047-F5BD-EB1D-C5BA4B2A6D12}"/>
              </a:ext>
            </a:extLst>
          </p:cNvPr>
          <p:cNvSpPr txBox="1"/>
          <p:nvPr/>
        </p:nvSpPr>
        <p:spPr>
          <a:xfrm>
            <a:off x="358665" y="2568920"/>
            <a:ext cx="6623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pies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15" name="Picture 20">
            <a:extLst>
              <a:ext uri="{FF2B5EF4-FFF2-40B4-BE49-F238E27FC236}">
                <a16:creationId xmlns:a16="http://schemas.microsoft.com/office/drawing/2014/main" id="{088A94CD-39FE-CBD4-4E3C-662F9095B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508" y="4955008"/>
            <a:ext cx="502096" cy="45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20">
            <a:extLst>
              <a:ext uri="{FF2B5EF4-FFF2-40B4-BE49-F238E27FC236}">
                <a16:creationId xmlns:a16="http://schemas.microsoft.com/office/drawing/2014/main" id="{60CA33A5-D592-1063-DCEB-661D4207D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450" y="4903123"/>
            <a:ext cx="502096" cy="45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20">
            <a:extLst>
              <a:ext uri="{FF2B5EF4-FFF2-40B4-BE49-F238E27FC236}">
                <a16:creationId xmlns:a16="http://schemas.microsoft.com/office/drawing/2014/main" id="{90BD4CF8-D11F-8E97-8178-6AE837889F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021" y="4877976"/>
            <a:ext cx="502096" cy="45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6">
            <a:extLst>
              <a:ext uri="{FF2B5EF4-FFF2-40B4-BE49-F238E27FC236}">
                <a16:creationId xmlns:a16="http://schemas.microsoft.com/office/drawing/2014/main" id="{F3915AD0-E201-F53D-9A59-E3E72A2CD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228" y="4943489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120" name="Picture 16">
            <a:extLst>
              <a:ext uri="{FF2B5EF4-FFF2-40B4-BE49-F238E27FC236}">
                <a16:creationId xmlns:a16="http://schemas.microsoft.com/office/drawing/2014/main" id="{25AF1770-7E4F-DB83-C874-95D4718C4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407" y="4917558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21" name="Picture 16">
            <a:extLst>
              <a:ext uri="{FF2B5EF4-FFF2-40B4-BE49-F238E27FC236}">
                <a16:creationId xmlns:a16="http://schemas.microsoft.com/office/drawing/2014/main" id="{8B3A8A80-377C-5D99-B97D-A4EBE7BFC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34" y="4891627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142" name="Rounded Rectangle 141">
            <a:extLst>
              <a:ext uri="{FF2B5EF4-FFF2-40B4-BE49-F238E27FC236}">
                <a16:creationId xmlns:a16="http://schemas.microsoft.com/office/drawing/2014/main" id="{3A35F88E-ABDF-C2FB-5153-1737AB7F351F}"/>
              </a:ext>
            </a:extLst>
          </p:cNvPr>
          <p:cNvSpPr/>
          <p:nvPr/>
        </p:nvSpPr>
        <p:spPr>
          <a:xfrm>
            <a:off x="7386526" y="5648365"/>
            <a:ext cx="2133600" cy="641131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Re-start process!</a:t>
            </a:r>
          </a:p>
        </p:txBody>
      </p:sp>
      <p:pic>
        <p:nvPicPr>
          <p:cNvPr id="144" name="Picture 143">
            <a:extLst>
              <a:ext uri="{FF2B5EF4-FFF2-40B4-BE49-F238E27FC236}">
                <a16:creationId xmlns:a16="http://schemas.microsoft.com/office/drawing/2014/main" id="{8DB1EA38-7AC6-415A-0C67-BD094468C0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2352" y="5626129"/>
            <a:ext cx="641131" cy="641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69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24 0.00046 L -0.01029 0.21389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1067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63 -0.00718 L -0.16003 0.20625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526" y="10671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068 -0.00278 L -0.30052 0.20208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492" y="10231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51 0.00371 L 0.13086 0.22454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18" y="11042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2 -0.00625 L -0.0237 0.2132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25" y="10972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72 -0.00579 L -0.17214 0.221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21" y="1134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63 -0.00023 L 0.26967 0.23334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958" y="11667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807 -0.00509 L 0.11367 0.2180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81" y="11157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99 -0.00324 L -0.03581 0.23241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97" y="11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0" dur="2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6" dur="2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3" dur="2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6" dur="2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9" dur="2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7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2" grpId="0" animBg="1"/>
      <p:bldP spid="37" grpId="0" animBg="1"/>
      <p:bldP spid="45" grpId="0" animBg="1"/>
      <p:bldP spid="49" grpId="0" animBg="1"/>
      <p:bldP spid="60" grpId="0" animBg="1"/>
      <p:bldP spid="61" grpId="0" animBg="1"/>
      <p:bldP spid="73" grpId="0" animBg="1"/>
      <p:bldP spid="76" grpId="0"/>
      <p:bldP spid="77" grpId="0"/>
      <p:bldP spid="78" grpId="0"/>
      <p:bldP spid="81" grpId="0" animBg="1"/>
      <p:bldP spid="108" grpId="0" animBg="1"/>
      <p:bldP spid="112" grpId="0" animBg="1"/>
      <p:bldP spid="104" grpId="0"/>
      <p:bldP spid="14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8B0B5-CC2E-6136-BC0C-19E223AAC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8A6D5394-8858-4A16-EA8B-AAFD3A26FB2A}"/>
              </a:ext>
            </a:extLst>
          </p:cNvPr>
          <p:cNvSpPr/>
          <p:nvPr/>
        </p:nvSpPr>
        <p:spPr>
          <a:xfrm>
            <a:off x="495901" y="248500"/>
            <a:ext cx="9884046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3080"/>
              </a:lnSpc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</a:t>
            </a:r>
            <a:r>
              <a:rPr lang="en-US" sz="2400" b="1">
                <a:solidFill>
                  <a:srgbClr val="712AF6"/>
                </a:solidFill>
                <a:latin typeface="Montserrat ExtraBold" panose="00000900000000000000" pitchFamily="2" charset="0"/>
              </a:rPr>
              <a:t>MPC – No accuracy issues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146" name="Picture 145">
            <a:extLst>
              <a:ext uri="{FF2B5EF4-FFF2-40B4-BE49-F238E27FC236}">
                <a16:creationId xmlns:a16="http://schemas.microsoft.com/office/drawing/2014/main" id="{105DAB66-BF2E-1BE9-191B-F8CD2B9E7E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01" y="1423685"/>
            <a:ext cx="7007263" cy="439379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FD43115-C536-4B04-9726-6FE3BDAC73DD}"/>
              </a:ext>
            </a:extLst>
          </p:cNvPr>
          <p:cNvSpPr/>
          <p:nvPr/>
        </p:nvSpPr>
        <p:spPr>
          <a:xfrm>
            <a:off x="5175813" y="1522555"/>
            <a:ext cx="2100686" cy="99542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77A37F3-3750-3F58-1A52-D0C274FEDD6F}"/>
              </a:ext>
            </a:extLst>
          </p:cNvPr>
          <p:cNvCxnSpPr/>
          <p:nvPr/>
        </p:nvCxnSpPr>
        <p:spPr>
          <a:xfrm>
            <a:off x="5465180" y="1858220"/>
            <a:ext cx="578734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E99100-A0AE-BD5F-1AFF-CE07F630B7B3}"/>
              </a:ext>
            </a:extLst>
          </p:cNvPr>
          <p:cNvCxnSpPr/>
          <p:nvPr/>
        </p:nvCxnSpPr>
        <p:spPr>
          <a:xfrm>
            <a:off x="5465180" y="2184241"/>
            <a:ext cx="578734" cy="0"/>
          </a:xfrm>
          <a:prstGeom prst="line">
            <a:avLst/>
          </a:prstGeom>
          <a:ln w="254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F1410E-A44D-361D-606F-250327D9A034}"/>
              </a:ext>
            </a:extLst>
          </p:cNvPr>
          <p:cNvSpPr txBox="1"/>
          <p:nvPr/>
        </p:nvSpPr>
        <p:spPr>
          <a:xfrm>
            <a:off x="6043914" y="1696616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w</a:t>
            </a:r>
            <a:r>
              <a:rPr lang="en-AE" sz="1400">
                <a:solidFill>
                  <a:schemeClr val="bg1"/>
                </a:solidFill>
              </a:rPr>
              <a:t>ith MP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A47839-D1CF-8AF7-F36A-4B3573C46675}"/>
              </a:ext>
            </a:extLst>
          </p:cNvPr>
          <p:cNvSpPr txBox="1"/>
          <p:nvPr/>
        </p:nvSpPr>
        <p:spPr>
          <a:xfrm>
            <a:off x="6058870" y="2006322"/>
            <a:ext cx="8515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baseline</a:t>
            </a:r>
            <a:endParaRPr lang="en-AE" sz="140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91DB36-8F8B-D04B-3F6E-7E30098048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981" y="1879564"/>
            <a:ext cx="2819400" cy="381000"/>
          </a:xfrm>
          <a:prstGeom prst="rect">
            <a:avLst/>
          </a:prstGeom>
        </p:spPr>
      </p:pic>
      <p:sp>
        <p:nvSpPr>
          <p:cNvPr id="18" name="TextBox 29">
            <a:extLst>
              <a:ext uri="{FF2B5EF4-FFF2-40B4-BE49-F238E27FC236}">
                <a16:creationId xmlns:a16="http://schemas.microsoft.com/office/drawing/2014/main" id="{E60B7913-69E0-A24C-FD01-733E8352BA3C}"/>
              </a:ext>
            </a:extLst>
          </p:cNvPr>
          <p:cNvSpPr txBox="1"/>
          <p:nvPr/>
        </p:nvSpPr>
        <p:spPr>
          <a:xfrm>
            <a:off x="8038897" y="1545748"/>
            <a:ext cx="3917514" cy="42102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Zero data exposure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Entities keep full control over their data, no raw data is ever shared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End-to-end cryptographic guarantees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Multi-party computation ensures secured computations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Compliant by design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In line with data protection laws, ensuring legal compliance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No accuracy loss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Maintains accuracy levels, with no degradation from encryp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Modular and scalable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Easily integrates into diverse IT environments and scales across many entitie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DB82972-39BC-B201-256A-D486FC62E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618" y="1567991"/>
            <a:ext cx="461665" cy="4616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4BDA25D-6A2B-7D21-94EE-ED961519B5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6328" y="2385927"/>
            <a:ext cx="461665" cy="46166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141E1C7-0011-FDFF-F6E1-53E4BF8928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618" y="3235765"/>
            <a:ext cx="461665" cy="4616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73E2E79-1325-0D7F-54BA-F4C752435A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1075" y="4053701"/>
            <a:ext cx="461665" cy="46166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6C4661D-557A-2E40-1097-BA137A0544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7148" y="4903539"/>
            <a:ext cx="461665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30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8BDF5-510B-C98F-6825-3695A89A6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BBF0A76C-32A2-5600-B238-7F03596B6197}"/>
              </a:ext>
            </a:extLst>
          </p:cNvPr>
          <p:cNvSpPr/>
          <p:nvPr/>
        </p:nvSpPr>
        <p:spPr>
          <a:xfrm>
            <a:off x="495900" y="248500"/>
            <a:ext cx="10223503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MPC – </a:t>
            </a:r>
            <a:r>
              <a:rPr lang="en-US" sz="2400" b="1" dirty="0">
                <a:solidFill>
                  <a:srgbClr val="712AF6"/>
                </a:solidFill>
                <a:latin typeface="Montserrat ExtraBold" panose="00000900000000000000" pitchFamily="2" charset="0"/>
              </a:rPr>
              <a:t>Optimizing bandwidth (I)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BD574DC-2755-D4CE-BB81-A8ED74E3EEFE}"/>
              </a:ext>
            </a:extLst>
          </p:cNvPr>
          <p:cNvCxnSpPr>
            <a:cxnSpLocks/>
          </p:cNvCxnSpPr>
          <p:nvPr/>
        </p:nvCxnSpPr>
        <p:spPr>
          <a:xfrm flipV="1">
            <a:off x="5870436" y="2775410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16">
            <a:extLst>
              <a:ext uri="{FF2B5EF4-FFF2-40B4-BE49-F238E27FC236}">
                <a16:creationId xmlns:a16="http://schemas.microsoft.com/office/drawing/2014/main" id="{F0B8B631-03C4-B432-B3DA-1C799B42F6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552" y="493415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11A47EED-FECE-86BF-4E3E-F3CF7937C6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3FFB153C-B616-6B23-DFA9-7AB991C424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6724" y="4903626"/>
            <a:ext cx="465050" cy="4658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6A02A570-1E64-FADB-5D90-F56C7E3C8866}"/>
              </a:ext>
            </a:extLst>
          </p:cNvPr>
          <p:cNvSpPr txBox="1"/>
          <p:nvPr/>
        </p:nvSpPr>
        <p:spPr>
          <a:xfrm>
            <a:off x="5667066" y="6259560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D05833-93BA-DDAE-84AB-AB983FBADB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7465" y="1470411"/>
            <a:ext cx="805942" cy="91228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68C935B-E6B9-C5C2-FDA1-09E78EABC054}"/>
              </a:ext>
            </a:extLst>
          </p:cNvPr>
          <p:cNvSpPr/>
          <p:nvPr/>
        </p:nvSpPr>
        <p:spPr>
          <a:xfrm>
            <a:off x="5436631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EDB0375F-C3DF-43AD-9577-5478FF4E7602}"/>
              </a:ext>
            </a:extLst>
          </p:cNvPr>
          <p:cNvSpPr/>
          <p:nvPr/>
        </p:nvSpPr>
        <p:spPr>
          <a:xfrm>
            <a:off x="6081947" y="502050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28C7562-D60B-BB80-FEE7-B040D7F6FE28}"/>
              </a:ext>
            </a:extLst>
          </p:cNvPr>
          <p:cNvCxnSpPr>
            <a:cxnSpLocks/>
          </p:cNvCxnSpPr>
          <p:nvPr/>
        </p:nvCxnSpPr>
        <p:spPr>
          <a:xfrm flipV="1">
            <a:off x="3672989" y="2749479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6">
            <a:extLst>
              <a:ext uri="{FF2B5EF4-FFF2-40B4-BE49-F238E27FC236}">
                <a16:creationId xmlns:a16="http://schemas.microsoft.com/office/drawing/2014/main" id="{A932C3C0-DCDB-0F28-8438-472C300A2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105" y="4908227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C42BC7F9-98CB-3F50-F261-2D84AAB756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5B46216E-7F80-C0C9-2385-38002E0A17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9277" y="4877695"/>
            <a:ext cx="465050" cy="465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90EF982-49D6-1099-FCFF-49C8494869FE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362FFF7-D4A2-F7D5-83F1-66DD4C912BCA}"/>
              </a:ext>
            </a:extLst>
          </p:cNvPr>
          <p:cNvSpPr/>
          <p:nvPr/>
        </p:nvSpPr>
        <p:spPr>
          <a:xfrm>
            <a:off x="3239184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ECEDEF10-F888-F822-3074-0139A621DC79}"/>
              </a:ext>
            </a:extLst>
          </p:cNvPr>
          <p:cNvSpPr/>
          <p:nvPr/>
        </p:nvSpPr>
        <p:spPr>
          <a:xfrm>
            <a:off x="3884500" y="499457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60E3534-C560-3F90-3399-2D8929B3B3CB}"/>
              </a:ext>
            </a:extLst>
          </p:cNvPr>
          <p:cNvCxnSpPr>
            <a:cxnSpLocks/>
          </p:cNvCxnSpPr>
          <p:nvPr/>
        </p:nvCxnSpPr>
        <p:spPr>
          <a:xfrm flipV="1">
            <a:off x="1475542" y="2723548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16">
            <a:extLst>
              <a:ext uri="{FF2B5EF4-FFF2-40B4-BE49-F238E27FC236}">
                <a16:creationId xmlns:a16="http://schemas.microsoft.com/office/drawing/2014/main" id="{6BCED613-6A22-7FD6-0490-8B6A913C5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658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C04F7940-A42E-725D-129B-E56518AB9B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20116DF5-6239-92F0-63BA-CCF4BD36F4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30" y="4851764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EAF174F-35BE-AA18-7D0F-E137F48942C1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6B0F47-D325-0A5D-D486-8C98A73462F3}"/>
              </a:ext>
            </a:extLst>
          </p:cNvPr>
          <p:cNvSpPr/>
          <p:nvPr/>
        </p:nvSpPr>
        <p:spPr>
          <a:xfrm>
            <a:off x="1041737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61379580-B708-96B2-8E52-4167CE527128}"/>
              </a:ext>
            </a:extLst>
          </p:cNvPr>
          <p:cNvSpPr/>
          <p:nvPr/>
        </p:nvSpPr>
        <p:spPr>
          <a:xfrm>
            <a:off x="1687053" y="4968643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78BF22C-8EB5-D70A-20F6-D90038C1E9E9}"/>
              </a:ext>
            </a:extLst>
          </p:cNvPr>
          <p:cNvSpPr txBox="1"/>
          <p:nvPr/>
        </p:nvSpPr>
        <p:spPr>
          <a:xfrm>
            <a:off x="5436631" y="2322895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01DE934-0166-A7E2-11B5-3A4CA56DE94B}"/>
              </a:ext>
            </a:extLst>
          </p:cNvPr>
          <p:cNvSpPr txBox="1"/>
          <p:nvPr/>
        </p:nvSpPr>
        <p:spPr>
          <a:xfrm>
            <a:off x="3239184" y="2296964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91E2242-7F18-4C58-A57D-3E2E3D3E843F}"/>
              </a:ext>
            </a:extLst>
          </p:cNvPr>
          <p:cNvSpPr txBox="1"/>
          <p:nvPr/>
        </p:nvSpPr>
        <p:spPr>
          <a:xfrm>
            <a:off x="1041737" y="2271033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5A4DAEB7-BD7B-66C4-B654-08FE2921B2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3583" y="1484742"/>
            <a:ext cx="805942" cy="91228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DF880759-222B-70F7-177E-44E1008D15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1026" y="1499073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1F2AF49-E769-0690-71E9-01B15AD2E941}"/>
              </a:ext>
            </a:extLst>
          </p:cNvPr>
          <p:cNvCxnSpPr>
            <a:cxnSpLocks/>
          </p:cNvCxnSpPr>
          <p:nvPr/>
        </p:nvCxnSpPr>
        <p:spPr>
          <a:xfrm flipH="1" flipV="1">
            <a:off x="3834195" y="2775410"/>
            <a:ext cx="1903772" cy="141484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76461F09-EA3E-2791-9FFC-EFF82EC1A815}"/>
              </a:ext>
            </a:extLst>
          </p:cNvPr>
          <p:cNvSpPr txBox="1"/>
          <p:nvPr/>
        </p:nvSpPr>
        <p:spPr>
          <a:xfrm>
            <a:off x="2001461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A792170-3A79-A95D-BCE2-3890AA63F0B2}"/>
              </a:ext>
            </a:extLst>
          </p:cNvPr>
          <p:cNvSpPr txBox="1"/>
          <p:nvPr/>
        </p:nvSpPr>
        <p:spPr>
          <a:xfrm>
            <a:off x="4243503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5495E71-394C-4936-6C2F-746322ECF23D}"/>
              </a:ext>
            </a:extLst>
          </p:cNvPr>
          <p:cNvSpPr txBox="1"/>
          <p:nvPr/>
        </p:nvSpPr>
        <p:spPr>
          <a:xfrm>
            <a:off x="6426724" y="5317605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68B48113-1F46-1AEE-F527-9CCB94EAC12C}"/>
              </a:ext>
            </a:extLst>
          </p:cNvPr>
          <p:cNvSpPr/>
          <p:nvPr/>
        </p:nvSpPr>
        <p:spPr>
          <a:xfrm rot="5400000">
            <a:off x="5635313" y="44920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7EC68439-7857-BB52-359A-F1FA452420B7}"/>
              </a:ext>
            </a:extLst>
          </p:cNvPr>
          <p:cNvCxnSpPr>
            <a:cxnSpLocks/>
          </p:cNvCxnSpPr>
          <p:nvPr/>
        </p:nvCxnSpPr>
        <p:spPr>
          <a:xfrm flipH="1" flipV="1">
            <a:off x="1802797" y="2754974"/>
            <a:ext cx="3758558" cy="1436176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DAB21748-4F17-6789-3956-A533D99B9C3E}"/>
              </a:ext>
            </a:extLst>
          </p:cNvPr>
          <p:cNvCxnSpPr>
            <a:cxnSpLocks/>
          </p:cNvCxnSpPr>
          <p:nvPr/>
        </p:nvCxnSpPr>
        <p:spPr>
          <a:xfrm flipV="1">
            <a:off x="3821439" y="2775410"/>
            <a:ext cx="1916528" cy="134800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06595CFE-F9FD-A792-3987-1CE13ADD319F}"/>
              </a:ext>
            </a:extLst>
          </p:cNvPr>
          <p:cNvCxnSpPr>
            <a:cxnSpLocks/>
          </p:cNvCxnSpPr>
          <p:nvPr/>
        </p:nvCxnSpPr>
        <p:spPr>
          <a:xfrm flipH="1" flipV="1">
            <a:off x="1594526" y="2763737"/>
            <a:ext cx="1955142" cy="1362018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74E0256B-91D7-79B8-FA07-A58876B96613}"/>
              </a:ext>
            </a:extLst>
          </p:cNvPr>
          <p:cNvCxnSpPr>
            <a:cxnSpLocks/>
          </p:cNvCxnSpPr>
          <p:nvPr/>
        </p:nvCxnSpPr>
        <p:spPr>
          <a:xfrm flipV="1">
            <a:off x="1623992" y="2775410"/>
            <a:ext cx="1925676" cy="133176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8ECEC85A-558C-DB72-B1CD-D947A2C7AF94}"/>
              </a:ext>
            </a:extLst>
          </p:cNvPr>
          <p:cNvSpPr/>
          <p:nvPr/>
        </p:nvSpPr>
        <p:spPr>
          <a:xfrm rot="5400000">
            <a:off x="3537070" y="446661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AC059D26-1914-67AF-3DC0-2640FAEEBDE7}"/>
              </a:ext>
            </a:extLst>
          </p:cNvPr>
          <p:cNvSpPr/>
          <p:nvPr/>
        </p:nvSpPr>
        <p:spPr>
          <a:xfrm rot="5400000">
            <a:off x="1331036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4703A765-67DB-D943-0D4B-A9B79D31DA8E}"/>
              </a:ext>
            </a:extLst>
          </p:cNvPr>
          <p:cNvSpPr/>
          <p:nvPr/>
        </p:nvSpPr>
        <p:spPr>
          <a:xfrm>
            <a:off x="7386525" y="3094922"/>
            <a:ext cx="2500394" cy="12908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1 share per parameter and aggregator? </a:t>
            </a:r>
          </a:p>
          <a:p>
            <a:pPr algn="ctr"/>
            <a:endParaRPr lang="en-AE" sz="1600">
              <a:solidFill>
                <a:schemeClr val="accent1"/>
              </a:solidFill>
            </a:endParaRPr>
          </a:p>
          <a:p>
            <a:pPr algn="ctr"/>
            <a:r>
              <a:rPr lang="en-AE" sz="2800">
                <a:solidFill>
                  <a:schemeClr val="accent1"/>
                </a:solidFill>
              </a:rPr>
              <a:t>😰</a:t>
            </a:r>
            <a:endParaRPr lang="en-AE" sz="1600">
              <a:solidFill>
                <a:schemeClr val="accent1"/>
              </a:solidFill>
            </a:endParaRP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F0F382C3-1695-40D6-B6DC-9151173158FC}"/>
              </a:ext>
            </a:extLst>
          </p:cNvPr>
          <p:cNvCxnSpPr>
            <a:cxnSpLocks/>
          </p:cNvCxnSpPr>
          <p:nvPr/>
        </p:nvCxnSpPr>
        <p:spPr>
          <a:xfrm flipV="1">
            <a:off x="1820507" y="2794198"/>
            <a:ext cx="3616124" cy="1327646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B1758206-8503-68D4-A10D-67F1614AC05C}"/>
              </a:ext>
            </a:extLst>
          </p:cNvPr>
          <p:cNvSpPr txBox="1"/>
          <p:nvPr/>
        </p:nvSpPr>
        <p:spPr>
          <a:xfrm>
            <a:off x="368959" y="3992577"/>
            <a:ext cx="81624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iffer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rand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shares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F676556-F4E9-8B6B-F513-34F20C3326FE}"/>
              </a:ext>
            </a:extLst>
          </p:cNvPr>
          <p:cNvGrpSpPr/>
          <p:nvPr/>
        </p:nvGrpSpPr>
        <p:grpSpPr>
          <a:xfrm>
            <a:off x="1709959" y="4206536"/>
            <a:ext cx="357180" cy="229696"/>
            <a:chOff x="1709959" y="4206536"/>
            <a:chExt cx="357180" cy="229696"/>
          </a:xfrm>
        </p:grpSpPr>
        <p:pic>
          <p:nvPicPr>
            <p:cNvPr id="111" name="Picture 14">
              <a:extLst>
                <a:ext uri="{FF2B5EF4-FFF2-40B4-BE49-F238E27FC236}">
                  <a16:creationId xmlns:a16="http://schemas.microsoft.com/office/drawing/2014/main" id="{C23F2D6A-4D1C-9CD6-E271-0F1EBEF221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9959" y="4206536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2046E94-D0A7-2185-1B42-D1F35550877F}"/>
                </a:ext>
              </a:extLst>
            </p:cNvPr>
            <p:cNvSpPr txBox="1"/>
            <p:nvPr/>
          </p:nvSpPr>
          <p:spPr>
            <a:xfrm>
              <a:off x="1811941" y="4236177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47DCF0C-5567-9795-91A2-B3F1DBC04D53}"/>
              </a:ext>
            </a:extLst>
          </p:cNvPr>
          <p:cNvGrpSpPr/>
          <p:nvPr/>
        </p:nvGrpSpPr>
        <p:grpSpPr>
          <a:xfrm>
            <a:off x="1422601" y="4201550"/>
            <a:ext cx="350391" cy="228697"/>
            <a:chOff x="1422601" y="4201550"/>
            <a:chExt cx="350391" cy="228697"/>
          </a:xfrm>
        </p:grpSpPr>
        <p:pic>
          <p:nvPicPr>
            <p:cNvPr id="110" name="Picture 14">
              <a:extLst>
                <a:ext uri="{FF2B5EF4-FFF2-40B4-BE49-F238E27FC236}">
                  <a16:creationId xmlns:a16="http://schemas.microsoft.com/office/drawing/2014/main" id="{004C547E-3E63-8A33-CA62-BAFC2EFC4C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2601" y="4201550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B572364-FBC7-CB7B-7C50-27EDB1E44BF3}"/>
                </a:ext>
              </a:extLst>
            </p:cNvPr>
            <p:cNvSpPr txBox="1"/>
            <p:nvPr/>
          </p:nvSpPr>
          <p:spPr>
            <a:xfrm>
              <a:off x="1517794" y="4230192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EB3CE20-01BC-63E7-DF03-502318402FF2}"/>
              </a:ext>
            </a:extLst>
          </p:cNvPr>
          <p:cNvGrpSpPr/>
          <p:nvPr/>
        </p:nvGrpSpPr>
        <p:grpSpPr>
          <a:xfrm>
            <a:off x="1133225" y="4206536"/>
            <a:ext cx="326384" cy="217726"/>
            <a:chOff x="1133225" y="4206536"/>
            <a:chExt cx="326384" cy="217726"/>
          </a:xfrm>
        </p:grpSpPr>
        <p:pic>
          <p:nvPicPr>
            <p:cNvPr id="109" name="Picture 14">
              <a:extLst>
                <a:ext uri="{FF2B5EF4-FFF2-40B4-BE49-F238E27FC236}">
                  <a16:creationId xmlns:a16="http://schemas.microsoft.com/office/drawing/2014/main" id="{29F7DF76-5B80-8E67-96C8-AB6C522925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3225" y="4206536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C5AE493-303F-9F78-BEFA-DFA6E7FF6C3A}"/>
                </a:ext>
              </a:extLst>
            </p:cNvPr>
            <p:cNvSpPr txBox="1"/>
            <p:nvPr/>
          </p:nvSpPr>
          <p:spPr>
            <a:xfrm>
              <a:off x="1223647" y="4224207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604F45-75F7-FD41-2ED1-15E447D477A1}"/>
              </a:ext>
            </a:extLst>
          </p:cNvPr>
          <p:cNvGrpSpPr/>
          <p:nvPr/>
        </p:nvGrpSpPr>
        <p:grpSpPr>
          <a:xfrm>
            <a:off x="3628635" y="4238958"/>
            <a:ext cx="363828" cy="236990"/>
            <a:chOff x="3628635" y="4238958"/>
            <a:chExt cx="363828" cy="236990"/>
          </a:xfrm>
        </p:grpSpPr>
        <p:pic>
          <p:nvPicPr>
            <p:cNvPr id="106" name="Picture 14">
              <a:extLst>
                <a:ext uri="{FF2B5EF4-FFF2-40B4-BE49-F238E27FC236}">
                  <a16:creationId xmlns:a16="http://schemas.microsoft.com/office/drawing/2014/main" id="{572CDDE4-5B05-3986-5AA9-ED881CB27C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8635" y="423895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5E1A35-5D09-C742-1199-381BB28F1CED}"/>
                </a:ext>
              </a:extLst>
            </p:cNvPr>
            <p:cNvSpPr txBox="1"/>
            <p:nvPr/>
          </p:nvSpPr>
          <p:spPr>
            <a:xfrm>
              <a:off x="3737265" y="4275893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8EA9D83-5E66-5356-7C6E-F0E35D3B5D5A}"/>
              </a:ext>
            </a:extLst>
          </p:cNvPr>
          <p:cNvGrpSpPr/>
          <p:nvPr/>
        </p:nvGrpSpPr>
        <p:grpSpPr>
          <a:xfrm>
            <a:off x="3916838" y="4238958"/>
            <a:ext cx="361877" cy="229725"/>
            <a:chOff x="3916838" y="4238958"/>
            <a:chExt cx="361877" cy="229725"/>
          </a:xfrm>
        </p:grpSpPr>
        <p:pic>
          <p:nvPicPr>
            <p:cNvPr id="107" name="Picture 14">
              <a:extLst>
                <a:ext uri="{FF2B5EF4-FFF2-40B4-BE49-F238E27FC236}">
                  <a16:creationId xmlns:a16="http://schemas.microsoft.com/office/drawing/2014/main" id="{711AD93E-D264-D3DC-75BA-102502C5D5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838" y="423895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D3F9901-83F3-6BC5-8559-043B051721AE}"/>
                </a:ext>
              </a:extLst>
            </p:cNvPr>
            <p:cNvSpPr txBox="1"/>
            <p:nvPr/>
          </p:nvSpPr>
          <p:spPr>
            <a:xfrm>
              <a:off x="4023517" y="4268628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54EE918-AE87-B38B-BF1A-6803D70F15B0}"/>
              </a:ext>
            </a:extLst>
          </p:cNvPr>
          <p:cNvGrpSpPr/>
          <p:nvPr/>
        </p:nvGrpSpPr>
        <p:grpSpPr>
          <a:xfrm>
            <a:off x="3349198" y="4246348"/>
            <a:ext cx="342638" cy="233218"/>
            <a:chOff x="3349198" y="4246348"/>
            <a:chExt cx="342638" cy="233218"/>
          </a:xfrm>
        </p:grpSpPr>
        <p:pic>
          <p:nvPicPr>
            <p:cNvPr id="105" name="Picture 14">
              <a:extLst>
                <a:ext uri="{FF2B5EF4-FFF2-40B4-BE49-F238E27FC236}">
                  <a16:creationId xmlns:a16="http://schemas.microsoft.com/office/drawing/2014/main" id="{5F8E9315-3E09-72AF-E6CA-C0AACAA948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198" y="424634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9399A73-4C0C-843D-62A0-45D8D6CD3E34}"/>
                </a:ext>
              </a:extLst>
            </p:cNvPr>
            <p:cNvSpPr txBox="1"/>
            <p:nvPr/>
          </p:nvSpPr>
          <p:spPr>
            <a:xfrm>
              <a:off x="3455874" y="4279511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0097A51-9F4D-47EB-6885-E6013574C4DA}"/>
              </a:ext>
            </a:extLst>
          </p:cNvPr>
          <p:cNvGrpSpPr/>
          <p:nvPr/>
        </p:nvGrpSpPr>
        <p:grpSpPr>
          <a:xfrm>
            <a:off x="5726878" y="4264394"/>
            <a:ext cx="353655" cy="235933"/>
            <a:chOff x="5726878" y="4264394"/>
            <a:chExt cx="353655" cy="235933"/>
          </a:xfrm>
        </p:grpSpPr>
        <p:pic>
          <p:nvPicPr>
            <p:cNvPr id="79" name="Picture 14">
              <a:extLst>
                <a:ext uri="{FF2B5EF4-FFF2-40B4-BE49-F238E27FC236}">
                  <a16:creationId xmlns:a16="http://schemas.microsoft.com/office/drawing/2014/main" id="{DA220141-3620-6155-AFA1-592A2781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6878" y="4264394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A39E38B-0637-62B8-C065-34353EDD4FD3}"/>
                </a:ext>
              </a:extLst>
            </p:cNvPr>
            <p:cNvSpPr txBox="1"/>
            <p:nvPr/>
          </p:nvSpPr>
          <p:spPr>
            <a:xfrm>
              <a:off x="5825335" y="4300272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84BE668-F375-CCC5-5FD4-0D4408EBD486}"/>
              </a:ext>
            </a:extLst>
          </p:cNvPr>
          <p:cNvGrpSpPr/>
          <p:nvPr/>
        </p:nvGrpSpPr>
        <p:grpSpPr>
          <a:xfrm>
            <a:off x="6026417" y="4260468"/>
            <a:ext cx="374589" cy="232246"/>
            <a:chOff x="6026417" y="4260468"/>
            <a:chExt cx="374589" cy="232246"/>
          </a:xfrm>
        </p:grpSpPr>
        <p:pic>
          <p:nvPicPr>
            <p:cNvPr id="80" name="Picture 14">
              <a:extLst>
                <a:ext uri="{FF2B5EF4-FFF2-40B4-BE49-F238E27FC236}">
                  <a16:creationId xmlns:a16="http://schemas.microsoft.com/office/drawing/2014/main" id="{0976CBEB-3B3E-E821-E67A-D9DE32E69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417" y="4260468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00933BC-0EA0-4995-13C5-D3D9B83CECA1}"/>
                </a:ext>
              </a:extLst>
            </p:cNvPr>
            <p:cNvSpPr txBox="1"/>
            <p:nvPr/>
          </p:nvSpPr>
          <p:spPr>
            <a:xfrm>
              <a:off x="6145808" y="4292659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DFA114C-38CA-F2F0-C6E2-AC78E632B002}"/>
              </a:ext>
            </a:extLst>
          </p:cNvPr>
          <p:cNvGrpSpPr/>
          <p:nvPr/>
        </p:nvGrpSpPr>
        <p:grpSpPr>
          <a:xfrm>
            <a:off x="5434891" y="4267080"/>
            <a:ext cx="343254" cy="236752"/>
            <a:chOff x="5396387" y="4267080"/>
            <a:chExt cx="343254" cy="236752"/>
          </a:xfrm>
        </p:grpSpPr>
        <p:pic>
          <p:nvPicPr>
            <p:cNvPr id="74" name="Picture 14">
              <a:extLst>
                <a:ext uri="{FF2B5EF4-FFF2-40B4-BE49-F238E27FC236}">
                  <a16:creationId xmlns:a16="http://schemas.microsoft.com/office/drawing/2014/main" id="{5C797B28-78B1-0E4D-E739-D30A9D3DDB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6387" y="4267080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5936D19-CABA-58CC-D3E2-078528AEF11D}"/>
                </a:ext>
              </a:extLst>
            </p:cNvPr>
            <p:cNvSpPr txBox="1"/>
            <p:nvPr/>
          </p:nvSpPr>
          <p:spPr>
            <a:xfrm>
              <a:off x="5503679" y="4303777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720C4478-DF03-C725-F322-17D02F1C06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771" y="4010677"/>
            <a:ext cx="277467" cy="27746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2C2CD6A-D6D2-C23F-EAA1-BD0AAFEE86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155" y="4002213"/>
            <a:ext cx="277467" cy="27746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61E330-F4A7-B145-EBE6-DD944A99F7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614" y="4030174"/>
            <a:ext cx="277467" cy="27746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E4B08C2-286A-BC21-A73F-FDCC54F21F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855" y="4007434"/>
            <a:ext cx="277467" cy="27746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9AFF3F2-F3D8-A5FA-A771-DCF530F1BC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879" y="4036853"/>
            <a:ext cx="277467" cy="27746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27D2E34-5734-209B-5B81-17300444DE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9233" y="4024780"/>
            <a:ext cx="277467" cy="27746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4B601E4-C355-4AB4-2B72-D4168416BC7B}"/>
              </a:ext>
            </a:extLst>
          </p:cNvPr>
          <p:cNvSpPr/>
          <p:nvPr/>
        </p:nvSpPr>
        <p:spPr>
          <a:xfrm>
            <a:off x="1820507" y="1885148"/>
            <a:ext cx="395692" cy="3006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PR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B022C3-BA54-BC68-A59B-CEC4118A6C78}"/>
              </a:ext>
            </a:extLst>
          </p:cNvPr>
          <p:cNvSpPr/>
          <p:nvPr/>
        </p:nvSpPr>
        <p:spPr>
          <a:xfrm>
            <a:off x="4134012" y="1902194"/>
            <a:ext cx="395692" cy="3006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PRN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1BD7A52-8268-95C7-EACE-CDB1EB033161}"/>
              </a:ext>
            </a:extLst>
          </p:cNvPr>
          <p:cNvSpPr/>
          <p:nvPr/>
        </p:nvSpPr>
        <p:spPr>
          <a:xfrm>
            <a:off x="6284558" y="1919972"/>
            <a:ext cx="395692" cy="3006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PRNG</a:t>
            </a:r>
          </a:p>
        </p:txBody>
      </p:sp>
    </p:spTree>
    <p:extLst>
      <p:ext uri="{BB962C8B-B14F-4D97-AF65-F5344CB8AC3E}">
        <p14:creationId xmlns:p14="http://schemas.microsoft.com/office/powerpoint/2010/main" val="962621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fill="hold" nodeType="click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924 -0.00324 L -0.00924 -0.24005 " pathEditMode="relative" ptsTypes="AA">
                                      <p:cBhvr>
                                        <p:cTn id="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482 0.00833 L -0.15872 -0.23889 " pathEditMode="relative" ptsTypes="AA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625 0.00509 L -0.30508 -0.25023 " pathEditMode="relative" ptsTypes="AA">
                                      <p:cBhvr>
                                        <p:cTn id="1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56 -0.00347 L 0.14336 -0.23218 " pathEditMode="relative" ptsTypes="AA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951 0.00208 L -0.00951 -0.23797 " pathEditMode="relative" ptsTypes="AA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585 0.00555 L -0.1526 -0.24167 " pathEditMode="relative" ptsTypes="AA">
                                      <p:cBhvr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547 -0.00416 L 0.27916 -0.23287 " pathEditMode="relative" ptsTypes="AA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9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729 -0.00879 L 0.1345 -0.2375 " pathEditMode="relative" ptsTypes="AA">
                                      <p:cBhvr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313 -0.00393 L -0.00313 -0.24097 " pathEditMode="relative" ptsTypes="AA">
                                      <p:cBhvr>
                                        <p:cTn id="2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82 0.00162 L 0.14063 -0.20393 " pathEditMode="relative" ptsTypes="AA">
                                      <p:cBhvr>
                                        <p:cTn id="6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43 0.00278 L 0.28086 -0.20277 " pathEditMode="relative" ptsTypes="AA">
                                      <p:cBhvr>
                                        <p:cTn id="6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3 0.00093 L -0.14622 -0.20694 " pathEditMode="relative" ptsTypes="AA">
                                      <p:cBhvr>
                                        <p:cTn id="7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87 0.00069 L 0.14075 -0.20139 " pathEditMode="relative" ptsTypes="AA">
                                      <p:cBhvr>
                                        <p:cTn id="72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52 0.00231 L -0.29362 -0.20579 " pathEditMode="relative" ptsTypes="AA">
                                      <p:cBhvr>
                                        <p:cTn id="7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0.00186 L -0.14179 -0.20601 " pathEditMode="relative" ptsTypes="AA">
                                      <p:cBhvr>
                                        <p:cTn id="7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4" grpId="0" animBg="1"/>
      <p:bldP spid="3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45CB16-7102-54B8-C828-C0510B557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BB15C6F4-B13E-3064-0B0E-4BDD47A7FFEC}"/>
              </a:ext>
            </a:extLst>
          </p:cNvPr>
          <p:cNvSpPr/>
          <p:nvPr/>
        </p:nvSpPr>
        <p:spPr>
          <a:xfrm>
            <a:off x="495900" y="248500"/>
            <a:ext cx="10223503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3080"/>
              </a:lnSpc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MPC – </a:t>
            </a:r>
            <a:r>
              <a:rPr lang="en-US" sz="2400" b="1" dirty="0">
                <a:solidFill>
                  <a:srgbClr val="712AF6"/>
                </a:solidFill>
                <a:latin typeface="Montserrat ExtraBold" panose="00000900000000000000" pitchFamily="2" charset="0"/>
              </a:rPr>
              <a:t>Optimizing bandwidth (II)</a:t>
            </a:r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46037207-365D-A7A5-1427-311367BDDA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567" y="493415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E69DABA4-15AE-AF51-548E-2FB2D32B9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E3835B1D-FDB9-5FCC-93A1-E8B223C6901D}"/>
              </a:ext>
            </a:extLst>
          </p:cNvPr>
          <p:cNvSpPr txBox="1"/>
          <p:nvPr/>
        </p:nvSpPr>
        <p:spPr>
          <a:xfrm>
            <a:off x="5667066" y="6259560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38DD99-4183-5092-DD21-BEE0CBED18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7465" y="1470411"/>
            <a:ext cx="805942" cy="91228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168E1CB-FACD-376B-0A01-02326AC6F31D}"/>
              </a:ext>
            </a:extLst>
          </p:cNvPr>
          <p:cNvSpPr/>
          <p:nvPr/>
        </p:nvSpPr>
        <p:spPr>
          <a:xfrm>
            <a:off x="5536646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40" name="Picture 16">
            <a:extLst>
              <a:ext uri="{FF2B5EF4-FFF2-40B4-BE49-F238E27FC236}">
                <a16:creationId xmlns:a16="http://schemas.microsoft.com/office/drawing/2014/main" id="{9500B9EB-47BC-85EF-9EE5-B02C947BA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120" y="4908227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5742D05E-9B92-FE55-5020-B6CF245508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7584E11A-A9FE-4A00-38EA-2E9EB374AD34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5685B88-324A-F4C5-19C6-F7AD5AD4151F}"/>
              </a:ext>
            </a:extLst>
          </p:cNvPr>
          <p:cNvSpPr/>
          <p:nvPr/>
        </p:nvSpPr>
        <p:spPr>
          <a:xfrm>
            <a:off x="3339199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6" name="Picture 16">
            <a:extLst>
              <a:ext uri="{FF2B5EF4-FFF2-40B4-BE49-F238E27FC236}">
                <a16:creationId xmlns:a16="http://schemas.microsoft.com/office/drawing/2014/main" id="{53A8A029-2EEF-4C05-2EF6-6EB9C31EA5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673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67BDDC04-6E8E-F93B-5296-EB8B0A40F3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C3C073CA-775A-CB2D-1DA0-9A60F492D658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7C56B6C-1886-EA2F-7D43-3E38314CEA68}"/>
              </a:ext>
            </a:extLst>
          </p:cNvPr>
          <p:cNvSpPr/>
          <p:nvPr/>
        </p:nvSpPr>
        <p:spPr>
          <a:xfrm>
            <a:off x="1141752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7EB0B13F-2AF4-3F21-F7EF-61966AF356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3583" y="1484742"/>
            <a:ext cx="805942" cy="91228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E72861E5-A6E1-943D-7134-45A7F11262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1026" y="1499073"/>
            <a:ext cx="805942" cy="912282"/>
          </a:xfrm>
          <a:prstGeom prst="rect">
            <a:avLst/>
          </a:prstGeom>
        </p:spPr>
      </p:pic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3E401E93-7D59-0CED-4BF2-7E0081DFD1E2}"/>
              </a:ext>
            </a:extLst>
          </p:cNvPr>
          <p:cNvSpPr/>
          <p:nvPr/>
        </p:nvSpPr>
        <p:spPr>
          <a:xfrm>
            <a:off x="7386525" y="3094922"/>
            <a:ext cx="2500394" cy="12908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 dirty="0">
                <a:solidFill>
                  <a:schemeClr val="accent1"/>
                </a:solidFill>
              </a:rPr>
              <a:t>We can place one aggregator in each clien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5EB7691-DE6A-26B8-55E0-2D7412F28B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292" y="3911439"/>
            <a:ext cx="277467" cy="27746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1EA002B-4AEA-3F90-52A6-0EA4358C66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648" y="3376624"/>
            <a:ext cx="277467" cy="27746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717DDC6-CA95-78D0-8E26-379A47E649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752" y="4197529"/>
            <a:ext cx="277467" cy="27746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F26DD6F-2071-9D0D-12FC-092B27CAC0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960" y="3920062"/>
            <a:ext cx="277467" cy="27746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302E3C0-7BDD-FFDE-0044-AF2EE31E5E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4511" y="3612144"/>
            <a:ext cx="277467" cy="277467"/>
          </a:xfrm>
          <a:prstGeom prst="rect">
            <a:avLst/>
          </a:prstGeom>
        </p:spPr>
      </p:pic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2CB608D-A449-E9E9-3676-CB6DDABB5FE5}"/>
              </a:ext>
            </a:extLst>
          </p:cNvPr>
          <p:cNvCxnSpPr>
            <a:cxnSpLocks/>
          </p:cNvCxnSpPr>
          <p:nvPr/>
        </p:nvCxnSpPr>
        <p:spPr>
          <a:xfrm flipH="1">
            <a:off x="2283966" y="4348409"/>
            <a:ext cx="6415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6FF5D67-7E25-C02F-F735-4B31788E6319}"/>
              </a:ext>
            </a:extLst>
          </p:cNvPr>
          <p:cNvCxnSpPr>
            <a:cxnSpLocks/>
          </p:cNvCxnSpPr>
          <p:nvPr/>
        </p:nvCxnSpPr>
        <p:spPr>
          <a:xfrm>
            <a:off x="4461572" y="4336262"/>
            <a:ext cx="802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20BBDAF-5881-73D1-4DA0-02C206DECA03}"/>
              </a:ext>
            </a:extLst>
          </p:cNvPr>
          <p:cNvCxnSpPr>
            <a:cxnSpLocks/>
          </p:cNvCxnSpPr>
          <p:nvPr/>
        </p:nvCxnSpPr>
        <p:spPr>
          <a:xfrm flipH="1">
            <a:off x="4461572" y="4066088"/>
            <a:ext cx="7530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FBF312D-6B53-68C7-4386-20CA524B50FC}"/>
              </a:ext>
            </a:extLst>
          </p:cNvPr>
          <p:cNvCxnSpPr>
            <a:cxnSpLocks/>
          </p:cNvCxnSpPr>
          <p:nvPr/>
        </p:nvCxnSpPr>
        <p:spPr>
          <a:xfrm flipH="1">
            <a:off x="2280495" y="3758888"/>
            <a:ext cx="29341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A913735-CFDF-C7E4-62C4-B4A10683EF74}"/>
              </a:ext>
            </a:extLst>
          </p:cNvPr>
          <p:cNvCxnSpPr>
            <a:cxnSpLocks/>
          </p:cNvCxnSpPr>
          <p:nvPr/>
        </p:nvCxnSpPr>
        <p:spPr>
          <a:xfrm>
            <a:off x="2283966" y="3486196"/>
            <a:ext cx="29306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52B56159-2ACC-E8D1-9E0A-CEF8CFAC4334}"/>
              </a:ext>
            </a:extLst>
          </p:cNvPr>
          <p:cNvCxnSpPr>
            <a:cxnSpLocks/>
          </p:cNvCxnSpPr>
          <p:nvPr/>
        </p:nvCxnSpPr>
        <p:spPr>
          <a:xfrm>
            <a:off x="2248886" y="4066178"/>
            <a:ext cx="6766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9918106A-1579-75FE-F2AF-0ED60FC16DB8}"/>
              </a:ext>
            </a:extLst>
          </p:cNvPr>
          <p:cNvSpPr/>
          <p:nvPr/>
        </p:nvSpPr>
        <p:spPr>
          <a:xfrm>
            <a:off x="759217" y="3247830"/>
            <a:ext cx="1524749" cy="3348600"/>
          </a:xfrm>
          <a:prstGeom prst="roundRect">
            <a:avLst/>
          </a:prstGeom>
          <a:noFill/>
          <a:ln w="6350">
            <a:solidFill>
              <a:schemeClr val="accent1">
                <a:shade val="15000"/>
                <a:alpha val="499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id="{3500AB3F-7E24-67AF-46E6-2B05E2932F62}"/>
              </a:ext>
            </a:extLst>
          </p:cNvPr>
          <p:cNvSpPr/>
          <p:nvPr/>
        </p:nvSpPr>
        <p:spPr>
          <a:xfrm>
            <a:off x="2925520" y="3301976"/>
            <a:ext cx="1524749" cy="3348600"/>
          </a:xfrm>
          <a:prstGeom prst="roundRect">
            <a:avLst/>
          </a:prstGeom>
          <a:noFill/>
          <a:ln w="6350">
            <a:solidFill>
              <a:schemeClr val="accent1">
                <a:shade val="15000"/>
                <a:alpha val="499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52" name="Rounded Rectangle 151">
            <a:extLst>
              <a:ext uri="{FF2B5EF4-FFF2-40B4-BE49-F238E27FC236}">
                <a16:creationId xmlns:a16="http://schemas.microsoft.com/office/drawing/2014/main" id="{B2232FA5-5EC5-3D75-CA16-51E963467200}"/>
              </a:ext>
            </a:extLst>
          </p:cNvPr>
          <p:cNvSpPr/>
          <p:nvPr/>
        </p:nvSpPr>
        <p:spPr>
          <a:xfrm>
            <a:off x="5264377" y="3264578"/>
            <a:ext cx="1524749" cy="3348600"/>
          </a:xfrm>
          <a:prstGeom prst="roundRect">
            <a:avLst/>
          </a:prstGeom>
          <a:noFill/>
          <a:ln w="6350">
            <a:solidFill>
              <a:schemeClr val="accent1">
                <a:shade val="15000"/>
                <a:alpha val="499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id="{E2EBB0F2-AB12-CE88-A035-D8C52BB1A4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958" y="4228583"/>
            <a:ext cx="277467" cy="277467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FA290BB-8C87-20FC-3807-30DCDFA4841C}"/>
              </a:ext>
            </a:extLst>
          </p:cNvPr>
          <p:cNvCxnSpPr>
            <a:cxnSpLocks/>
          </p:cNvCxnSpPr>
          <p:nvPr/>
        </p:nvCxnSpPr>
        <p:spPr>
          <a:xfrm flipV="1">
            <a:off x="1469858" y="2805023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D0698202-30F0-D124-A00A-287BC7529330}"/>
              </a:ext>
            </a:extLst>
          </p:cNvPr>
          <p:cNvGrpSpPr/>
          <p:nvPr/>
        </p:nvGrpSpPr>
        <p:grpSpPr>
          <a:xfrm>
            <a:off x="1339177" y="4265732"/>
            <a:ext cx="326384" cy="217726"/>
            <a:chOff x="1133225" y="4206536"/>
            <a:chExt cx="326384" cy="217726"/>
          </a:xfrm>
        </p:grpSpPr>
        <p:pic>
          <p:nvPicPr>
            <p:cNvPr id="6" name="Picture 14">
              <a:extLst>
                <a:ext uri="{FF2B5EF4-FFF2-40B4-BE49-F238E27FC236}">
                  <a16:creationId xmlns:a16="http://schemas.microsoft.com/office/drawing/2014/main" id="{7CE6E992-E3FE-6019-BDB4-0FF9735F81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3225" y="4206536"/>
              <a:ext cx="184220" cy="18422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F55B497-ADD1-51FF-9C7B-4D6B6092ADD6}"/>
                </a:ext>
              </a:extLst>
            </p:cNvPr>
            <p:cNvSpPr txBox="1"/>
            <p:nvPr/>
          </p:nvSpPr>
          <p:spPr>
            <a:xfrm>
              <a:off x="1223647" y="4224207"/>
              <a:ext cx="2359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1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C7D9D69-5085-4772-5F4F-99D24F0D6646}"/>
              </a:ext>
            </a:extLst>
          </p:cNvPr>
          <p:cNvCxnSpPr>
            <a:cxnSpLocks/>
          </p:cNvCxnSpPr>
          <p:nvPr/>
        </p:nvCxnSpPr>
        <p:spPr>
          <a:xfrm flipV="1">
            <a:off x="5870436" y="2775410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7F59F34-9891-DE63-E166-2434989BB0DA}"/>
              </a:ext>
            </a:extLst>
          </p:cNvPr>
          <p:cNvCxnSpPr>
            <a:cxnSpLocks/>
          </p:cNvCxnSpPr>
          <p:nvPr/>
        </p:nvCxnSpPr>
        <p:spPr>
          <a:xfrm flipV="1">
            <a:off x="3672989" y="2749479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902165B-7583-8472-6CE6-C2F5103EE348}"/>
              </a:ext>
            </a:extLst>
          </p:cNvPr>
          <p:cNvGrpSpPr/>
          <p:nvPr/>
        </p:nvGrpSpPr>
        <p:grpSpPr>
          <a:xfrm>
            <a:off x="3628635" y="4238958"/>
            <a:ext cx="363828" cy="236990"/>
            <a:chOff x="3628635" y="4238958"/>
            <a:chExt cx="363828" cy="236990"/>
          </a:xfrm>
        </p:grpSpPr>
        <p:pic>
          <p:nvPicPr>
            <p:cNvPr id="26" name="Picture 14">
              <a:extLst>
                <a:ext uri="{FF2B5EF4-FFF2-40B4-BE49-F238E27FC236}">
                  <a16:creationId xmlns:a16="http://schemas.microsoft.com/office/drawing/2014/main" id="{E5453B71-E96E-9E6F-48E7-186BA740AD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8635" y="4238958"/>
              <a:ext cx="184220" cy="184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F5065D8-4975-E224-8C6C-A88D1CD20E32}"/>
                </a:ext>
              </a:extLst>
            </p:cNvPr>
            <p:cNvSpPr txBox="1"/>
            <p:nvPr/>
          </p:nvSpPr>
          <p:spPr>
            <a:xfrm>
              <a:off x="3737265" y="4275893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1A5E8B-3806-AA33-AFED-F7D824D8FB4A}"/>
              </a:ext>
            </a:extLst>
          </p:cNvPr>
          <p:cNvGrpSpPr/>
          <p:nvPr/>
        </p:nvGrpSpPr>
        <p:grpSpPr>
          <a:xfrm>
            <a:off x="5770385" y="4236084"/>
            <a:ext cx="374589" cy="232246"/>
            <a:chOff x="6026417" y="4260468"/>
            <a:chExt cx="374589" cy="232246"/>
          </a:xfrm>
        </p:grpSpPr>
        <p:pic>
          <p:nvPicPr>
            <p:cNvPr id="35" name="Picture 14">
              <a:extLst>
                <a:ext uri="{FF2B5EF4-FFF2-40B4-BE49-F238E27FC236}">
                  <a16:creationId xmlns:a16="http://schemas.microsoft.com/office/drawing/2014/main" id="{A0B24DFA-A7A5-9235-B49F-90DFE95A55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417" y="4260468"/>
              <a:ext cx="184220" cy="18422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1D08FED-7167-9CFB-6967-DBA02742BE07}"/>
                </a:ext>
              </a:extLst>
            </p:cNvPr>
            <p:cNvSpPr txBox="1"/>
            <p:nvPr/>
          </p:nvSpPr>
          <p:spPr>
            <a:xfrm>
              <a:off x="6145808" y="4292659"/>
              <a:ext cx="2551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3</a:t>
              </a:r>
              <a:endParaRPr kumimoji="0" lang="en-AE" sz="7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71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924 -0.00324 L -0.00924 -0.24005 " pathEditMode="relative" ptsTypes="AA">
                                      <p:cBhvr>
                                        <p:cTn id="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951 0.00208 L -0.00951 -0.23797 " pathEditMode="relative" ptsTypes="AA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312 -0.00393 L -0.00312 -0.24097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8635 " pathEditMode="relative" ptsTypes="AA">
                                      <p:cBhvr>
                                        <p:cTn id="32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3.7037E-7 L -0.00338 0.29676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" y="14838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2.96296E-6 L 0.00052 0.2956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147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6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0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3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 animBg="1"/>
      <p:bldP spid="151" grpId="0" animBg="1"/>
      <p:bldP spid="15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67727-B88B-52AA-E821-1F6B0056D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74CBD3A7-0857-5A8B-3153-FAF075836B9F}"/>
              </a:ext>
            </a:extLst>
          </p:cNvPr>
          <p:cNvSpPr/>
          <p:nvPr/>
        </p:nvSpPr>
        <p:spPr>
          <a:xfrm>
            <a:off x="495900" y="248500"/>
            <a:ext cx="10223503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3080"/>
              </a:lnSpc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MPC – </a:t>
            </a:r>
            <a:r>
              <a:rPr lang="en-US" sz="2400" b="1" dirty="0">
                <a:solidFill>
                  <a:srgbClr val="712AF6"/>
                </a:solidFill>
                <a:latin typeface="Montserrat ExtraBold" panose="00000900000000000000" pitchFamily="2" charset="0"/>
              </a:rPr>
              <a:t>Optimizing bandwidth (III)</a:t>
            </a:r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4EE79FF2-7AD5-024C-9EE0-511472B53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567" y="493415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7603492D-A3AD-5A74-BA60-E32B3DDC1C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F30365BA-5A88-455D-165B-8CC762C6A935}"/>
              </a:ext>
            </a:extLst>
          </p:cNvPr>
          <p:cNvSpPr txBox="1"/>
          <p:nvPr/>
        </p:nvSpPr>
        <p:spPr>
          <a:xfrm>
            <a:off x="5667066" y="6259560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6AD155-A794-AB70-5FF7-76964A0588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3081" y="3542660"/>
            <a:ext cx="805942" cy="91228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19857B9-714A-A120-C6B4-E9614389FFAA}"/>
              </a:ext>
            </a:extLst>
          </p:cNvPr>
          <p:cNvSpPr/>
          <p:nvPr/>
        </p:nvSpPr>
        <p:spPr>
          <a:xfrm>
            <a:off x="5536646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40" name="Picture 16">
            <a:extLst>
              <a:ext uri="{FF2B5EF4-FFF2-40B4-BE49-F238E27FC236}">
                <a16:creationId xmlns:a16="http://schemas.microsoft.com/office/drawing/2014/main" id="{9E692208-F42A-9A30-DAE7-ACD71CA70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120" y="4908227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B602473F-0665-0378-62DC-8F98C3825B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41F93D5-2524-377E-7B6F-1511A163B2F2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BFAE397-C94C-A839-1746-4A01737F3BFD}"/>
              </a:ext>
            </a:extLst>
          </p:cNvPr>
          <p:cNvSpPr/>
          <p:nvPr/>
        </p:nvSpPr>
        <p:spPr>
          <a:xfrm>
            <a:off x="3339199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6" name="Picture 16">
            <a:extLst>
              <a:ext uri="{FF2B5EF4-FFF2-40B4-BE49-F238E27FC236}">
                <a16:creationId xmlns:a16="http://schemas.microsoft.com/office/drawing/2014/main" id="{C5C15698-D2DD-E73D-3C9C-2F7845375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673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066D181A-DAD7-0C10-51C2-D6E088B2E0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A43F13C3-4CB9-2650-96C8-46B76FDE007A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AAA72F3-7798-8913-C032-0D4E08F83251}"/>
              </a:ext>
            </a:extLst>
          </p:cNvPr>
          <p:cNvSpPr/>
          <p:nvPr/>
        </p:nvSpPr>
        <p:spPr>
          <a:xfrm>
            <a:off x="1141752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A7739A18-6F5E-6B17-D177-522F4416A6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9199" y="3556991"/>
            <a:ext cx="805942" cy="91228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6A25A76-0F4E-75EE-2200-A53AADC59F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642" y="3571322"/>
            <a:ext cx="805942" cy="912282"/>
          </a:xfrm>
          <a:prstGeom prst="rect">
            <a:avLst/>
          </a:prstGeom>
        </p:spPr>
      </p:pic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CE9B3914-2F5B-577D-5ED0-4017A8A25671}"/>
              </a:ext>
            </a:extLst>
          </p:cNvPr>
          <p:cNvSpPr/>
          <p:nvPr/>
        </p:nvSpPr>
        <p:spPr>
          <a:xfrm>
            <a:off x="7386525" y="3094922"/>
            <a:ext cx="2500394" cy="12908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he shares of the aggregated model cannot be obtained with random seeds </a:t>
            </a:r>
            <a:r>
              <a:rPr lang="en-AE" sz="1600">
                <a:solidFill>
                  <a:schemeClr val="accent1"/>
                </a:solidFill>
                <a:sym typeface="Wingdings" pitchFamily="2" charset="2"/>
              </a:rPr>
              <a:t></a:t>
            </a:r>
            <a:endParaRPr lang="en-AE" sz="1600">
              <a:solidFill>
                <a:schemeClr val="accent1"/>
              </a:solidFill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FDB1387-F568-08B8-0364-D9375E62A4F0}"/>
              </a:ext>
            </a:extLst>
          </p:cNvPr>
          <p:cNvCxnSpPr>
            <a:cxnSpLocks/>
          </p:cNvCxnSpPr>
          <p:nvPr/>
        </p:nvCxnSpPr>
        <p:spPr>
          <a:xfrm flipH="1">
            <a:off x="2283966" y="4348409"/>
            <a:ext cx="6415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6BCB12C4-2922-6308-88BA-ED51B4462097}"/>
              </a:ext>
            </a:extLst>
          </p:cNvPr>
          <p:cNvCxnSpPr>
            <a:cxnSpLocks/>
          </p:cNvCxnSpPr>
          <p:nvPr/>
        </p:nvCxnSpPr>
        <p:spPr>
          <a:xfrm>
            <a:off x="4461572" y="4336262"/>
            <a:ext cx="802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76D20F99-2527-DE05-98A4-943DB5331303}"/>
              </a:ext>
            </a:extLst>
          </p:cNvPr>
          <p:cNvCxnSpPr>
            <a:cxnSpLocks/>
          </p:cNvCxnSpPr>
          <p:nvPr/>
        </p:nvCxnSpPr>
        <p:spPr>
          <a:xfrm flipH="1">
            <a:off x="4461572" y="4066088"/>
            <a:ext cx="7530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EC7A9B43-4B42-CFB0-FF4B-C9B07C59C829}"/>
              </a:ext>
            </a:extLst>
          </p:cNvPr>
          <p:cNvCxnSpPr>
            <a:cxnSpLocks/>
          </p:cNvCxnSpPr>
          <p:nvPr/>
        </p:nvCxnSpPr>
        <p:spPr>
          <a:xfrm flipH="1">
            <a:off x="2280495" y="3758888"/>
            <a:ext cx="29341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BFA0881-746B-10B3-B571-996FD97D8E7E}"/>
              </a:ext>
            </a:extLst>
          </p:cNvPr>
          <p:cNvCxnSpPr>
            <a:cxnSpLocks/>
          </p:cNvCxnSpPr>
          <p:nvPr/>
        </p:nvCxnSpPr>
        <p:spPr>
          <a:xfrm>
            <a:off x="2283966" y="3486196"/>
            <a:ext cx="29306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ECAB9EAF-135E-4742-59CC-7D369C32FC45}"/>
              </a:ext>
            </a:extLst>
          </p:cNvPr>
          <p:cNvCxnSpPr>
            <a:cxnSpLocks/>
          </p:cNvCxnSpPr>
          <p:nvPr/>
        </p:nvCxnSpPr>
        <p:spPr>
          <a:xfrm>
            <a:off x="2248886" y="4066178"/>
            <a:ext cx="6766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82D30098-38BD-5D7A-4A7D-49D0E3175078}"/>
              </a:ext>
            </a:extLst>
          </p:cNvPr>
          <p:cNvSpPr/>
          <p:nvPr/>
        </p:nvSpPr>
        <p:spPr>
          <a:xfrm>
            <a:off x="759217" y="3247830"/>
            <a:ext cx="1524749" cy="3348600"/>
          </a:xfrm>
          <a:prstGeom prst="roundRect">
            <a:avLst/>
          </a:prstGeom>
          <a:noFill/>
          <a:ln w="6350">
            <a:solidFill>
              <a:schemeClr val="accent1">
                <a:shade val="15000"/>
                <a:alpha val="499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id="{74C3D0C0-5F19-81B0-DE85-C74CAAC17DD9}"/>
              </a:ext>
            </a:extLst>
          </p:cNvPr>
          <p:cNvSpPr/>
          <p:nvPr/>
        </p:nvSpPr>
        <p:spPr>
          <a:xfrm>
            <a:off x="2925520" y="3301976"/>
            <a:ext cx="1524749" cy="3348600"/>
          </a:xfrm>
          <a:prstGeom prst="roundRect">
            <a:avLst/>
          </a:prstGeom>
          <a:noFill/>
          <a:ln w="6350">
            <a:solidFill>
              <a:schemeClr val="accent1">
                <a:shade val="15000"/>
                <a:alpha val="499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52" name="Rounded Rectangle 151">
            <a:extLst>
              <a:ext uri="{FF2B5EF4-FFF2-40B4-BE49-F238E27FC236}">
                <a16:creationId xmlns:a16="http://schemas.microsoft.com/office/drawing/2014/main" id="{1CC7375A-6017-FF64-7A89-22E11F07D8D6}"/>
              </a:ext>
            </a:extLst>
          </p:cNvPr>
          <p:cNvSpPr/>
          <p:nvPr/>
        </p:nvSpPr>
        <p:spPr>
          <a:xfrm>
            <a:off x="5264377" y="3264578"/>
            <a:ext cx="1524749" cy="3348600"/>
          </a:xfrm>
          <a:prstGeom prst="roundRect">
            <a:avLst/>
          </a:prstGeom>
          <a:noFill/>
          <a:ln w="6350">
            <a:solidFill>
              <a:schemeClr val="accent1">
                <a:shade val="15000"/>
                <a:alpha val="499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F4F80CA-5350-5A49-210A-4C668EDCC392}"/>
              </a:ext>
            </a:extLst>
          </p:cNvPr>
          <p:cNvGrpSpPr/>
          <p:nvPr/>
        </p:nvGrpSpPr>
        <p:grpSpPr>
          <a:xfrm>
            <a:off x="5112278" y="3630589"/>
            <a:ext cx="504056" cy="325613"/>
            <a:chOff x="5522223" y="2620253"/>
            <a:chExt cx="504056" cy="325613"/>
          </a:xfrm>
        </p:grpSpPr>
        <p:pic>
          <p:nvPicPr>
            <p:cNvPr id="5" name="Picture 14">
              <a:extLst>
                <a:ext uri="{FF2B5EF4-FFF2-40B4-BE49-F238E27FC236}">
                  <a16:creationId xmlns:a16="http://schemas.microsoft.com/office/drawing/2014/main" id="{A91F38AB-1AA4-D17C-39AB-0808D6351A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223" y="2620253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66E2199-3B74-F28D-C9DE-361423BDD04A}"/>
                </a:ext>
              </a:extLst>
            </p:cNvPr>
            <p:cNvSpPr txBox="1"/>
            <p:nvPr/>
          </p:nvSpPr>
          <p:spPr>
            <a:xfrm>
              <a:off x="5731005" y="2684256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3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105DCB7-F080-6619-EE2A-245EAF94C21D}"/>
              </a:ext>
            </a:extLst>
          </p:cNvPr>
          <p:cNvGrpSpPr/>
          <p:nvPr/>
        </p:nvGrpSpPr>
        <p:grpSpPr>
          <a:xfrm>
            <a:off x="5109373" y="3975938"/>
            <a:ext cx="504056" cy="325613"/>
            <a:chOff x="5522223" y="2620253"/>
            <a:chExt cx="504056" cy="325613"/>
          </a:xfrm>
        </p:grpSpPr>
        <p:pic>
          <p:nvPicPr>
            <p:cNvPr id="8" name="Picture 14">
              <a:extLst>
                <a:ext uri="{FF2B5EF4-FFF2-40B4-BE49-F238E27FC236}">
                  <a16:creationId xmlns:a16="http://schemas.microsoft.com/office/drawing/2014/main" id="{289E5D38-E67D-C619-7EBC-641BECBF11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223" y="2620253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9531541-511B-6D05-D563-371326D51CCF}"/>
                </a:ext>
              </a:extLst>
            </p:cNvPr>
            <p:cNvSpPr txBox="1"/>
            <p:nvPr/>
          </p:nvSpPr>
          <p:spPr>
            <a:xfrm>
              <a:off x="5731005" y="2684256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3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215F56-C01A-0E9A-6977-A4BF1F7D9CAF}"/>
              </a:ext>
            </a:extLst>
          </p:cNvPr>
          <p:cNvGrpSpPr/>
          <p:nvPr/>
        </p:nvGrpSpPr>
        <p:grpSpPr>
          <a:xfrm>
            <a:off x="4463634" y="4289059"/>
            <a:ext cx="495615" cy="331766"/>
            <a:chOff x="3340878" y="2608669"/>
            <a:chExt cx="495615" cy="331766"/>
          </a:xfrm>
        </p:grpSpPr>
        <p:pic>
          <p:nvPicPr>
            <p:cNvPr id="13" name="Picture 14">
              <a:extLst>
                <a:ext uri="{FF2B5EF4-FFF2-40B4-BE49-F238E27FC236}">
                  <a16:creationId xmlns:a16="http://schemas.microsoft.com/office/drawing/2014/main" id="{22A0B93C-422B-C9B4-1DB5-E8A77BA5E1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0878" y="2608669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B8E4734-84B2-6985-5537-97ADD35FFC27}"/>
                </a:ext>
              </a:extLst>
            </p:cNvPr>
            <p:cNvSpPr txBox="1"/>
            <p:nvPr/>
          </p:nvSpPr>
          <p:spPr>
            <a:xfrm>
              <a:off x="3541219" y="2678825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9DEA466-C75F-DB0E-6546-D0921F3C5CAE}"/>
              </a:ext>
            </a:extLst>
          </p:cNvPr>
          <p:cNvGrpSpPr/>
          <p:nvPr/>
        </p:nvGrpSpPr>
        <p:grpSpPr>
          <a:xfrm>
            <a:off x="2768933" y="4336262"/>
            <a:ext cx="495615" cy="331766"/>
            <a:chOff x="3340878" y="2608669"/>
            <a:chExt cx="495615" cy="331766"/>
          </a:xfrm>
        </p:grpSpPr>
        <p:pic>
          <p:nvPicPr>
            <p:cNvPr id="16" name="Picture 14">
              <a:extLst>
                <a:ext uri="{FF2B5EF4-FFF2-40B4-BE49-F238E27FC236}">
                  <a16:creationId xmlns:a16="http://schemas.microsoft.com/office/drawing/2014/main" id="{48E53373-258D-F2F3-5F4D-FAAA1A87C8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0878" y="2608669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1AB056B-E0A1-979A-E7BE-736846304CD2}"/>
                </a:ext>
              </a:extLst>
            </p:cNvPr>
            <p:cNvSpPr txBox="1"/>
            <p:nvPr/>
          </p:nvSpPr>
          <p:spPr>
            <a:xfrm>
              <a:off x="3541219" y="2678825"/>
              <a:ext cx="2952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3057706-762B-2779-B9A8-6C39334BDFA8}"/>
              </a:ext>
            </a:extLst>
          </p:cNvPr>
          <p:cNvGrpSpPr/>
          <p:nvPr/>
        </p:nvGrpSpPr>
        <p:grpSpPr>
          <a:xfrm>
            <a:off x="2169147" y="3345629"/>
            <a:ext cx="467126" cy="315461"/>
            <a:chOff x="1062045" y="2563790"/>
            <a:chExt cx="467126" cy="315461"/>
          </a:xfrm>
        </p:grpSpPr>
        <p:pic>
          <p:nvPicPr>
            <p:cNvPr id="21" name="Picture 14">
              <a:extLst>
                <a:ext uri="{FF2B5EF4-FFF2-40B4-BE49-F238E27FC236}">
                  <a16:creationId xmlns:a16="http://schemas.microsoft.com/office/drawing/2014/main" id="{F1CACB4C-C4B5-1BB1-9106-DC40C0A517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045" y="2563790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30DCD7F-0A6B-0EC3-85FA-87FA9CD8A7FF}"/>
                </a:ext>
              </a:extLst>
            </p:cNvPr>
            <p:cNvSpPr txBox="1"/>
            <p:nvPr/>
          </p:nvSpPr>
          <p:spPr>
            <a:xfrm>
              <a:off x="1262751" y="2617641"/>
              <a:ext cx="2664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1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B99018-B606-E368-091F-86BD3C48E4BA}"/>
              </a:ext>
            </a:extLst>
          </p:cNvPr>
          <p:cNvGrpSpPr/>
          <p:nvPr/>
        </p:nvGrpSpPr>
        <p:grpSpPr>
          <a:xfrm>
            <a:off x="2168593" y="3932244"/>
            <a:ext cx="467126" cy="315461"/>
            <a:chOff x="1062045" y="2563790"/>
            <a:chExt cx="467126" cy="315461"/>
          </a:xfrm>
        </p:grpSpPr>
        <p:pic>
          <p:nvPicPr>
            <p:cNvPr id="24" name="Picture 14">
              <a:extLst>
                <a:ext uri="{FF2B5EF4-FFF2-40B4-BE49-F238E27FC236}">
                  <a16:creationId xmlns:a16="http://schemas.microsoft.com/office/drawing/2014/main" id="{D85ADE9D-46A2-AEEA-B6CF-F1CC4A91A7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045" y="2563790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8FDF090-197F-1039-0A31-14A011372B2E}"/>
                </a:ext>
              </a:extLst>
            </p:cNvPr>
            <p:cNvSpPr txBox="1"/>
            <p:nvPr/>
          </p:nvSpPr>
          <p:spPr>
            <a:xfrm>
              <a:off x="1262751" y="2617641"/>
              <a:ext cx="2664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1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1</a:t>
              </a:r>
              <a:endParaRPr kumimoji="0" lang="en-AE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3165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99 -0.00324 L -0.26523 -0.00324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96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5" presetClass="entr" presetSubtype="1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99 -0.00324 L -0.07656 -0.00578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29" y="-13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" presetClass="entr" presetSubtype="1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807 -0.0051 L 0.0457 -0.00023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2" y="231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5" presetClass="entr" presetSubtype="1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808 -0.00509 L -0.06302 -0.01389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47" y="-44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" presetClass="entr" presetSubtype="1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64 -0.00023 L 0.23072 -0.0011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18" y="-4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5" presetClass="entr" presetSubtype="1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64 -0.00024 L 0.04062 -0.00024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0D6A0E-8957-7E7D-C147-376C06D0F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C483C-1A11-078B-54F8-DE217CB6B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/>
              <a:t>Secur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95B7B3-2F79-A3D2-6D3B-E2CEDAB084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7926930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002A8E-29CC-1A22-9C71-443661FE9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E490AF99-4BF0-056D-7383-FBE4F1296DE4}"/>
              </a:ext>
            </a:extLst>
          </p:cNvPr>
          <p:cNvSpPr/>
          <p:nvPr/>
        </p:nvSpPr>
        <p:spPr>
          <a:xfrm>
            <a:off x="495901" y="248500"/>
            <a:ext cx="4891058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rgbClr val="712AF6"/>
                </a:solidFill>
                <a:latin typeface="Montserrat ExtraBold" panose="00000900000000000000" pitchFamily="2" charset="0"/>
              </a:rPr>
              <a:t>Privacy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20" name="TextBox 29">
            <a:extLst>
              <a:ext uri="{FF2B5EF4-FFF2-40B4-BE49-F238E27FC236}">
                <a16:creationId xmlns:a16="http://schemas.microsoft.com/office/drawing/2014/main" id="{5AA5CA6A-AB27-3A72-488C-C8B9981E132F}"/>
              </a:ext>
            </a:extLst>
          </p:cNvPr>
          <p:cNvSpPr txBox="1"/>
          <p:nvPr/>
        </p:nvSpPr>
        <p:spPr>
          <a:xfrm>
            <a:off x="7898836" y="1998024"/>
            <a:ext cx="3917514" cy="42102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Zero data exposure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Entities keep full control over their data, no raw data is ever shared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End-to-end cryptographic guarantees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Multi-party computation ensures secured computations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Compliant by design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In line with data protection laws, ensuring legal compliance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No accuracy loss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Maintains accuracy levels, with no degradation from encryp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Modular and scalable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Easily integrates into diverse IT environments and scales across many entities</a:t>
            </a:r>
          </a:p>
        </p:txBody>
      </p:sp>
      <p:pic>
        <p:nvPicPr>
          <p:cNvPr id="31" name="Line 240" descr="preencoded.png">
            <a:extLst>
              <a:ext uri="{FF2B5EF4-FFF2-40B4-BE49-F238E27FC236}">
                <a16:creationId xmlns:a16="http://schemas.microsoft.com/office/drawing/2014/main" id="{980DBBAD-97B5-EFB6-3AA0-445DB68B4EB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954951" y="830673"/>
            <a:ext cx="2933572" cy="16762"/>
          </a:xfrm>
          <a:prstGeom prst="rect">
            <a:avLst/>
          </a:prstGeom>
        </p:spPr>
      </p:pic>
      <p:pic>
        <p:nvPicPr>
          <p:cNvPr id="5" name="Picture 4" descr="A logo of a metal guard&#10;&#10;AI-generated content may be incorrect.">
            <a:extLst>
              <a:ext uri="{FF2B5EF4-FFF2-40B4-BE49-F238E27FC236}">
                <a16:creationId xmlns:a16="http://schemas.microsoft.com/office/drawing/2014/main" id="{3DD07465-40E2-7A91-F8D8-D85AD61F7C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7057" y="336801"/>
            <a:ext cx="1881071" cy="132228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752980C-B618-55AF-E780-13D6D815B5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0557" y="2020267"/>
            <a:ext cx="461665" cy="46166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BCC899AE-23FE-401D-0F83-D57A4C89D8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267" y="2838203"/>
            <a:ext cx="461665" cy="461665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90C57B8B-75F6-1E26-1861-D4FE67B059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0557" y="3688041"/>
            <a:ext cx="461665" cy="461665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ACDF677B-172E-F102-9317-5B74E05CB8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014" y="4505977"/>
            <a:ext cx="461665" cy="461665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E95F08F-8306-7810-E33F-E4E8CC4C4E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087" y="5355815"/>
            <a:ext cx="461665" cy="461665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26EA1D19-5C80-9357-2DA0-44B69FC3C7F5}"/>
              </a:ext>
            </a:extLst>
          </p:cNvPr>
          <p:cNvCxnSpPr>
            <a:cxnSpLocks/>
          </p:cNvCxnSpPr>
          <p:nvPr/>
        </p:nvCxnSpPr>
        <p:spPr>
          <a:xfrm flipV="1">
            <a:off x="1167195" y="2723548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16">
            <a:extLst>
              <a:ext uri="{FF2B5EF4-FFF2-40B4-BE49-F238E27FC236}">
                <a16:creationId xmlns:a16="http://schemas.microsoft.com/office/drawing/2014/main" id="{7725A9AD-42A8-7A04-66F4-0672E13410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311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73" name="Picture 72" descr="A blue and black logo&#10;&#10;AI-generated content may be incorrect.">
            <a:extLst>
              <a:ext uri="{FF2B5EF4-FFF2-40B4-BE49-F238E27FC236}">
                <a16:creationId xmlns:a16="http://schemas.microsoft.com/office/drawing/2014/main" id="{9B00375A-86B6-75E8-C34D-AFF55CAD5D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3825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74" name="Picture 73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0960F69F-463C-F7D2-B75B-2A1FD81FDC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3483" y="4851764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274F823B-5CE6-A994-8C51-A506C63929AD}"/>
              </a:ext>
            </a:extLst>
          </p:cNvPr>
          <p:cNvSpPr txBox="1"/>
          <p:nvPr/>
        </p:nvSpPr>
        <p:spPr>
          <a:xfrm>
            <a:off x="963825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A65F9D3-3417-3823-E813-DABD89D6B386}"/>
              </a:ext>
            </a:extLst>
          </p:cNvPr>
          <p:cNvSpPr/>
          <p:nvPr/>
        </p:nvSpPr>
        <p:spPr>
          <a:xfrm>
            <a:off x="733390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8" name="Left Arrow 77">
            <a:extLst>
              <a:ext uri="{FF2B5EF4-FFF2-40B4-BE49-F238E27FC236}">
                <a16:creationId xmlns:a16="http://schemas.microsoft.com/office/drawing/2014/main" id="{5231855E-AC87-BAD9-1A54-44B6C10F830F}"/>
              </a:ext>
            </a:extLst>
          </p:cNvPr>
          <p:cNvSpPr/>
          <p:nvPr/>
        </p:nvSpPr>
        <p:spPr>
          <a:xfrm>
            <a:off x="1378706" y="4968643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A402444-B827-79E0-BFAE-29834D098776}"/>
              </a:ext>
            </a:extLst>
          </p:cNvPr>
          <p:cNvSpPr txBox="1"/>
          <p:nvPr/>
        </p:nvSpPr>
        <p:spPr>
          <a:xfrm>
            <a:off x="733390" y="2271033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AA722EBC-5BAB-4306-2CD1-5D3B105A77C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2679" y="1499073"/>
            <a:ext cx="805942" cy="912282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EA10CDF-A0FA-B637-6810-7E34F79A66DA}"/>
              </a:ext>
            </a:extLst>
          </p:cNvPr>
          <p:cNvSpPr txBox="1"/>
          <p:nvPr/>
        </p:nvSpPr>
        <p:spPr>
          <a:xfrm>
            <a:off x="1693114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6" name="Picture 14">
            <a:extLst>
              <a:ext uri="{FF2B5EF4-FFF2-40B4-BE49-F238E27FC236}">
                <a16:creationId xmlns:a16="http://schemas.microsoft.com/office/drawing/2014/main" id="{C16F2343-6D92-73B7-C92A-371273B57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680" y="3279631"/>
            <a:ext cx="290790" cy="2907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89" name="Picture 14">
            <a:extLst>
              <a:ext uri="{FF2B5EF4-FFF2-40B4-BE49-F238E27FC236}">
                <a16:creationId xmlns:a16="http://schemas.microsoft.com/office/drawing/2014/main" id="{B01084C3-0285-888E-5F90-905E787452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836" y="3297807"/>
            <a:ext cx="290790" cy="2907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90" name="Picture 14">
            <a:extLst>
              <a:ext uri="{FF2B5EF4-FFF2-40B4-BE49-F238E27FC236}">
                <a16:creationId xmlns:a16="http://schemas.microsoft.com/office/drawing/2014/main" id="{6269E312-DA0E-7D4C-E73C-5B889FDFB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780" y="3278275"/>
            <a:ext cx="290790" cy="2907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91" name="Left Arrow 90">
            <a:extLst>
              <a:ext uri="{FF2B5EF4-FFF2-40B4-BE49-F238E27FC236}">
                <a16:creationId xmlns:a16="http://schemas.microsoft.com/office/drawing/2014/main" id="{D8282DE7-DE2B-BF99-9AF4-C6B99EF32DD4}"/>
              </a:ext>
            </a:extLst>
          </p:cNvPr>
          <p:cNvSpPr/>
          <p:nvPr/>
        </p:nvSpPr>
        <p:spPr>
          <a:xfrm rot="5400000">
            <a:off x="1022689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4E1E6B5A-84FE-7F29-AEAA-89A327D9A994}"/>
              </a:ext>
            </a:extLst>
          </p:cNvPr>
          <p:cNvCxnSpPr>
            <a:cxnSpLocks/>
          </p:cNvCxnSpPr>
          <p:nvPr/>
        </p:nvCxnSpPr>
        <p:spPr>
          <a:xfrm flipV="1">
            <a:off x="1315645" y="2754424"/>
            <a:ext cx="1596532" cy="135275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32F15D8F-4966-30B3-2D65-B47A4BE40149}"/>
              </a:ext>
            </a:extLst>
          </p:cNvPr>
          <p:cNvCxnSpPr>
            <a:cxnSpLocks/>
          </p:cNvCxnSpPr>
          <p:nvPr/>
        </p:nvCxnSpPr>
        <p:spPr>
          <a:xfrm flipV="1">
            <a:off x="1512160" y="2780059"/>
            <a:ext cx="3238015" cy="134178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103">
            <a:extLst>
              <a:ext uri="{FF2B5EF4-FFF2-40B4-BE49-F238E27FC236}">
                <a16:creationId xmlns:a16="http://schemas.microsoft.com/office/drawing/2014/main" id="{F9C3D3BD-2BD2-32BC-D64A-00C4EE2A13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53247" y="1486400"/>
            <a:ext cx="805942" cy="912282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8D3CB6D3-4802-BE18-AA6B-494B571CB366}"/>
              </a:ext>
            </a:extLst>
          </p:cNvPr>
          <p:cNvSpPr txBox="1"/>
          <p:nvPr/>
        </p:nvSpPr>
        <p:spPr>
          <a:xfrm>
            <a:off x="4422413" y="2338884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1A0CDD1-1B1B-D597-C9DA-C72552568982}"/>
              </a:ext>
            </a:extLst>
          </p:cNvPr>
          <p:cNvSpPr txBox="1"/>
          <p:nvPr/>
        </p:nvSpPr>
        <p:spPr>
          <a:xfrm>
            <a:off x="2499564" y="2299363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07" name="Picture 106">
            <a:extLst>
              <a:ext uri="{FF2B5EF4-FFF2-40B4-BE49-F238E27FC236}">
                <a16:creationId xmlns:a16="http://schemas.microsoft.com/office/drawing/2014/main" id="{3B7EB07F-21D3-3C49-D30C-7A8E561E23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93963" y="1487141"/>
            <a:ext cx="805942" cy="912282"/>
          </a:xfrm>
          <a:prstGeom prst="rect">
            <a:avLst/>
          </a:prstGeom>
        </p:spPr>
      </p:pic>
      <p:pic>
        <p:nvPicPr>
          <p:cNvPr id="108" name="Picture 107" descr="A person wearing a mask and a hood with a computer&#10;&#10;Description automatically generated">
            <a:extLst>
              <a:ext uri="{FF2B5EF4-FFF2-40B4-BE49-F238E27FC236}">
                <a16:creationId xmlns:a16="http://schemas.microsoft.com/office/drawing/2014/main" id="{C64815C8-6190-CDC6-E0B0-BAE993C005A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288" y="1323130"/>
            <a:ext cx="443725" cy="443725"/>
          </a:xfrm>
          <a:prstGeom prst="rect">
            <a:avLst/>
          </a:prstGeom>
        </p:spPr>
      </p:pic>
      <p:pic>
        <p:nvPicPr>
          <p:cNvPr id="109" name="Picture 108" descr="A person wearing a mask and a hood with a computer&#10;&#10;Description automatically generated">
            <a:extLst>
              <a:ext uri="{FF2B5EF4-FFF2-40B4-BE49-F238E27FC236}">
                <a16:creationId xmlns:a16="http://schemas.microsoft.com/office/drawing/2014/main" id="{CF4534DC-3488-B6FE-4C10-81635CB5257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8393" y="1387101"/>
            <a:ext cx="443725" cy="443725"/>
          </a:xfrm>
          <a:prstGeom prst="rect">
            <a:avLst/>
          </a:prstGeom>
        </p:spPr>
      </p:pic>
      <p:sp>
        <p:nvSpPr>
          <p:cNvPr id="111" name="Rectangle 110">
            <a:extLst>
              <a:ext uri="{FF2B5EF4-FFF2-40B4-BE49-F238E27FC236}">
                <a16:creationId xmlns:a16="http://schemas.microsoft.com/office/drawing/2014/main" id="{9331CBAF-5596-1CF5-32C7-6865996D5B44}"/>
              </a:ext>
            </a:extLst>
          </p:cNvPr>
          <p:cNvSpPr/>
          <p:nvPr/>
        </p:nvSpPr>
        <p:spPr>
          <a:xfrm>
            <a:off x="1698630" y="3229020"/>
            <a:ext cx="1763857" cy="4283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A5A4ABD-7B0A-553C-3ACC-86C9A57432B0}"/>
              </a:ext>
            </a:extLst>
          </p:cNvPr>
          <p:cNvSpPr txBox="1"/>
          <p:nvPr/>
        </p:nvSpPr>
        <p:spPr>
          <a:xfrm>
            <a:off x="3751479" y="4213331"/>
            <a:ext cx="1763856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AE" sz="1400">
                <a:latin typeface="Charter"/>
                <a:cs typeface="Arial"/>
              </a:rPr>
              <a:t>Information theoretically secure</a:t>
            </a: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2DD0791F-29D0-BB29-1543-A54887339D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5995" y="1486400"/>
            <a:ext cx="805942" cy="912282"/>
          </a:xfrm>
          <a:prstGeom prst="rect">
            <a:avLst/>
          </a:prstGeom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7E7B961B-50FD-1E2D-C647-0CDCB50C3253}"/>
              </a:ext>
            </a:extLst>
          </p:cNvPr>
          <p:cNvSpPr txBox="1"/>
          <p:nvPr/>
        </p:nvSpPr>
        <p:spPr>
          <a:xfrm>
            <a:off x="5312747" y="1593791"/>
            <a:ext cx="73289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. . . </a:t>
            </a:r>
            <a:endParaRPr kumimoji="0" lang="en-AE" sz="30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3135BC5-4A0B-5DA4-5956-094DD917181F}"/>
              </a:ext>
            </a:extLst>
          </p:cNvPr>
          <p:cNvSpPr txBox="1"/>
          <p:nvPr/>
        </p:nvSpPr>
        <p:spPr>
          <a:xfrm>
            <a:off x="6057912" y="2338884"/>
            <a:ext cx="7264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err="1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‘n’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67E12FDF-F8FA-8715-EA6A-87E323657F93}"/>
              </a:ext>
            </a:extLst>
          </p:cNvPr>
          <p:cNvCxnSpPr>
            <a:cxnSpLocks/>
          </p:cNvCxnSpPr>
          <p:nvPr/>
        </p:nvCxnSpPr>
        <p:spPr>
          <a:xfrm flipV="1">
            <a:off x="1956008" y="2739755"/>
            <a:ext cx="4393121" cy="1427289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4">
            <a:extLst>
              <a:ext uri="{FF2B5EF4-FFF2-40B4-BE49-F238E27FC236}">
                <a16:creationId xmlns:a16="http://schemas.microsoft.com/office/drawing/2014/main" id="{9C8D557E-BA1B-A7CB-2140-D566D822A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074" y="3276107"/>
            <a:ext cx="290790" cy="2907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4" name="Picture 14">
            <a:extLst>
              <a:ext uri="{FF2B5EF4-FFF2-40B4-BE49-F238E27FC236}">
                <a16:creationId xmlns:a16="http://schemas.microsoft.com/office/drawing/2014/main" id="{B8EC7178-FC22-ABFC-7881-C9EE6A0B5F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7329" y="937309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6" name="Picture 14">
            <a:extLst>
              <a:ext uri="{FF2B5EF4-FFF2-40B4-BE49-F238E27FC236}">
                <a16:creationId xmlns:a16="http://schemas.microsoft.com/office/drawing/2014/main" id="{91C00BFE-071B-4923-F9B1-D90C192A4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065" y="931156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993AA51-E3F0-9FDF-A6F9-9DD9BF27D675}"/>
              </a:ext>
            </a:extLst>
          </p:cNvPr>
          <p:cNvSpPr txBox="1"/>
          <p:nvPr/>
        </p:nvSpPr>
        <p:spPr>
          <a:xfrm>
            <a:off x="2839406" y="1001312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CC5580-D488-E0EA-D7E3-09F5DB280CA3}"/>
              </a:ext>
            </a:extLst>
          </p:cNvPr>
          <p:cNvSpPr txBox="1"/>
          <p:nvPr/>
        </p:nvSpPr>
        <p:spPr>
          <a:xfrm>
            <a:off x="5126111" y="1001312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175118-BE3C-E642-9C5B-DE1FDA7581EF}"/>
              </a:ext>
            </a:extLst>
          </p:cNvPr>
          <p:cNvSpPr/>
          <p:nvPr/>
        </p:nvSpPr>
        <p:spPr>
          <a:xfrm>
            <a:off x="2517976" y="863981"/>
            <a:ext cx="2903409" cy="4283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F0ECB9D9-0BA0-D5AD-EB17-BFAF11D320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337" y="919487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D4DB017-C420-87F4-CBC8-DB72183FA31B}"/>
              </a:ext>
            </a:extLst>
          </p:cNvPr>
          <p:cNvSpPr txBox="1"/>
          <p:nvPr/>
        </p:nvSpPr>
        <p:spPr>
          <a:xfrm>
            <a:off x="6500119" y="983490"/>
            <a:ext cx="3113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n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2457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 animBg="1"/>
      <p:bldP spid="112" grpId="0" animBg="1"/>
      <p:bldP spid="116" grpId="0"/>
      <p:bldP spid="117" grpId="0"/>
      <p:bldP spid="10" grpId="0" animBg="1"/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6808C2E-E33C-C108-E301-9A9B8CE728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720" y="347912"/>
            <a:ext cx="10018776" cy="61621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914B1D-1ED6-6B37-3859-E43E05950B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7597" y="3550919"/>
            <a:ext cx="463296" cy="463296"/>
          </a:xfrm>
          <a:prstGeom prst="rect">
            <a:avLst/>
          </a:prstGeom>
        </p:spPr>
      </p:pic>
      <p:pic>
        <p:nvPicPr>
          <p:cNvPr id="5" name="Picture 4" descr="Abu Dhabi Travel Guide | Abu Dhabi Tourism - KAYAK">
            <a:extLst>
              <a:ext uri="{FF2B5EF4-FFF2-40B4-BE49-F238E27FC236}">
                <a16:creationId xmlns:a16="http://schemas.microsoft.com/office/drawing/2014/main" id="{0F741C60-7AE8-09AC-E564-8FF13575A9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5504" y="664465"/>
            <a:ext cx="5385562" cy="3027900"/>
          </a:xfrm>
          <a:prstGeom prst="rect">
            <a:avLst/>
          </a:prstGeom>
          <a:effectLst>
            <a:glow rad="328105">
              <a:schemeClr val="bg1">
                <a:alpha val="40000"/>
              </a:schemeClr>
            </a:glow>
          </a:effectLst>
        </p:spPr>
      </p:pic>
      <p:pic>
        <p:nvPicPr>
          <p:cNvPr id="8" name="Picture 7" descr="Introducing the Technology Innovation Institute's Falcon 3 Making Advanced  AI accessible and Available to Everyone, Everywhere">
            <a:extLst>
              <a:ext uri="{FF2B5EF4-FFF2-40B4-BE49-F238E27FC236}">
                <a16:creationId xmlns:a16="http://schemas.microsoft.com/office/drawing/2014/main" id="{69B93A69-6E0C-48F0-CC74-B71979841D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72182" y="2739488"/>
            <a:ext cx="3344926" cy="2086159"/>
          </a:xfrm>
          <a:prstGeom prst="rect">
            <a:avLst/>
          </a:prstGeom>
          <a:effectLst>
            <a:glow rad="271687">
              <a:schemeClr val="bg1">
                <a:alpha val="40000"/>
              </a:schemeClr>
            </a:glo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9ACCD6-A6F6-D518-9E1E-4C80152BD0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8531" y="347912"/>
            <a:ext cx="4107180" cy="6364384"/>
          </a:xfrm>
          <a:prstGeom prst="rect">
            <a:avLst/>
          </a:prstGeom>
          <a:effectLst>
            <a:glow rad="457342">
              <a:schemeClr val="bg1">
                <a:alpha val="40000"/>
              </a:schemeClr>
            </a:glow>
          </a:effec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BBF1BCE-2536-BEE5-E20E-3E20E87DB56F}"/>
              </a:ext>
            </a:extLst>
          </p:cNvPr>
          <p:cNvCxnSpPr>
            <a:cxnSpLocks/>
          </p:cNvCxnSpPr>
          <p:nvPr/>
        </p:nvCxnSpPr>
        <p:spPr>
          <a:xfrm flipH="1">
            <a:off x="8180832" y="2916935"/>
            <a:ext cx="853440" cy="0"/>
          </a:xfrm>
          <a:prstGeom prst="straightConnector1">
            <a:avLst/>
          </a:prstGeom>
          <a:ln w="57150">
            <a:solidFill>
              <a:srgbClr val="6300FF"/>
            </a:solidFill>
            <a:tailEnd type="triangle"/>
          </a:ln>
          <a:effectLst>
            <a:glow rad="194476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E4C72A5-590D-55AC-5A4C-B392C30591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9546" y="2659073"/>
            <a:ext cx="463296" cy="463296"/>
          </a:xfrm>
          <a:prstGeom prst="rect">
            <a:avLst/>
          </a:prstGeom>
          <a:effectLst>
            <a:glow rad="604044">
              <a:schemeClr val="bg1">
                <a:alpha val="40000"/>
              </a:schemeClr>
            </a:glo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5DC9854-1739-5490-119F-ABCC534AFC0B}"/>
              </a:ext>
            </a:extLst>
          </p:cNvPr>
          <p:cNvSpPr/>
          <p:nvPr/>
        </p:nvSpPr>
        <p:spPr>
          <a:xfrm>
            <a:off x="9630026" y="2621556"/>
            <a:ext cx="1429766" cy="512064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29006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dirty="0"/>
              <a:t>PETs Team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173BD0B-0C40-28E5-D1E4-0179FF8B3EEC}"/>
              </a:ext>
            </a:extLst>
          </p:cNvPr>
          <p:cNvSpPr/>
          <p:nvPr/>
        </p:nvSpPr>
        <p:spPr>
          <a:xfrm>
            <a:off x="8586440" y="3122569"/>
            <a:ext cx="3565669" cy="153864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6" name="Rectangle: Rounded Corners 6">
            <a:extLst>
              <a:ext uri="{FF2B5EF4-FFF2-40B4-BE49-F238E27FC236}">
                <a16:creationId xmlns:a16="http://schemas.microsoft.com/office/drawing/2014/main" id="{66DC8F61-32E5-F35E-927C-CE99ED4ADB8F}"/>
              </a:ext>
            </a:extLst>
          </p:cNvPr>
          <p:cNvSpPr/>
          <p:nvPr/>
        </p:nvSpPr>
        <p:spPr>
          <a:xfrm>
            <a:off x="10499944" y="3735550"/>
            <a:ext cx="698644" cy="698644"/>
          </a:xfrm>
          <a:prstGeom prst="roundRect">
            <a:avLst/>
          </a:prstGeom>
          <a:solidFill>
            <a:schemeClr val="bg1"/>
          </a:solidFill>
          <a:ln>
            <a:gradFill flip="none" rotWithShape="1">
              <a:gsLst>
                <a:gs pos="9000">
                  <a:schemeClr val="accent4">
                    <a:lumMod val="60000"/>
                    <a:lumOff val="40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  <a:effectLst>
            <a:outerShdw blurRad="177800" dist="38100" dir="7800000" sx="104000" sy="104000" algn="tl" rotWithShape="0">
              <a:schemeClr val="accent2">
                <a:alpha val="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7" name="Rectangle: Rounded Corners 87">
            <a:extLst>
              <a:ext uri="{FF2B5EF4-FFF2-40B4-BE49-F238E27FC236}">
                <a16:creationId xmlns:a16="http://schemas.microsoft.com/office/drawing/2014/main" id="{F98CDD0A-B5C6-4E00-9710-9A6A5F70CCE6}"/>
              </a:ext>
            </a:extLst>
          </p:cNvPr>
          <p:cNvSpPr/>
          <p:nvPr/>
        </p:nvSpPr>
        <p:spPr>
          <a:xfrm>
            <a:off x="9630026" y="3734383"/>
            <a:ext cx="698644" cy="698644"/>
          </a:xfrm>
          <a:prstGeom prst="roundRect">
            <a:avLst/>
          </a:prstGeom>
          <a:solidFill>
            <a:schemeClr val="bg1"/>
          </a:solidFill>
          <a:ln>
            <a:gradFill flip="none" rotWithShape="1">
              <a:gsLst>
                <a:gs pos="9000">
                  <a:schemeClr val="accent4">
                    <a:lumMod val="60000"/>
                    <a:lumOff val="40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  <a:effectLst>
            <a:outerShdw blurRad="177800" dist="38100" dir="7800000" sx="104000" sy="104000" algn="tl" rotWithShape="0">
              <a:schemeClr val="accent2">
                <a:alpha val="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8" name="Rectangle: Rounded Corners 98">
            <a:extLst>
              <a:ext uri="{FF2B5EF4-FFF2-40B4-BE49-F238E27FC236}">
                <a16:creationId xmlns:a16="http://schemas.microsoft.com/office/drawing/2014/main" id="{1396D571-6CFB-919C-0351-B510E0018796}"/>
              </a:ext>
            </a:extLst>
          </p:cNvPr>
          <p:cNvSpPr/>
          <p:nvPr/>
        </p:nvSpPr>
        <p:spPr>
          <a:xfrm>
            <a:off x="11317455" y="3747290"/>
            <a:ext cx="698644" cy="698644"/>
          </a:xfrm>
          <a:prstGeom prst="roundRect">
            <a:avLst/>
          </a:prstGeom>
          <a:solidFill>
            <a:schemeClr val="bg1"/>
          </a:solidFill>
          <a:ln>
            <a:gradFill flip="none" rotWithShape="1">
              <a:gsLst>
                <a:gs pos="9000">
                  <a:schemeClr val="accent4">
                    <a:lumMod val="60000"/>
                    <a:lumOff val="40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  <a:effectLst>
            <a:outerShdw blurRad="177800" dist="38100" dir="7800000" sx="104000" sy="104000" algn="tl" rotWithShape="0">
              <a:schemeClr val="accent2">
                <a:alpha val="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19" name="Picture 18" descr="A colorful logo on a black background&#10;&#10;AI-generated content may be incorrect.">
            <a:extLst>
              <a:ext uri="{FF2B5EF4-FFF2-40B4-BE49-F238E27FC236}">
                <a16:creationId xmlns:a16="http://schemas.microsoft.com/office/drawing/2014/main" id="{4EA30E9B-E6D5-948F-F69A-F46017AE4F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71" t="32300" r="30546" b="35197"/>
          <a:stretch>
            <a:fillRect/>
          </a:stretch>
        </p:blipFill>
        <p:spPr>
          <a:xfrm>
            <a:off x="10561748" y="3827600"/>
            <a:ext cx="619019" cy="525562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D83D0993-B9FC-B6CE-07DE-48B1869C5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9" r="5099"/>
          <a:stretch/>
        </p:blipFill>
        <p:spPr bwMode="auto">
          <a:xfrm>
            <a:off x="9701191" y="3795601"/>
            <a:ext cx="556445" cy="619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91671AC-A3D3-58A9-3194-D36E5F1ECF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30729" y="3759934"/>
            <a:ext cx="679692" cy="679692"/>
          </a:xfrm>
          <a:prstGeom prst="rect">
            <a:avLst/>
          </a:prstGeom>
        </p:spPr>
      </p:pic>
      <p:sp>
        <p:nvSpPr>
          <p:cNvPr id="23" name="Rectangle: Rounded Corners 98">
            <a:extLst>
              <a:ext uri="{FF2B5EF4-FFF2-40B4-BE49-F238E27FC236}">
                <a16:creationId xmlns:a16="http://schemas.microsoft.com/office/drawing/2014/main" id="{4C739157-2A65-70C2-C74D-04B056FB0F95}"/>
              </a:ext>
            </a:extLst>
          </p:cNvPr>
          <p:cNvSpPr/>
          <p:nvPr/>
        </p:nvSpPr>
        <p:spPr>
          <a:xfrm>
            <a:off x="8731557" y="3750458"/>
            <a:ext cx="698644" cy="698644"/>
          </a:xfrm>
          <a:prstGeom prst="roundRect">
            <a:avLst/>
          </a:prstGeom>
          <a:solidFill>
            <a:schemeClr val="bg1"/>
          </a:solidFill>
          <a:ln>
            <a:gradFill flip="none" rotWithShape="1">
              <a:gsLst>
                <a:gs pos="9000">
                  <a:schemeClr val="accent4">
                    <a:lumMod val="60000"/>
                    <a:lumOff val="40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  <a:effectLst>
            <a:outerShdw blurRad="177800" dist="38100" dir="7800000" sx="104000" sy="104000" algn="tl" rotWithShape="0">
              <a:schemeClr val="accent2">
                <a:alpha val="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BDAFD43-8E30-C769-15AA-DD0FF736FB5E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2070" y="3814811"/>
            <a:ext cx="547875" cy="569937"/>
          </a:xfrm>
          <a:prstGeom prst="rect">
            <a:avLst/>
          </a:prstGeom>
          <a:effectLst>
            <a:glow rad="127000">
              <a:schemeClr val="accent1"/>
            </a:glow>
            <a:reflection endPos="0" dist="50800" dir="5400000" sy="-100000" algn="bl" rotWithShape="0"/>
            <a:softEdge rad="13465"/>
          </a:effec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01E02B7B-6CF4-8E41-5BF1-B3ED7F66CDBF}"/>
              </a:ext>
            </a:extLst>
          </p:cNvPr>
          <p:cNvSpPr/>
          <p:nvPr/>
        </p:nvSpPr>
        <p:spPr>
          <a:xfrm>
            <a:off x="9506271" y="3604231"/>
            <a:ext cx="946153" cy="972299"/>
          </a:xfrm>
          <a:prstGeom prst="ellipse">
            <a:avLst/>
          </a:prstGeom>
          <a:noFill/>
          <a:effectLst>
            <a:glow rad="226349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F8CE18-7FFE-0EED-0DF9-5DF4AF0E62C2}"/>
              </a:ext>
            </a:extLst>
          </p:cNvPr>
          <p:cNvSpPr txBox="1"/>
          <p:nvPr/>
        </p:nvSpPr>
        <p:spPr>
          <a:xfrm>
            <a:off x="8901712" y="3164745"/>
            <a:ext cx="29812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E" dirty="0">
                <a:solidFill>
                  <a:schemeClr val="bg1"/>
                </a:solidFill>
              </a:rPr>
              <a:t>MPC, FHE, VC, and IAM</a:t>
            </a:r>
          </a:p>
        </p:txBody>
      </p:sp>
    </p:spTree>
    <p:extLst>
      <p:ext uri="{BB962C8B-B14F-4D97-AF65-F5344CB8AC3E}">
        <p14:creationId xmlns:p14="http://schemas.microsoft.com/office/powerpoint/2010/main" val="567249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6" grpId="0" animBg="1"/>
      <p:bldP spid="16" grpId="0" animBg="1"/>
      <p:bldP spid="17" grpId="0" animBg="1"/>
      <p:bldP spid="18" grpId="0" animBg="1"/>
      <p:bldP spid="23" grpId="0" animBg="1"/>
      <p:bldP spid="3" grpId="0" animBg="1"/>
      <p:bldP spid="1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8A83EF-E10A-6EF3-A8A9-3FD7D54E1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49E17138-1D12-592C-70D6-93D5D0BC2B38}"/>
              </a:ext>
            </a:extLst>
          </p:cNvPr>
          <p:cNvSpPr/>
          <p:nvPr/>
        </p:nvSpPr>
        <p:spPr>
          <a:xfrm>
            <a:off x="495901" y="248500"/>
            <a:ext cx="7723066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rgbClr val="712AF6"/>
                </a:solidFill>
                <a:latin typeface="Montserrat ExtraBold" panose="00000900000000000000" pitchFamily="2" charset="0"/>
              </a:rPr>
              <a:t>Privacy… but not verifiability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1008E31-0C5B-2E85-712B-DB991B252989}"/>
              </a:ext>
            </a:extLst>
          </p:cNvPr>
          <p:cNvCxnSpPr>
            <a:cxnSpLocks/>
          </p:cNvCxnSpPr>
          <p:nvPr/>
        </p:nvCxnSpPr>
        <p:spPr>
          <a:xfrm flipV="1">
            <a:off x="1167195" y="2723548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72" descr="A blue and black logo&#10;&#10;AI-generated content may be incorrect.">
            <a:extLst>
              <a:ext uri="{FF2B5EF4-FFF2-40B4-BE49-F238E27FC236}">
                <a16:creationId xmlns:a16="http://schemas.microsoft.com/office/drawing/2014/main" id="{B9C3714C-357C-F4D5-97D6-89135456B4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825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D211AA67-A735-B2EA-E47A-C115C59A6666}"/>
              </a:ext>
            </a:extLst>
          </p:cNvPr>
          <p:cNvSpPr txBox="1"/>
          <p:nvPr/>
        </p:nvSpPr>
        <p:spPr>
          <a:xfrm>
            <a:off x="963825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4823EA0-3F05-B24B-4F29-9FC15BADCF1D}"/>
              </a:ext>
            </a:extLst>
          </p:cNvPr>
          <p:cNvSpPr/>
          <p:nvPr/>
        </p:nvSpPr>
        <p:spPr>
          <a:xfrm>
            <a:off x="876433" y="483921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17E2661-3E34-1D1A-F9AB-0CE6DE58A67C}"/>
              </a:ext>
            </a:extLst>
          </p:cNvPr>
          <p:cNvSpPr txBox="1"/>
          <p:nvPr/>
        </p:nvSpPr>
        <p:spPr>
          <a:xfrm>
            <a:off x="733390" y="2271033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6B431982-3D10-A69B-06C8-AE125915F4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79" y="1499073"/>
            <a:ext cx="805942" cy="912282"/>
          </a:xfrm>
          <a:prstGeom prst="rect">
            <a:avLst/>
          </a:prstGeom>
        </p:spPr>
      </p:pic>
      <p:sp>
        <p:nvSpPr>
          <p:cNvPr id="91" name="Left Arrow 90">
            <a:extLst>
              <a:ext uri="{FF2B5EF4-FFF2-40B4-BE49-F238E27FC236}">
                <a16:creationId xmlns:a16="http://schemas.microsoft.com/office/drawing/2014/main" id="{F6EA918F-0D2C-A8E9-C794-02883CE6D43B}"/>
              </a:ext>
            </a:extLst>
          </p:cNvPr>
          <p:cNvSpPr/>
          <p:nvPr/>
        </p:nvSpPr>
        <p:spPr>
          <a:xfrm rot="16200000">
            <a:off x="1022689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5F157CCA-339C-6356-93FE-83983256B6A4}"/>
              </a:ext>
            </a:extLst>
          </p:cNvPr>
          <p:cNvCxnSpPr>
            <a:cxnSpLocks/>
          </p:cNvCxnSpPr>
          <p:nvPr/>
        </p:nvCxnSpPr>
        <p:spPr>
          <a:xfrm flipV="1">
            <a:off x="1315645" y="2754424"/>
            <a:ext cx="1596532" cy="135275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0B26DB9C-FB00-B10B-775C-17CCA2004324}"/>
              </a:ext>
            </a:extLst>
          </p:cNvPr>
          <p:cNvCxnSpPr>
            <a:cxnSpLocks/>
          </p:cNvCxnSpPr>
          <p:nvPr/>
        </p:nvCxnSpPr>
        <p:spPr>
          <a:xfrm flipV="1">
            <a:off x="1512160" y="2780059"/>
            <a:ext cx="3238015" cy="134178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103">
            <a:extLst>
              <a:ext uri="{FF2B5EF4-FFF2-40B4-BE49-F238E27FC236}">
                <a16:creationId xmlns:a16="http://schemas.microsoft.com/office/drawing/2014/main" id="{B18098B0-6529-0C44-98D1-5A2B739A5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3247" y="1486400"/>
            <a:ext cx="805942" cy="912282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6A61C5CE-BDB5-2E31-07B5-0258545A549B}"/>
              </a:ext>
            </a:extLst>
          </p:cNvPr>
          <p:cNvSpPr txBox="1"/>
          <p:nvPr/>
        </p:nvSpPr>
        <p:spPr>
          <a:xfrm>
            <a:off x="4422413" y="2338884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68FB3AF-B4C1-F58E-14AC-6266235B872A}"/>
              </a:ext>
            </a:extLst>
          </p:cNvPr>
          <p:cNvSpPr txBox="1"/>
          <p:nvPr/>
        </p:nvSpPr>
        <p:spPr>
          <a:xfrm>
            <a:off x="2499564" y="2299363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07" name="Picture 106">
            <a:extLst>
              <a:ext uri="{FF2B5EF4-FFF2-40B4-BE49-F238E27FC236}">
                <a16:creationId xmlns:a16="http://schemas.microsoft.com/office/drawing/2014/main" id="{EACDF3D4-41BB-0B58-9EAE-A53AB81645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3963" y="1487141"/>
            <a:ext cx="805942" cy="912282"/>
          </a:xfrm>
          <a:prstGeom prst="rect">
            <a:avLst/>
          </a:prstGeom>
        </p:spPr>
      </p:pic>
      <p:pic>
        <p:nvPicPr>
          <p:cNvPr id="109" name="Picture 108" descr="A person wearing a mask and a hood with a computer&#10;&#10;Description automatically generated">
            <a:extLst>
              <a:ext uri="{FF2B5EF4-FFF2-40B4-BE49-F238E27FC236}">
                <a16:creationId xmlns:a16="http://schemas.microsoft.com/office/drawing/2014/main" id="{3822DE2D-F6EE-9C0E-452D-6A22F024066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8393" y="1387101"/>
            <a:ext cx="443725" cy="443725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47B94CBB-7AD3-878F-1E75-7EC6526A3AB2}"/>
              </a:ext>
            </a:extLst>
          </p:cNvPr>
          <p:cNvGrpSpPr/>
          <p:nvPr/>
        </p:nvGrpSpPr>
        <p:grpSpPr>
          <a:xfrm>
            <a:off x="983846" y="3152361"/>
            <a:ext cx="902966" cy="674870"/>
            <a:chOff x="5095139" y="4079749"/>
            <a:chExt cx="532789" cy="399442"/>
          </a:xfrm>
        </p:grpSpPr>
        <p:pic>
          <p:nvPicPr>
            <p:cNvPr id="6" name="Picture 14">
              <a:extLst>
                <a:ext uri="{FF2B5EF4-FFF2-40B4-BE49-F238E27FC236}">
                  <a16:creationId xmlns:a16="http://schemas.microsoft.com/office/drawing/2014/main" id="{4E37360B-7763-DB71-9CEA-D563EEC50F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5139" y="4079749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72694B6-6ED6-0398-829F-D07C3EAE48A8}"/>
                </a:ext>
              </a:extLst>
            </p:cNvPr>
            <p:cNvSpPr txBox="1"/>
            <p:nvPr/>
          </p:nvSpPr>
          <p:spPr>
            <a:xfrm>
              <a:off x="5340670" y="4171414"/>
              <a:ext cx="2872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4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1</a:t>
              </a:r>
              <a:endParaRPr kumimoji="0" lang="en-AE" sz="14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95962AA-12B0-611A-0F14-D163BFE68E30}"/>
              </a:ext>
            </a:extLst>
          </p:cNvPr>
          <p:cNvGrpSpPr/>
          <p:nvPr/>
        </p:nvGrpSpPr>
        <p:grpSpPr>
          <a:xfrm>
            <a:off x="2185706" y="3147764"/>
            <a:ext cx="955833" cy="687795"/>
            <a:chOff x="7443781" y="4089213"/>
            <a:chExt cx="563983" cy="407092"/>
          </a:xfrm>
        </p:grpSpPr>
        <p:pic>
          <p:nvPicPr>
            <p:cNvPr id="4" name="Picture 14">
              <a:extLst>
                <a:ext uri="{FF2B5EF4-FFF2-40B4-BE49-F238E27FC236}">
                  <a16:creationId xmlns:a16="http://schemas.microsoft.com/office/drawing/2014/main" id="{3DC3B627-4E5C-88A8-33BB-4E05ADD775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3781" y="4089213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6D44618-1EAE-8DF1-A3C1-5199C3E96D29}"/>
                </a:ext>
              </a:extLst>
            </p:cNvPr>
            <p:cNvSpPr txBox="1"/>
            <p:nvPr/>
          </p:nvSpPr>
          <p:spPr>
            <a:xfrm>
              <a:off x="7682034" y="4188528"/>
              <a:ext cx="3257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2</a:t>
              </a:r>
              <a:endParaRPr kumimoji="0" lang="en-AE" sz="14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BB78652-049E-6276-E6FB-76DCD2663610}"/>
              </a:ext>
            </a:extLst>
          </p:cNvPr>
          <p:cNvGrpSpPr/>
          <p:nvPr/>
        </p:nvGrpSpPr>
        <p:grpSpPr>
          <a:xfrm>
            <a:off x="3519241" y="3118370"/>
            <a:ext cx="983560" cy="716872"/>
            <a:chOff x="9722045" y="4095366"/>
            <a:chExt cx="580343" cy="424302"/>
          </a:xfrm>
        </p:grpSpPr>
        <p:pic>
          <p:nvPicPr>
            <p:cNvPr id="3" name="Picture 14">
              <a:extLst>
                <a:ext uri="{FF2B5EF4-FFF2-40B4-BE49-F238E27FC236}">
                  <a16:creationId xmlns:a16="http://schemas.microsoft.com/office/drawing/2014/main" id="{9D83901E-DAB7-8552-3627-92E4D8A9DA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22045" y="4095366"/>
              <a:ext cx="270582" cy="27058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907561C-DB18-5E35-7EB7-EEBA241A7A58}"/>
                </a:ext>
              </a:extLst>
            </p:cNvPr>
            <p:cNvSpPr txBox="1"/>
            <p:nvPr/>
          </p:nvSpPr>
          <p:spPr>
            <a:xfrm>
              <a:off x="9978260" y="4211891"/>
              <a:ext cx="3241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F7375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,</a:t>
              </a:r>
              <a:r>
                <a:rPr lang="en-US" sz="1400" kern="0">
                  <a:solidFill>
                    <a:srgbClr val="6F7375"/>
                  </a:solidFill>
                  <a:latin typeface="Montserrat" panose="00000500000000000000" pitchFamily="2" charset="0"/>
                </a:rPr>
                <a:t>3</a:t>
              </a:r>
              <a:endParaRPr kumimoji="0" lang="en-AE" sz="14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</p:grpSp>
      <p:pic>
        <p:nvPicPr>
          <p:cNvPr id="13" name="Picture 20">
            <a:extLst>
              <a:ext uri="{FF2B5EF4-FFF2-40B4-BE49-F238E27FC236}">
                <a16:creationId xmlns:a16="http://schemas.microsoft.com/office/drawing/2014/main" id="{BB65C634-FD7B-DDF9-5FD8-9771FB5C9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698" y="4873576"/>
            <a:ext cx="544291" cy="489330"/>
          </a:xfrm>
          <a:prstGeom prst="rect">
            <a:avLst/>
          </a:prstGeom>
          <a:noFill/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F3E025F-7AAC-AAAE-23D5-531151A170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228" y="3090575"/>
            <a:ext cx="484667" cy="4846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3CD074F-2448-38D1-E674-CEB6459C0C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624" y="4858998"/>
            <a:ext cx="542064" cy="5420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sp>
        <p:nvSpPr>
          <p:cNvPr id="17" name="TextBox 29">
            <a:extLst>
              <a:ext uri="{FF2B5EF4-FFF2-40B4-BE49-F238E27FC236}">
                <a16:creationId xmlns:a16="http://schemas.microsoft.com/office/drawing/2014/main" id="{9D9CF5B4-D209-9BC5-DF4C-39C91463AC76}"/>
              </a:ext>
            </a:extLst>
          </p:cNvPr>
          <p:cNvSpPr txBox="1"/>
          <p:nvPr/>
        </p:nvSpPr>
        <p:spPr>
          <a:xfrm>
            <a:off x="6753549" y="2167955"/>
            <a:ext cx="4725772" cy="22945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An attacker controlling an aggregator cannot extract any 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lang="en-GB" sz="1400" b="1" kern="0" dirty="0">
              <a:latin typeface="Montserrat 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An attacker controlling an aggregator cannot tamper the resulting model in a “smart way”.. 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It cannot produce an AI model with trapdoors – is limited to additive attack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endParaRPr lang="en-GB" sz="1400" b="0" kern="0" dirty="0">
              <a:latin typeface="Montserrat 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An attacker controlling an aggregator can tamper the final model.. And we will not know who was </a:t>
            </a:r>
            <a:r>
              <a:rPr lang="en-GB" sz="1400" kern="0" dirty="0">
                <a:latin typeface="Montserrat "/>
                <a:sym typeface="Wingdings" pitchFamily="2" charset="2"/>
              </a:rPr>
              <a:t>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1F9550-D6B0-28F6-646C-3E53548DDD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5787" y="2123350"/>
            <a:ext cx="461665" cy="4616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959B722-E98B-6E4E-BB66-D9536E397F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5786" y="2770425"/>
            <a:ext cx="461665" cy="461665"/>
          </a:xfrm>
          <a:prstGeom prst="rect">
            <a:avLst/>
          </a:prstGeom>
        </p:spPr>
      </p:pic>
      <p:pic>
        <p:nvPicPr>
          <p:cNvPr id="21" name="Picture 20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BA6F7491-4365-186C-937E-D14CF0C723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5786" y="3755221"/>
            <a:ext cx="465832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697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03834-93AC-C086-2DD0-EA656ED6F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C5478-E874-8BD9-B20F-D6716FFD6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/>
              <a:t>Verifi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A47813-CA06-B9FA-1E6B-9CF0C91683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356372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509F5B-3279-6177-885D-20D8EAF2F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5D9C3B03-9ECB-4AA5-9714-1178A981F7D8}"/>
              </a:ext>
            </a:extLst>
          </p:cNvPr>
          <p:cNvSpPr/>
          <p:nvPr/>
        </p:nvSpPr>
        <p:spPr>
          <a:xfrm>
            <a:off x="2950070" y="4894092"/>
            <a:ext cx="1678843" cy="6786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" name="Structure">
            <a:extLst>
              <a:ext uri="{FF2B5EF4-FFF2-40B4-BE49-F238E27FC236}">
                <a16:creationId xmlns:a16="http://schemas.microsoft.com/office/drawing/2014/main" id="{D9651945-9D13-A3B0-42A1-C001FA471A97}"/>
              </a:ext>
            </a:extLst>
          </p:cNvPr>
          <p:cNvSpPr/>
          <p:nvPr/>
        </p:nvSpPr>
        <p:spPr>
          <a:xfrm>
            <a:off x="495900" y="248500"/>
            <a:ext cx="6153255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rgbClr val="712AF6"/>
                </a:solidFill>
                <a:latin typeface="Montserrat ExtraBold" panose="00000900000000000000" pitchFamily="2" charset="0"/>
              </a:rPr>
              <a:t>Confidentiality &amp; Verifiability (I)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6F59F2-CF7C-A9BA-2621-35CA96E5D4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058" y="2319286"/>
            <a:ext cx="805942" cy="912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949CEF-451F-8786-A2D8-AF61459041D7}"/>
              </a:ext>
            </a:extLst>
          </p:cNvPr>
          <p:cNvSpPr txBox="1"/>
          <p:nvPr/>
        </p:nvSpPr>
        <p:spPr>
          <a:xfrm>
            <a:off x="5259224" y="3235568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45E717-90E0-F9A9-0F76-525C96B711D8}"/>
              </a:ext>
            </a:extLst>
          </p:cNvPr>
          <p:cNvSpPr txBox="1"/>
          <p:nvPr/>
        </p:nvSpPr>
        <p:spPr>
          <a:xfrm>
            <a:off x="3061777" y="3209637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4BEB09-AD40-64BD-F8AE-CF9DAB17A939}"/>
              </a:ext>
            </a:extLst>
          </p:cNvPr>
          <p:cNvSpPr txBox="1"/>
          <p:nvPr/>
        </p:nvSpPr>
        <p:spPr>
          <a:xfrm>
            <a:off x="864330" y="3183706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8B675D-9B3E-DC37-86BB-5BD0941079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6176" y="2333617"/>
            <a:ext cx="805942" cy="91228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7B0764-EE92-5B90-5006-89A24570B9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619" y="2347948"/>
            <a:ext cx="805942" cy="9122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2DD9C90-B140-1573-C2F4-FF12F71DF686}"/>
              </a:ext>
            </a:extLst>
          </p:cNvPr>
          <p:cNvSpPr/>
          <p:nvPr/>
        </p:nvSpPr>
        <p:spPr>
          <a:xfrm>
            <a:off x="796548" y="1962659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21F59EB6-8B3B-5D22-1D01-6F3555BB4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30" y="2067700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7B5D6B55-AAAC-55A3-CAF2-DE1B6DE032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140" y="2068536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3" name="Picture 14">
            <a:extLst>
              <a:ext uri="{FF2B5EF4-FFF2-40B4-BE49-F238E27FC236}">
                <a16:creationId xmlns:a16="http://schemas.microsoft.com/office/drawing/2014/main" id="{C01643CA-D695-3F3A-6D40-FA88BA2D2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401" y="2067700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30C84F3-4430-E96B-8BE4-60D0FEF4A98D}"/>
              </a:ext>
            </a:extLst>
          </p:cNvPr>
          <p:cNvSpPr/>
          <p:nvPr/>
        </p:nvSpPr>
        <p:spPr>
          <a:xfrm>
            <a:off x="3167983" y="1959381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FDD7B81-1DEB-DC7D-3FC4-E7095C7A7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865" y="2064422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6" name="Picture 14">
            <a:extLst>
              <a:ext uri="{FF2B5EF4-FFF2-40B4-BE49-F238E27FC236}">
                <a16:creationId xmlns:a16="http://schemas.microsoft.com/office/drawing/2014/main" id="{053CBEE9-74EF-01A5-BE25-92852AED5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575" y="2065258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7" name="Picture 14">
            <a:extLst>
              <a:ext uri="{FF2B5EF4-FFF2-40B4-BE49-F238E27FC236}">
                <a16:creationId xmlns:a16="http://schemas.microsoft.com/office/drawing/2014/main" id="{D2D31E74-8AE1-9E98-537E-3472649C6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836" y="2064422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06CFF5-4552-B1BC-DA85-70ADF79ACCF9}"/>
              </a:ext>
            </a:extLst>
          </p:cNvPr>
          <p:cNvSpPr/>
          <p:nvPr/>
        </p:nvSpPr>
        <p:spPr>
          <a:xfrm>
            <a:off x="5443748" y="1958073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9" name="Picture 14">
            <a:extLst>
              <a:ext uri="{FF2B5EF4-FFF2-40B4-BE49-F238E27FC236}">
                <a16:creationId xmlns:a16="http://schemas.microsoft.com/office/drawing/2014/main" id="{820DC4DF-19F1-2FB5-84F0-D372558328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630" y="2063114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21" name="Picture 14">
            <a:extLst>
              <a:ext uri="{FF2B5EF4-FFF2-40B4-BE49-F238E27FC236}">
                <a16:creationId xmlns:a16="http://schemas.microsoft.com/office/drawing/2014/main" id="{4B5F7675-E5E0-1DBC-F36C-F09235009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340" y="2063950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22" name="Picture 14">
            <a:extLst>
              <a:ext uri="{FF2B5EF4-FFF2-40B4-BE49-F238E27FC236}">
                <a16:creationId xmlns:a16="http://schemas.microsoft.com/office/drawing/2014/main" id="{825B7EB8-09EC-38C1-3175-D6A2A0416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601" y="2063114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23" name="Left Arrow 22">
            <a:extLst>
              <a:ext uri="{FF2B5EF4-FFF2-40B4-BE49-F238E27FC236}">
                <a16:creationId xmlns:a16="http://schemas.microsoft.com/office/drawing/2014/main" id="{7B3562FA-ADB2-ACA5-31F3-130E3BD9034C}"/>
              </a:ext>
            </a:extLst>
          </p:cNvPr>
          <p:cNvSpPr/>
          <p:nvPr/>
        </p:nvSpPr>
        <p:spPr>
          <a:xfrm rot="10800000">
            <a:off x="1551810" y="200849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4" name="Left Arrow 23">
            <a:extLst>
              <a:ext uri="{FF2B5EF4-FFF2-40B4-BE49-F238E27FC236}">
                <a16:creationId xmlns:a16="http://schemas.microsoft.com/office/drawing/2014/main" id="{DDB7AA5F-BC13-D934-33FC-C93859447FB4}"/>
              </a:ext>
            </a:extLst>
          </p:cNvPr>
          <p:cNvSpPr/>
          <p:nvPr/>
        </p:nvSpPr>
        <p:spPr>
          <a:xfrm rot="10800000">
            <a:off x="3894214" y="2012177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5" name="Left Arrow 24">
            <a:extLst>
              <a:ext uri="{FF2B5EF4-FFF2-40B4-BE49-F238E27FC236}">
                <a16:creationId xmlns:a16="http://schemas.microsoft.com/office/drawing/2014/main" id="{A16AD028-617D-A8C6-82C1-52FAB4E4DBB7}"/>
              </a:ext>
            </a:extLst>
          </p:cNvPr>
          <p:cNvSpPr/>
          <p:nvPr/>
        </p:nvSpPr>
        <p:spPr>
          <a:xfrm rot="10800000">
            <a:off x="6172478" y="201783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26" name="Picture 14">
            <a:extLst>
              <a:ext uri="{FF2B5EF4-FFF2-40B4-BE49-F238E27FC236}">
                <a16:creationId xmlns:a16="http://schemas.microsoft.com/office/drawing/2014/main" id="{BB13BA87-4132-D1EB-9B79-B45EA2616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199" y="2035550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27" name="Picture 14">
            <a:extLst>
              <a:ext uri="{FF2B5EF4-FFF2-40B4-BE49-F238E27FC236}">
                <a16:creationId xmlns:a16="http://schemas.microsoft.com/office/drawing/2014/main" id="{F024A821-B08A-7C83-D47E-EC5B43AC2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935" y="2029397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28" name="Picture 14">
            <a:extLst>
              <a:ext uri="{FF2B5EF4-FFF2-40B4-BE49-F238E27FC236}">
                <a16:creationId xmlns:a16="http://schemas.microsoft.com/office/drawing/2014/main" id="{F0779362-FC5B-0864-40EB-AFEFC23A7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293" y="2019933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F65E599-CC3D-9FA1-A665-C59786EF58BA}"/>
              </a:ext>
            </a:extLst>
          </p:cNvPr>
          <p:cNvSpPr/>
          <p:nvPr/>
        </p:nvSpPr>
        <p:spPr>
          <a:xfrm>
            <a:off x="8309031" y="1798091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 dirty="0">
                <a:solidFill>
                  <a:schemeClr val="accent1"/>
                </a:solidFill>
              </a:rPr>
              <a:t>Private </a:t>
            </a:r>
          </a:p>
          <a:p>
            <a:pPr algn="ctr"/>
            <a:r>
              <a:rPr lang="en-AE" sz="1600">
                <a:solidFill>
                  <a:schemeClr val="accent1"/>
                </a:solidFill>
              </a:rPr>
              <a:t>Aggreg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D8CA8F0-98A1-4815-AF53-3ABA67DE6310}"/>
              </a:ext>
            </a:extLst>
          </p:cNvPr>
          <p:cNvSpPr txBox="1"/>
          <p:nvPr/>
        </p:nvSpPr>
        <p:spPr>
          <a:xfrm>
            <a:off x="1777584" y="1727945"/>
            <a:ext cx="6799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8AA295C-C9F2-456B-3C5B-D59181F108B7}"/>
              </a:ext>
            </a:extLst>
          </p:cNvPr>
          <p:cNvSpPr txBox="1"/>
          <p:nvPr/>
        </p:nvSpPr>
        <p:spPr>
          <a:xfrm>
            <a:off x="4106279" y="1735337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922B34E-6615-63C8-C12D-FADCD3CD7AF3}"/>
              </a:ext>
            </a:extLst>
          </p:cNvPr>
          <p:cNvSpPr txBox="1"/>
          <p:nvPr/>
        </p:nvSpPr>
        <p:spPr>
          <a:xfrm>
            <a:off x="6330133" y="1746880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1CF9A82-4CC5-ADF5-806F-2A46D3868432}"/>
              </a:ext>
            </a:extLst>
          </p:cNvPr>
          <p:cNvSpPr txBox="1"/>
          <p:nvPr/>
        </p:nvSpPr>
        <p:spPr>
          <a:xfrm>
            <a:off x="2132999" y="2073784"/>
            <a:ext cx="2664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BA0F6E-0747-9896-DABC-3C9A1B494F29}"/>
              </a:ext>
            </a:extLst>
          </p:cNvPr>
          <p:cNvSpPr txBox="1"/>
          <p:nvPr/>
        </p:nvSpPr>
        <p:spPr>
          <a:xfrm>
            <a:off x="4481276" y="2099553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3B0EED-4C92-9D0A-835E-7616497EED44}"/>
              </a:ext>
            </a:extLst>
          </p:cNvPr>
          <p:cNvSpPr txBox="1"/>
          <p:nvPr/>
        </p:nvSpPr>
        <p:spPr>
          <a:xfrm>
            <a:off x="6767981" y="2099553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AFDF5F7-7120-BAC8-75D8-E6F853E3CA78}"/>
              </a:ext>
            </a:extLst>
          </p:cNvPr>
          <p:cNvCxnSpPr/>
          <p:nvPr/>
        </p:nvCxnSpPr>
        <p:spPr>
          <a:xfrm>
            <a:off x="495900" y="1049868"/>
            <a:ext cx="110977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0C75C826-5BA4-F57C-D8FE-1194C78349A3}"/>
              </a:ext>
            </a:extLst>
          </p:cNvPr>
          <p:cNvSpPr/>
          <p:nvPr/>
        </p:nvSpPr>
        <p:spPr>
          <a:xfrm>
            <a:off x="5326953" y="1368625"/>
            <a:ext cx="796916" cy="521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B890D3-43AC-91D8-A887-7519130342CA}"/>
              </a:ext>
            </a:extLst>
          </p:cNvPr>
          <p:cNvSpPr/>
          <p:nvPr/>
        </p:nvSpPr>
        <p:spPr>
          <a:xfrm>
            <a:off x="2978216" y="4082813"/>
            <a:ext cx="1678843" cy="6786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1" name="Rounded Rectangle 110">
            <a:extLst>
              <a:ext uri="{FF2B5EF4-FFF2-40B4-BE49-F238E27FC236}">
                <a16:creationId xmlns:a16="http://schemas.microsoft.com/office/drawing/2014/main" id="{8EE746A5-2EA9-BD9D-FB53-C552CD15D478}"/>
              </a:ext>
            </a:extLst>
          </p:cNvPr>
          <p:cNvSpPr/>
          <p:nvPr/>
        </p:nvSpPr>
        <p:spPr>
          <a:xfrm>
            <a:off x="8309029" y="2576863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Verifiability</a:t>
            </a:r>
          </a:p>
        </p:txBody>
      </p:sp>
      <p:sp>
        <p:nvSpPr>
          <p:cNvPr id="112" name="Right Brace 111">
            <a:extLst>
              <a:ext uri="{FF2B5EF4-FFF2-40B4-BE49-F238E27FC236}">
                <a16:creationId xmlns:a16="http://schemas.microsoft.com/office/drawing/2014/main" id="{007B6578-5FFE-7648-676F-DE915A58C2D8}"/>
              </a:ext>
            </a:extLst>
          </p:cNvPr>
          <p:cNvSpPr/>
          <p:nvPr/>
        </p:nvSpPr>
        <p:spPr>
          <a:xfrm rot="5400000">
            <a:off x="3532118" y="746128"/>
            <a:ext cx="457612" cy="6137713"/>
          </a:xfrm>
          <a:prstGeom prst="rightBrac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2CDF4AC5-9A3A-CFA4-BD6C-7C84127140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537" y="1368625"/>
            <a:ext cx="495591" cy="495591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7BA625DC-4443-995D-3B45-C880EC8676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4882" y="4125935"/>
            <a:ext cx="544209" cy="616015"/>
          </a:xfrm>
          <a:prstGeom prst="rect">
            <a:avLst/>
          </a:prstGeom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02E5FA5B-0B7E-1723-2499-61B88A69BD82}"/>
              </a:ext>
            </a:extLst>
          </p:cNvPr>
          <p:cNvSpPr txBox="1"/>
          <p:nvPr/>
        </p:nvSpPr>
        <p:spPr>
          <a:xfrm>
            <a:off x="3776856" y="4270906"/>
            <a:ext cx="7264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3 or x4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426E3AB-E1C4-FEEF-051C-B944CEF2EEA9}"/>
              </a:ext>
            </a:extLst>
          </p:cNvPr>
          <p:cNvSpPr/>
          <p:nvPr/>
        </p:nvSpPr>
        <p:spPr>
          <a:xfrm>
            <a:off x="3022397" y="1375567"/>
            <a:ext cx="796916" cy="521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id="{AD4FF241-B741-EDE6-2CE7-B7442C13BF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981" y="1375567"/>
            <a:ext cx="495591" cy="495591"/>
          </a:xfrm>
          <a:prstGeom prst="rect">
            <a:avLst/>
          </a:prstGeom>
        </p:spPr>
      </p:pic>
      <p:sp>
        <p:nvSpPr>
          <p:cNvPr id="119" name="Rectangle 118">
            <a:extLst>
              <a:ext uri="{FF2B5EF4-FFF2-40B4-BE49-F238E27FC236}">
                <a16:creationId xmlns:a16="http://schemas.microsoft.com/office/drawing/2014/main" id="{4D063605-3FBD-5284-B10C-6006FD054106}"/>
              </a:ext>
            </a:extLst>
          </p:cNvPr>
          <p:cNvSpPr/>
          <p:nvPr/>
        </p:nvSpPr>
        <p:spPr>
          <a:xfrm>
            <a:off x="717841" y="1382509"/>
            <a:ext cx="796916" cy="521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6AF63B3B-B836-7A47-7A18-BD6324C11A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25" y="1382509"/>
            <a:ext cx="495591" cy="495591"/>
          </a:xfrm>
          <a:prstGeom prst="rect">
            <a:avLst/>
          </a:prstGeom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18A1751C-6532-785F-17FB-1241123A150C}"/>
              </a:ext>
            </a:extLst>
          </p:cNvPr>
          <p:cNvSpPr txBox="1"/>
          <p:nvPr/>
        </p:nvSpPr>
        <p:spPr>
          <a:xfrm>
            <a:off x="598311" y="1130416"/>
            <a:ext cx="9813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Bigger Size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253C36DE-3102-8B49-6112-9F5A024D2449}"/>
              </a:ext>
            </a:extLst>
          </p:cNvPr>
          <p:cNvSpPr txBox="1"/>
          <p:nvPr/>
        </p:nvSpPr>
        <p:spPr>
          <a:xfrm>
            <a:off x="2980759" y="1115210"/>
            <a:ext cx="9813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Bigger Size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9BB418ED-3B35-DCEF-E318-70EB4B4BA9C9}"/>
              </a:ext>
            </a:extLst>
          </p:cNvPr>
          <p:cNvSpPr txBox="1"/>
          <p:nvPr/>
        </p:nvSpPr>
        <p:spPr>
          <a:xfrm>
            <a:off x="5229652" y="1110370"/>
            <a:ext cx="9813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Bigger Size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8AD43A5-F28F-8937-1F9A-07DDB3E98B77}"/>
              </a:ext>
            </a:extLst>
          </p:cNvPr>
          <p:cNvSpPr txBox="1"/>
          <p:nvPr/>
        </p:nvSpPr>
        <p:spPr>
          <a:xfrm>
            <a:off x="3039295" y="4995432"/>
            <a:ext cx="77777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6F7375"/>
                </a:solidFill>
                <a:latin typeface="Montserrat" panose="00000500000000000000" pitchFamily="2" charset="0"/>
              </a:rPr>
              <a:t>Tru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6F7375"/>
                </a:solidFill>
                <a:latin typeface="Montserrat" panose="00000500000000000000" pitchFamily="2" charset="0"/>
              </a:rPr>
              <a:t>reduced</a:t>
            </a:r>
            <a:endParaRPr kumimoji="0" lang="en-AE" sz="1100" b="0" i="0" u="none" strike="noStrike" kern="0" cap="none" spc="0" normalizeH="0" baseline="0" noProof="0" dirty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F316ADD-D013-9F3B-53F9-7D1F3D2CF526}"/>
              </a:ext>
            </a:extLst>
          </p:cNvPr>
          <p:cNvSpPr txBox="1"/>
          <p:nvPr/>
        </p:nvSpPr>
        <p:spPr>
          <a:xfrm>
            <a:off x="9211241" y="865202"/>
            <a:ext cx="2382448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US">
                <a:latin typeface="Charter"/>
                <a:cs typeface="Arial"/>
              </a:rPr>
              <a:t>P</a:t>
            </a:r>
            <a:r>
              <a:rPr lang="en-AE">
                <a:latin typeface="Charter"/>
                <a:cs typeface="Arial"/>
              </a:rPr>
              <a:t>rivate aggregation</a:t>
            </a:r>
          </a:p>
        </p:txBody>
      </p:sp>
      <p:pic>
        <p:nvPicPr>
          <p:cNvPr id="127" name="Picture 126" descr="A person wearing a mask and a hood with a computer&#10;&#10;Description automatically generated">
            <a:extLst>
              <a:ext uri="{FF2B5EF4-FFF2-40B4-BE49-F238E27FC236}">
                <a16:creationId xmlns:a16="http://schemas.microsoft.com/office/drawing/2014/main" id="{D765DD89-00A8-DE61-F00D-0C32D008978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6838" y="4982594"/>
            <a:ext cx="443725" cy="443725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C0663CE4-F059-73C3-E782-CD5C007793C8}"/>
              </a:ext>
            </a:extLst>
          </p:cNvPr>
          <p:cNvSpPr txBox="1"/>
          <p:nvPr/>
        </p:nvSpPr>
        <p:spPr>
          <a:xfrm>
            <a:off x="4263619" y="5203794"/>
            <a:ext cx="3113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x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03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5" grpId="0" animBg="1"/>
      <p:bldP spid="20" grpId="0" animBg="1"/>
      <p:bldP spid="111" grpId="0" animBg="1"/>
      <p:bldP spid="112" grpId="0" animBg="1"/>
      <p:bldP spid="116" grpId="0"/>
      <p:bldP spid="117" grpId="0" animBg="1"/>
      <p:bldP spid="119" grpId="0" animBg="1"/>
      <p:bldP spid="121" grpId="0"/>
      <p:bldP spid="122" grpId="0"/>
      <p:bldP spid="123" grpId="0"/>
      <p:bldP spid="124" grpId="0"/>
      <p:bldP spid="12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A9BD12-6ADD-B6B7-BA5D-4076F5C4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732230B4-5E81-BF96-9E06-7597F0945250}"/>
              </a:ext>
            </a:extLst>
          </p:cNvPr>
          <p:cNvSpPr/>
          <p:nvPr/>
        </p:nvSpPr>
        <p:spPr>
          <a:xfrm>
            <a:off x="495900" y="248500"/>
            <a:ext cx="6153255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rgbClr val="712AF6"/>
                </a:solidFill>
                <a:latin typeface="Montserrat ExtraBold" panose="00000900000000000000" pitchFamily="2" charset="0"/>
              </a:rPr>
              <a:t>Confidentiality &amp; Verifiability (II)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D507E9-91FA-B4BF-F581-BF8E240F80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058" y="2319286"/>
            <a:ext cx="805942" cy="912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30DA481-8052-E769-841C-298CE77CAC24}"/>
              </a:ext>
            </a:extLst>
          </p:cNvPr>
          <p:cNvSpPr txBox="1"/>
          <p:nvPr/>
        </p:nvSpPr>
        <p:spPr>
          <a:xfrm>
            <a:off x="5259224" y="3235568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A9DE1A-AAB0-DD86-509F-C74AD351812A}"/>
              </a:ext>
            </a:extLst>
          </p:cNvPr>
          <p:cNvSpPr txBox="1"/>
          <p:nvPr/>
        </p:nvSpPr>
        <p:spPr>
          <a:xfrm>
            <a:off x="3061777" y="3209637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E46E2C-3D15-B239-508D-EFFBEB8F2234}"/>
              </a:ext>
            </a:extLst>
          </p:cNvPr>
          <p:cNvSpPr txBox="1"/>
          <p:nvPr/>
        </p:nvSpPr>
        <p:spPr>
          <a:xfrm>
            <a:off x="864330" y="3183706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E57A99-EEF8-E9F7-4A87-E33E34C2E9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6176" y="2333617"/>
            <a:ext cx="805942" cy="91228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79E49C7-43CD-F30D-550B-9C280E538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619" y="2347948"/>
            <a:ext cx="805942" cy="9122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502BCC5-E2A8-9453-D3F9-50C8A163EA05}"/>
              </a:ext>
            </a:extLst>
          </p:cNvPr>
          <p:cNvSpPr/>
          <p:nvPr/>
        </p:nvSpPr>
        <p:spPr>
          <a:xfrm>
            <a:off x="796548" y="1962659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294D93B8-75DA-E176-8379-0BDC4FEC2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30" y="2067700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6C09F692-78C7-131D-4CEE-28625A2E2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140" y="2068536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3" name="Picture 14">
            <a:extLst>
              <a:ext uri="{FF2B5EF4-FFF2-40B4-BE49-F238E27FC236}">
                <a16:creationId xmlns:a16="http://schemas.microsoft.com/office/drawing/2014/main" id="{3DA05DB5-E692-5E1C-9F58-1C8F3345A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401" y="2067700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4669262-FAC4-F8D2-6167-72951CDE48AD}"/>
              </a:ext>
            </a:extLst>
          </p:cNvPr>
          <p:cNvSpPr/>
          <p:nvPr/>
        </p:nvSpPr>
        <p:spPr>
          <a:xfrm>
            <a:off x="3167983" y="1959381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3BE362A-9ED7-7E16-65FA-0B6849057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865" y="2064422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6" name="Picture 14">
            <a:extLst>
              <a:ext uri="{FF2B5EF4-FFF2-40B4-BE49-F238E27FC236}">
                <a16:creationId xmlns:a16="http://schemas.microsoft.com/office/drawing/2014/main" id="{7DE8AE04-759A-2630-86EB-49570BCBB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575" y="2065258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7" name="Picture 14">
            <a:extLst>
              <a:ext uri="{FF2B5EF4-FFF2-40B4-BE49-F238E27FC236}">
                <a16:creationId xmlns:a16="http://schemas.microsoft.com/office/drawing/2014/main" id="{BA8D41A5-6C5D-4FE0-2817-AF2CEF7548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836" y="2064422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097AC50-E784-F36D-6CF8-E74834ED5A87}"/>
              </a:ext>
            </a:extLst>
          </p:cNvPr>
          <p:cNvSpPr/>
          <p:nvPr/>
        </p:nvSpPr>
        <p:spPr>
          <a:xfrm>
            <a:off x="5443748" y="1958073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9" name="Picture 14">
            <a:extLst>
              <a:ext uri="{FF2B5EF4-FFF2-40B4-BE49-F238E27FC236}">
                <a16:creationId xmlns:a16="http://schemas.microsoft.com/office/drawing/2014/main" id="{897643F2-8EB7-195D-6AD8-BC1B6486B1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630" y="2063114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21" name="Picture 14">
            <a:extLst>
              <a:ext uri="{FF2B5EF4-FFF2-40B4-BE49-F238E27FC236}">
                <a16:creationId xmlns:a16="http://schemas.microsoft.com/office/drawing/2014/main" id="{15079BD1-9DCC-6B07-DC01-5853D59D6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340" y="2063950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22" name="Picture 14">
            <a:extLst>
              <a:ext uri="{FF2B5EF4-FFF2-40B4-BE49-F238E27FC236}">
                <a16:creationId xmlns:a16="http://schemas.microsoft.com/office/drawing/2014/main" id="{7220AC5B-02D5-1EC0-FDAE-2789EDABF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601" y="2063114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23" name="Left Arrow 22">
            <a:extLst>
              <a:ext uri="{FF2B5EF4-FFF2-40B4-BE49-F238E27FC236}">
                <a16:creationId xmlns:a16="http://schemas.microsoft.com/office/drawing/2014/main" id="{9EFAAB64-7852-6194-4238-6AED48DC8E3C}"/>
              </a:ext>
            </a:extLst>
          </p:cNvPr>
          <p:cNvSpPr/>
          <p:nvPr/>
        </p:nvSpPr>
        <p:spPr>
          <a:xfrm rot="10800000">
            <a:off x="1551810" y="200849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4" name="Left Arrow 23">
            <a:extLst>
              <a:ext uri="{FF2B5EF4-FFF2-40B4-BE49-F238E27FC236}">
                <a16:creationId xmlns:a16="http://schemas.microsoft.com/office/drawing/2014/main" id="{9E257D4F-E063-0DE0-B974-1195A8336BFF}"/>
              </a:ext>
            </a:extLst>
          </p:cNvPr>
          <p:cNvSpPr/>
          <p:nvPr/>
        </p:nvSpPr>
        <p:spPr>
          <a:xfrm rot="10800000">
            <a:off x="3894214" y="2012177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5" name="Left Arrow 24">
            <a:extLst>
              <a:ext uri="{FF2B5EF4-FFF2-40B4-BE49-F238E27FC236}">
                <a16:creationId xmlns:a16="http://schemas.microsoft.com/office/drawing/2014/main" id="{92CF8EA9-E91A-7E34-B41F-C76762D080BE}"/>
              </a:ext>
            </a:extLst>
          </p:cNvPr>
          <p:cNvSpPr/>
          <p:nvPr/>
        </p:nvSpPr>
        <p:spPr>
          <a:xfrm rot="10800000">
            <a:off x="6172478" y="201783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26" name="Picture 14">
            <a:extLst>
              <a:ext uri="{FF2B5EF4-FFF2-40B4-BE49-F238E27FC236}">
                <a16:creationId xmlns:a16="http://schemas.microsoft.com/office/drawing/2014/main" id="{AB44590C-7AE8-F157-DB55-7A9D344AD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199" y="2035550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27" name="Picture 14">
            <a:extLst>
              <a:ext uri="{FF2B5EF4-FFF2-40B4-BE49-F238E27FC236}">
                <a16:creationId xmlns:a16="http://schemas.microsoft.com/office/drawing/2014/main" id="{86705CC6-94B8-AEA1-241D-C95932664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935" y="2029397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28" name="Picture 14">
            <a:extLst>
              <a:ext uri="{FF2B5EF4-FFF2-40B4-BE49-F238E27FC236}">
                <a16:creationId xmlns:a16="http://schemas.microsoft.com/office/drawing/2014/main" id="{3387D410-8561-4D20-27DA-F71103297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293" y="2019933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06CF79F-A1D2-EC30-8F07-D0D44AD0BB66}"/>
              </a:ext>
            </a:extLst>
          </p:cNvPr>
          <p:cNvSpPr/>
          <p:nvPr/>
        </p:nvSpPr>
        <p:spPr>
          <a:xfrm>
            <a:off x="8309031" y="1798091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 dirty="0">
                <a:solidFill>
                  <a:schemeClr val="accent1"/>
                </a:solidFill>
              </a:rPr>
              <a:t>Private </a:t>
            </a:r>
          </a:p>
          <a:p>
            <a:pPr algn="ctr"/>
            <a:r>
              <a:rPr lang="en-AE" sz="1600" dirty="0">
                <a:solidFill>
                  <a:schemeClr val="accent1"/>
                </a:solidFill>
              </a:rPr>
              <a:t>Aggreg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4E7A209-D7F2-D542-B560-E366EFA983DF}"/>
              </a:ext>
            </a:extLst>
          </p:cNvPr>
          <p:cNvSpPr txBox="1"/>
          <p:nvPr/>
        </p:nvSpPr>
        <p:spPr>
          <a:xfrm>
            <a:off x="1777584" y="1727945"/>
            <a:ext cx="6799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E5FBC62-8A33-1D10-FA79-42629AE7FB48}"/>
              </a:ext>
            </a:extLst>
          </p:cNvPr>
          <p:cNvSpPr txBox="1"/>
          <p:nvPr/>
        </p:nvSpPr>
        <p:spPr>
          <a:xfrm>
            <a:off x="4106279" y="1735337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B3AB93B-1708-A658-BB52-1FE38A6A0E5A}"/>
              </a:ext>
            </a:extLst>
          </p:cNvPr>
          <p:cNvSpPr txBox="1"/>
          <p:nvPr/>
        </p:nvSpPr>
        <p:spPr>
          <a:xfrm>
            <a:off x="6330133" y="1746880"/>
            <a:ext cx="708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hare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11D3B8-AABD-3372-D2D3-064ED463CC6C}"/>
              </a:ext>
            </a:extLst>
          </p:cNvPr>
          <p:cNvSpPr txBox="1"/>
          <p:nvPr/>
        </p:nvSpPr>
        <p:spPr>
          <a:xfrm>
            <a:off x="2132999" y="2073784"/>
            <a:ext cx="2664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83B3F4-41C6-3C55-7B13-C93DA7F50B8E}"/>
              </a:ext>
            </a:extLst>
          </p:cNvPr>
          <p:cNvSpPr txBox="1"/>
          <p:nvPr/>
        </p:nvSpPr>
        <p:spPr>
          <a:xfrm>
            <a:off x="4481276" y="2099553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3157DC7-3547-EFDF-7ECD-B80B9F474582}"/>
              </a:ext>
            </a:extLst>
          </p:cNvPr>
          <p:cNvSpPr txBox="1"/>
          <p:nvPr/>
        </p:nvSpPr>
        <p:spPr>
          <a:xfrm>
            <a:off x="6767981" y="2099553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D26FCE0-5334-569E-3D74-F7DAE72EDD6C}"/>
              </a:ext>
            </a:extLst>
          </p:cNvPr>
          <p:cNvCxnSpPr/>
          <p:nvPr/>
        </p:nvCxnSpPr>
        <p:spPr>
          <a:xfrm>
            <a:off x="495900" y="1049868"/>
            <a:ext cx="110977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45318E2-224A-0CB7-0DF8-4AF9F5982918}"/>
              </a:ext>
            </a:extLst>
          </p:cNvPr>
          <p:cNvSpPr txBox="1"/>
          <p:nvPr/>
        </p:nvSpPr>
        <p:spPr>
          <a:xfrm>
            <a:off x="9211241" y="865202"/>
            <a:ext cx="2382448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US">
                <a:latin typeface="Charter"/>
                <a:cs typeface="Arial"/>
              </a:rPr>
              <a:t>P</a:t>
            </a:r>
            <a:r>
              <a:rPr lang="en-AE">
                <a:latin typeface="Charter"/>
                <a:cs typeface="Arial"/>
              </a:rPr>
              <a:t>rivate aggreg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61B118-3A24-AD80-8895-72C898E8B9DE}"/>
              </a:ext>
            </a:extLst>
          </p:cNvPr>
          <p:cNvSpPr/>
          <p:nvPr/>
        </p:nvSpPr>
        <p:spPr>
          <a:xfrm>
            <a:off x="5326953" y="1368625"/>
            <a:ext cx="796916" cy="521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FAE59F-AF00-F31B-7179-A0B25F89BC09}"/>
              </a:ext>
            </a:extLst>
          </p:cNvPr>
          <p:cNvSpPr/>
          <p:nvPr/>
        </p:nvSpPr>
        <p:spPr>
          <a:xfrm>
            <a:off x="2978216" y="4082813"/>
            <a:ext cx="1678843" cy="6786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1" name="Rounded Rectangle 110">
            <a:extLst>
              <a:ext uri="{FF2B5EF4-FFF2-40B4-BE49-F238E27FC236}">
                <a16:creationId xmlns:a16="http://schemas.microsoft.com/office/drawing/2014/main" id="{6E86946C-1E14-F7ED-7673-6677A80F374C}"/>
              </a:ext>
            </a:extLst>
          </p:cNvPr>
          <p:cNvSpPr/>
          <p:nvPr/>
        </p:nvSpPr>
        <p:spPr>
          <a:xfrm>
            <a:off x="8309029" y="2576863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Verifiability</a:t>
            </a:r>
          </a:p>
        </p:txBody>
      </p:sp>
      <p:sp>
        <p:nvSpPr>
          <p:cNvPr id="112" name="Right Brace 111">
            <a:extLst>
              <a:ext uri="{FF2B5EF4-FFF2-40B4-BE49-F238E27FC236}">
                <a16:creationId xmlns:a16="http://schemas.microsoft.com/office/drawing/2014/main" id="{777BF8A6-0ED9-B432-DBAA-BF49ED913CE6}"/>
              </a:ext>
            </a:extLst>
          </p:cNvPr>
          <p:cNvSpPr/>
          <p:nvPr/>
        </p:nvSpPr>
        <p:spPr>
          <a:xfrm rot="5400000">
            <a:off x="3532118" y="746128"/>
            <a:ext cx="457612" cy="6137713"/>
          </a:xfrm>
          <a:prstGeom prst="rightBrac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49382F4E-0890-ED5B-001C-E5133AEA04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537" y="1368625"/>
            <a:ext cx="495591" cy="495591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A1795122-92D2-14BA-DBFC-199D8CE24C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4882" y="4125935"/>
            <a:ext cx="544209" cy="616015"/>
          </a:xfrm>
          <a:prstGeom prst="rect">
            <a:avLst/>
          </a:prstGeom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697E6212-2FAB-C1C7-E1D0-91212F4CB45B}"/>
              </a:ext>
            </a:extLst>
          </p:cNvPr>
          <p:cNvSpPr txBox="1"/>
          <p:nvPr/>
        </p:nvSpPr>
        <p:spPr>
          <a:xfrm>
            <a:off x="3776856" y="4270906"/>
            <a:ext cx="7264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3 or x4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AF6D1C6-9396-7CF0-4D20-5BB1AA62F9DD}"/>
              </a:ext>
            </a:extLst>
          </p:cNvPr>
          <p:cNvSpPr/>
          <p:nvPr/>
        </p:nvSpPr>
        <p:spPr>
          <a:xfrm>
            <a:off x="3022397" y="1375567"/>
            <a:ext cx="796916" cy="521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id="{6EAEE960-AE2C-B5AC-4B0F-95D9127EE4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981" y="1375567"/>
            <a:ext cx="495591" cy="495591"/>
          </a:xfrm>
          <a:prstGeom prst="rect">
            <a:avLst/>
          </a:prstGeom>
        </p:spPr>
      </p:pic>
      <p:sp>
        <p:nvSpPr>
          <p:cNvPr id="119" name="Rectangle 118">
            <a:extLst>
              <a:ext uri="{FF2B5EF4-FFF2-40B4-BE49-F238E27FC236}">
                <a16:creationId xmlns:a16="http://schemas.microsoft.com/office/drawing/2014/main" id="{F3A58262-EF5D-0D22-B8BD-12627BE9B7CA}"/>
              </a:ext>
            </a:extLst>
          </p:cNvPr>
          <p:cNvSpPr/>
          <p:nvPr/>
        </p:nvSpPr>
        <p:spPr>
          <a:xfrm>
            <a:off x="717841" y="1382509"/>
            <a:ext cx="796916" cy="521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37B72CDE-CD03-263C-CBDB-D44CDFBCD6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25" y="1382509"/>
            <a:ext cx="495591" cy="495591"/>
          </a:xfrm>
          <a:prstGeom prst="rect">
            <a:avLst/>
          </a:prstGeom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096E5B07-DB4D-0823-067D-6F82BFBDA9F1}"/>
              </a:ext>
            </a:extLst>
          </p:cNvPr>
          <p:cNvSpPr txBox="1"/>
          <p:nvPr/>
        </p:nvSpPr>
        <p:spPr>
          <a:xfrm>
            <a:off x="598311" y="1130416"/>
            <a:ext cx="9813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Bigger Size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2817AFF8-6CC8-33A8-8F17-C5B948402D0E}"/>
              </a:ext>
            </a:extLst>
          </p:cNvPr>
          <p:cNvSpPr txBox="1"/>
          <p:nvPr/>
        </p:nvSpPr>
        <p:spPr>
          <a:xfrm>
            <a:off x="2980759" y="1115210"/>
            <a:ext cx="9813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Bigger Size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CF7D20C8-BAB9-FCE2-BDAD-C4C4E952AD2D}"/>
              </a:ext>
            </a:extLst>
          </p:cNvPr>
          <p:cNvSpPr txBox="1"/>
          <p:nvPr/>
        </p:nvSpPr>
        <p:spPr>
          <a:xfrm>
            <a:off x="5229652" y="1110370"/>
            <a:ext cx="9813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Bigger Size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047E22E6-3E85-A8C9-DE54-D3CB60920388}"/>
              </a:ext>
            </a:extLst>
          </p:cNvPr>
          <p:cNvSpPr/>
          <p:nvPr/>
        </p:nvSpPr>
        <p:spPr>
          <a:xfrm>
            <a:off x="558148" y="1700090"/>
            <a:ext cx="1967519" cy="190129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BA37EC0C-57E8-57E6-5268-13EAC312932E}"/>
              </a:ext>
            </a:extLst>
          </p:cNvPr>
          <p:cNvSpPr/>
          <p:nvPr/>
        </p:nvSpPr>
        <p:spPr>
          <a:xfrm>
            <a:off x="2831296" y="1700090"/>
            <a:ext cx="1967519" cy="190129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093F3A3-5CBD-A047-FB68-150551C4E9D6}"/>
              </a:ext>
            </a:extLst>
          </p:cNvPr>
          <p:cNvSpPr/>
          <p:nvPr/>
        </p:nvSpPr>
        <p:spPr>
          <a:xfrm>
            <a:off x="5104444" y="1700090"/>
            <a:ext cx="1967519" cy="190129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40" name="Picture 39" descr="GP_ Cybersecurity_In_Automotive _WP_v1 2022-11-29">
            <a:extLst>
              <a:ext uri="{FF2B5EF4-FFF2-40B4-BE49-F238E27FC236}">
                <a16:creationId xmlns:a16="http://schemas.microsoft.com/office/drawing/2014/main" id="{E89F0057-91D9-4033-A6AA-3974E824AA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80378" y="3038021"/>
            <a:ext cx="814590" cy="81459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</p:pic>
      <p:pic>
        <p:nvPicPr>
          <p:cNvPr id="42" name="Picture 41" descr="GP_ Cybersecurity_In_Automotive _WP_v1 2022-11-29">
            <a:extLst>
              <a:ext uri="{FF2B5EF4-FFF2-40B4-BE49-F238E27FC236}">
                <a16:creationId xmlns:a16="http://schemas.microsoft.com/office/drawing/2014/main" id="{A4F5FE97-E011-3CA6-7B54-1BD54DA92E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1962" y="3043371"/>
            <a:ext cx="814590" cy="81459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</p:pic>
      <p:pic>
        <p:nvPicPr>
          <p:cNvPr id="43" name="Picture 42" descr="GP_ Cybersecurity_In_Automotive _WP_v1 2022-11-29">
            <a:extLst>
              <a:ext uri="{FF2B5EF4-FFF2-40B4-BE49-F238E27FC236}">
                <a16:creationId xmlns:a16="http://schemas.microsoft.com/office/drawing/2014/main" id="{E8176DAC-DDBE-FEA0-B3D8-5AAD82FC42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2293" y="3038959"/>
            <a:ext cx="814590" cy="81459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7C14AC14-8438-EC80-FE10-988DAEB6BB59}"/>
              </a:ext>
            </a:extLst>
          </p:cNvPr>
          <p:cNvSpPr txBox="1"/>
          <p:nvPr/>
        </p:nvSpPr>
        <p:spPr>
          <a:xfrm>
            <a:off x="1393199" y="4921020"/>
            <a:ext cx="4638935" cy="646331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AE">
                <a:latin typeface="Charter"/>
                <a:cs typeface="Arial"/>
              </a:rPr>
              <a:t>D</a:t>
            </a:r>
            <a:r>
              <a:rPr lang="en-US">
                <a:latin typeface="Charter"/>
                <a:cs typeface="Arial"/>
              </a:rPr>
              <a:t>e</a:t>
            </a:r>
            <a:r>
              <a:rPr lang="en-AE">
                <a:latin typeface="Charter"/>
                <a:cs typeface="Arial"/>
              </a:rPr>
              <a:t>ployment inside TEEs provides verifiablity without any protocol costs.</a:t>
            </a:r>
          </a:p>
        </p:txBody>
      </p:sp>
    </p:spTree>
    <p:extLst>
      <p:ext uri="{BB962C8B-B14F-4D97-AF65-F5344CB8AC3E}">
        <p14:creationId xmlns:p14="http://schemas.microsoft.com/office/powerpoint/2010/main" val="221343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0" grpId="0" animBg="1"/>
      <p:bldP spid="112" grpId="0" animBg="1"/>
      <p:bldP spid="116" grpId="0"/>
      <p:bldP spid="117" grpId="0" animBg="1"/>
      <p:bldP spid="119" grpId="0" animBg="1"/>
      <p:bldP spid="121" grpId="0"/>
      <p:bldP spid="122" grpId="0"/>
      <p:bldP spid="123" grpId="0"/>
      <p:bldP spid="31" grpId="0" animBg="1"/>
      <p:bldP spid="37" grpId="0" animBg="1"/>
      <p:bldP spid="38" grpId="0" animBg="1"/>
      <p:bldP spid="4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62D7E-E9EF-5A14-90E1-D7873ED05B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AA165-EA7C-00DC-2C16-FA8FE1189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/>
              <a:t>Private Comput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73335-B852-5C5B-2E2B-856F562526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744289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DCF0A-1FE9-ED96-C0C7-F58D84F7ED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44C3CF8A-D394-7B6B-7B98-B9C2421AD235}"/>
              </a:ext>
            </a:extLst>
          </p:cNvPr>
          <p:cNvSpPr/>
          <p:nvPr/>
        </p:nvSpPr>
        <p:spPr>
          <a:xfrm>
            <a:off x="495901" y="248500"/>
            <a:ext cx="5206440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rgbClr val="712AF6"/>
                </a:solidFill>
                <a:latin typeface="Montserrat ExtraBold" panose="00000900000000000000" pitchFamily="2" charset="0"/>
              </a:rPr>
              <a:t>MPC goes beyond aggregation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34E7650-7BA7-72ED-42FD-5A4DE7159AA4}"/>
              </a:ext>
            </a:extLst>
          </p:cNvPr>
          <p:cNvSpPr/>
          <p:nvPr/>
        </p:nvSpPr>
        <p:spPr>
          <a:xfrm>
            <a:off x="4226917" y="2960552"/>
            <a:ext cx="936882" cy="3839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6A4ED19-9BF5-D9BA-3F15-78CEAC406605}"/>
              </a:ext>
            </a:extLst>
          </p:cNvPr>
          <p:cNvSpPr/>
          <p:nvPr/>
        </p:nvSpPr>
        <p:spPr>
          <a:xfrm>
            <a:off x="2062406" y="2960552"/>
            <a:ext cx="936882" cy="3839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D9003AE-4AC0-0250-F18A-A1AE3D69D4E2}"/>
              </a:ext>
            </a:extLst>
          </p:cNvPr>
          <p:cNvCxnSpPr/>
          <p:nvPr/>
        </p:nvCxnSpPr>
        <p:spPr>
          <a:xfrm>
            <a:off x="495901" y="1391356"/>
            <a:ext cx="110977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Picture 131">
            <a:extLst>
              <a:ext uri="{FF2B5EF4-FFF2-40B4-BE49-F238E27FC236}">
                <a16:creationId xmlns:a16="http://schemas.microsoft.com/office/drawing/2014/main" id="{3E62CFE9-FC34-9B7F-196A-D56F31F09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4880" y="2625977"/>
            <a:ext cx="805942" cy="912282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584938EB-F69E-6EDD-A4A3-25CEFFE0B637}"/>
              </a:ext>
            </a:extLst>
          </p:cNvPr>
          <p:cNvSpPr txBox="1"/>
          <p:nvPr/>
        </p:nvSpPr>
        <p:spPr>
          <a:xfrm>
            <a:off x="5254046" y="3478461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6300A7D-79DD-BD7E-6812-FF1265E9565C}"/>
              </a:ext>
            </a:extLst>
          </p:cNvPr>
          <p:cNvSpPr txBox="1"/>
          <p:nvPr/>
        </p:nvSpPr>
        <p:spPr>
          <a:xfrm>
            <a:off x="3056599" y="3452530"/>
            <a:ext cx="11176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C0D61408-96AE-DA0C-361F-EFCDC92DEEF6}"/>
              </a:ext>
            </a:extLst>
          </p:cNvPr>
          <p:cNvSpPr txBox="1"/>
          <p:nvPr/>
        </p:nvSpPr>
        <p:spPr>
          <a:xfrm>
            <a:off x="859152" y="3426599"/>
            <a:ext cx="1088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BBD963F-B13F-FDA6-3A87-AF3FD228EB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0998" y="2640308"/>
            <a:ext cx="805942" cy="912282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6F7D2DC9-F912-DFCD-DDCF-8C4F42188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441" y="2654639"/>
            <a:ext cx="805942" cy="912282"/>
          </a:xfrm>
          <a:prstGeom prst="rect">
            <a:avLst/>
          </a:prstGeom>
        </p:spPr>
      </p:pic>
      <p:sp>
        <p:nvSpPr>
          <p:cNvPr id="138" name="Rectangle 137">
            <a:extLst>
              <a:ext uri="{FF2B5EF4-FFF2-40B4-BE49-F238E27FC236}">
                <a16:creationId xmlns:a16="http://schemas.microsoft.com/office/drawing/2014/main" id="{75BF0922-5E0F-6881-3C04-AE04D89E3AED}"/>
              </a:ext>
            </a:extLst>
          </p:cNvPr>
          <p:cNvSpPr/>
          <p:nvPr/>
        </p:nvSpPr>
        <p:spPr>
          <a:xfrm>
            <a:off x="791370" y="2269350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E82A9E39-133B-825A-6F5C-E74DF71E9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52" y="2374391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40" name="Picture 14">
            <a:extLst>
              <a:ext uri="{FF2B5EF4-FFF2-40B4-BE49-F238E27FC236}">
                <a16:creationId xmlns:a16="http://schemas.microsoft.com/office/drawing/2014/main" id="{CE68F8E3-B7B7-6E3A-F842-E839222185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962" y="2375227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41" name="Picture 14">
            <a:extLst>
              <a:ext uri="{FF2B5EF4-FFF2-40B4-BE49-F238E27FC236}">
                <a16:creationId xmlns:a16="http://schemas.microsoft.com/office/drawing/2014/main" id="{13BD3884-0CE0-83C5-1E2A-6284D3F133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223" y="2374391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B3AACD45-3884-7B8E-0F29-99CF021EF6B7}"/>
              </a:ext>
            </a:extLst>
          </p:cNvPr>
          <p:cNvSpPr/>
          <p:nvPr/>
        </p:nvSpPr>
        <p:spPr>
          <a:xfrm>
            <a:off x="3162805" y="2266072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C254B67C-ABF0-C110-1975-114DB4DFE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687" y="2371113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44" name="Picture 14">
            <a:extLst>
              <a:ext uri="{FF2B5EF4-FFF2-40B4-BE49-F238E27FC236}">
                <a16:creationId xmlns:a16="http://schemas.microsoft.com/office/drawing/2014/main" id="{3B50B5D9-2959-E13F-60A4-1D1DF7108A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397" y="2371949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45" name="Picture 14">
            <a:extLst>
              <a:ext uri="{FF2B5EF4-FFF2-40B4-BE49-F238E27FC236}">
                <a16:creationId xmlns:a16="http://schemas.microsoft.com/office/drawing/2014/main" id="{F5FEAED9-A88F-89B7-FAD1-158DA9BCD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658" y="2371113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46" name="Rectangle 145">
            <a:extLst>
              <a:ext uri="{FF2B5EF4-FFF2-40B4-BE49-F238E27FC236}">
                <a16:creationId xmlns:a16="http://schemas.microsoft.com/office/drawing/2014/main" id="{BD82F44B-4A19-A410-9A6E-39444316CF9D}"/>
              </a:ext>
            </a:extLst>
          </p:cNvPr>
          <p:cNvSpPr/>
          <p:nvPr/>
        </p:nvSpPr>
        <p:spPr>
          <a:xfrm>
            <a:off x="5438570" y="2264764"/>
            <a:ext cx="663558" cy="37962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47" name="Picture 14">
            <a:extLst>
              <a:ext uri="{FF2B5EF4-FFF2-40B4-BE49-F238E27FC236}">
                <a16:creationId xmlns:a16="http://schemas.microsoft.com/office/drawing/2014/main" id="{6671F0B2-2FAB-85AD-506F-C378F29FA6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3452" y="2369805"/>
            <a:ext cx="184220" cy="184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48" name="Picture 14">
            <a:extLst>
              <a:ext uri="{FF2B5EF4-FFF2-40B4-BE49-F238E27FC236}">
                <a16:creationId xmlns:a16="http://schemas.microsoft.com/office/drawing/2014/main" id="{051D9859-0CAA-1C8D-4EAB-B7FF6F55DF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162" y="2370641"/>
            <a:ext cx="184220" cy="184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149" name="Picture 14">
            <a:extLst>
              <a:ext uri="{FF2B5EF4-FFF2-40B4-BE49-F238E27FC236}">
                <a16:creationId xmlns:a16="http://schemas.microsoft.com/office/drawing/2014/main" id="{905A436E-EB2F-D629-054D-BE24F8C565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423" y="2369805"/>
            <a:ext cx="184220" cy="18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150" name="Left Arrow 149">
            <a:extLst>
              <a:ext uri="{FF2B5EF4-FFF2-40B4-BE49-F238E27FC236}">
                <a16:creationId xmlns:a16="http://schemas.microsoft.com/office/drawing/2014/main" id="{22F54F73-616F-87AF-B0FF-3F678180A7D0}"/>
              </a:ext>
            </a:extLst>
          </p:cNvPr>
          <p:cNvSpPr/>
          <p:nvPr/>
        </p:nvSpPr>
        <p:spPr>
          <a:xfrm rot="10800000">
            <a:off x="1546632" y="2315181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51" name="Left Arrow 150">
            <a:extLst>
              <a:ext uri="{FF2B5EF4-FFF2-40B4-BE49-F238E27FC236}">
                <a16:creationId xmlns:a16="http://schemas.microsoft.com/office/drawing/2014/main" id="{455379D2-4BF4-1C45-D31B-0A338CD137F5}"/>
              </a:ext>
            </a:extLst>
          </p:cNvPr>
          <p:cNvSpPr/>
          <p:nvPr/>
        </p:nvSpPr>
        <p:spPr>
          <a:xfrm rot="10800000">
            <a:off x="3889036" y="2318868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52" name="Left Arrow 151">
            <a:extLst>
              <a:ext uri="{FF2B5EF4-FFF2-40B4-BE49-F238E27FC236}">
                <a16:creationId xmlns:a16="http://schemas.microsoft.com/office/drawing/2014/main" id="{4A87A8AA-7466-CF0B-4368-BFD9BAEEE44B}"/>
              </a:ext>
            </a:extLst>
          </p:cNvPr>
          <p:cNvSpPr/>
          <p:nvPr/>
        </p:nvSpPr>
        <p:spPr>
          <a:xfrm rot="10800000">
            <a:off x="6167300" y="232452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53" name="Picture 14">
            <a:extLst>
              <a:ext uri="{FF2B5EF4-FFF2-40B4-BE49-F238E27FC236}">
                <a16:creationId xmlns:a16="http://schemas.microsoft.com/office/drawing/2014/main" id="{9E9E8982-C243-2C0C-AE96-F2A870C221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021" y="2342241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154" name="Picture 14">
            <a:extLst>
              <a:ext uri="{FF2B5EF4-FFF2-40B4-BE49-F238E27FC236}">
                <a16:creationId xmlns:a16="http://schemas.microsoft.com/office/drawing/2014/main" id="{2A051A63-765D-F764-7F33-41C0AF36BD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757" y="2336088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pic>
        <p:nvPicPr>
          <p:cNvPr id="155" name="Picture 14">
            <a:extLst>
              <a:ext uri="{FF2B5EF4-FFF2-40B4-BE49-F238E27FC236}">
                <a16:creationId xmlns:a16="http://schemas.microsoft.com/office/drawing/2014/main" id="{8E0AA760-9B7A-F496-A3A1-8A2E2E1ED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115" y="2326624"/>
            <a:ext cx="270582" cy="2705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59" name="TextBox 158">
            <a:extLst>
              <a:ext uri="{FF2B5EF4-FFF2-40B4-BE49-F238E27FC236}">
                <a16:creationId xmlns:a16="http://schemas.microsoft.com/office/drawing/2014/main" id="{1CE5B2B2-7500-B8D3-712C-4DA80A8BA082}"/>
              </a:ext>
            </a:extLst>
          </p:cNvPr>
          <p:cNvSpPr txBox="1"/>
          <p:nvPr/>
        </p:nvSpPr>
        <p:spPr>
          <a:xfrm>
            <a:off x="2127821" y="2380475"/>
            <a:ext cx="2664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97BCAB99-9873-BFCE-2A76-C5203821D81F}"/>
              </a:ext>
            </a:extLst>
          </p:cNvPr>
          <p:cNvSpPr txBox="1"/>
          <p:nvPr/>
        </p:nvSpPr>
        <p:spPr>
          <a:xfrm>
            <a:off x="4476098" y="2406244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FBB3CE87-30E8-162D-39B1-BB9BD1F923DA}"/>
              </a:ext>
            </a:extLst>
          </p:cNvPr>
          <p:cNvSpPr txBox="1"/>
          <p:nvPr/>
        </p:nvSpPr>
        <p:spPr>
          <a:xfrm>
            <a:off x="6762803" y="2406244"/>
            <a:ext cx="295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3120FD97-F0CC-E48A-8C3E-2C13B78011E1}"/>
              </a:ext>
            </a:extLst>
          </p:cNvPr>
          <p:cNvCxnSpPr/>
          <p:nvPr/>
        </p:nvCxnSpPr>
        <p:spPr>
          <a:xfrm flipH="1">
            <a:off x="2127821" y="3059290"/>
            <a:ext cx="7632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53DC85F2-AC6F-0302-F361-B1971D923AF6}"/>
              </a:ext>
            </a:extLst>
          </p:cNvPr>
          <p:cNvCxnSpPr/>
          <p:nvPr/>
        </p:nvCxnSpPr>
        <p:spPr>
          <a:xfrm flipH="1">
            <a:off x="2127821" y="3245556"/>
            <a:ext cx="763289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ounded Rectangle 163">
            <a:extLst>
              <a:ext uri="{FF2B5EF4-FFF2-40B4-BE49-F238E27FC236}">
                <a16:creationId xmlns:a16="http://schemas.microsoft.com/office/drawing/2014/main" id="{456EF3D9-0F40-9AFF-EE43-899A7346533F}"/>
              </a:ext>
            </a:extLst>
          </p:cNvPr>
          <p:cNvSpPr/>
          <p:nvPr/>
        </p:nvSpPr>
        <p:spPr>
          <a:xfrm>
            <a:off x="8359832" y="2845029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Model poisoning detection</a:t>
            </a:r>
          </a:p>
        </p:txBody>
      </p:sp>
      <p:sp>
        <p:nvSpPr>
          <p:cNvPr id="165" name="Rounded Rectangle 164">
            <a:extLst>
              <a:ext uri="{FF2B5EF4-FFF2-40B4-BE49-F238E27FC236}">
                <a16:creationId xmlns:a16="http://schemas.microsoft.com/office/drawing/2014/main" id="{1812BACE-8807-DB7A-6384-D874142FD009}"/>
              </a:ext>
            </a:extLst>
          </p:cNvPr>
          <p:cNvSpPr/>
          <p:nvPr/>
        </p:nvSpPr>
        <p:spPr>
          <a:xfrm>
            <a:off x="8359832" y="2117943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Differential privacy</a:t>
            </a:r>
          </a:p>
        </p:txBody>
      </p: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F0A55CA9-9044-B84E-281D-CAD7F15A44E0}"/>
              </a:ext>
            </a:extLst>
          </p:cNvPr>
          <p:cNvCxnSpPr/>
          <p:nvPr/>
        </p:nvCxnSpPr>
        <p:spPr>
          <a:xfrm flipH="1">
            <a:off x="4324391" y="3059290"/>
            <a:ext cx="7632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2C472948-C5DB-1B45-9DCB-12D3EDF596A0}"/>
              </a:ext>
            </a:extLst>
          </p:cNvPr>
          <p:cNvCxnSpPr/>
          <p:nvPr/>
        </p:nvCxnSpPr>
        <p:spPr>
          <a:xfrm flipH="1">
            <a:off x="4324391" y="3245556"/>
            <a:ext cx="763289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>
            <a:extLst>
              <a:ext uri="{FF2B5EF4-FFF2-40B4-BE49-F238E27FC236}">
                <a16:creationId xmlns:a16="http://schemas.microsoft.com/office/drawing/2014/main" id="{F8D404B2-7F82-BF15-E834-2D89C2237498}"/>
              </a:ext>
            </a:extLst>
          </p:cNvPr>
          <p:cNvSpPr txBox="1"/>
          <p:nvPr/>
        </p:nvSpPr>
        <p:spPr>
          <a:xfrm>
            <a:off x="9211242" y="1188946"/>
            <a:ext cx="2382448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US">
                <a:latin typeface="Charter"/>
                <a:cs typeface="Arial"/>
              </a:rPr>
              <a:t>P</a:t>
            </a:r>
            <a:r>
              <a:rPr lang="en-AE">
                <a:latin typeface="Charter"/>
                <a:cs typeface="Arial"/>
              </a:rPr>
              <a:t>rivate Computation</a:t>
            </a:r>
          </a:p>
        </p:txBody>
      </p:sp>
      <p:pic>
        <p:nvPicPr>
          <p:cNvPr id="170" name="Picture 169">
            <a:extLst>
              <a:ext uri="{FF2B5EF4-FFF2-40B4-BE49-F238E27FC236}">
                <a16:creationId xmlns:a16="http://schemas.microsoft.com/office/drawing/2014/main" id="{53F21208-82D7-67FE-8CF8-E05099F133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767" y="4565472"/>
            <a:ext cx="805942" cy="80594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B5EA4E59-2D95-191A-3B7A-E368279E50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687" y="4593349"/>
            <a:ext cx="805942" cy="805942"/>
          </a:xfrm>
          <a:prstGeom prst="rect">
            <a:avLst/>
          </a:prstGeom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C00D0A74-4D40-1B36-FC95-D0795A0819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882" y="4612236"/>
            <a:ext cx="805942" cy="805942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B9B42276-0104-8AE3-07B9-77F52EDB4004}"/>
              </a:ext>
            </a:extLst>
          </p:cNvPr>
          <p:cNvCxnSpPr>
            <a:cxnSpLocks/>
          </p:cNvCxnSpPr>
          <p:nvPr/>
        </p:nvCxnSpPr>
        <p:spPr>
          <a:xfrm>
            <a:off x="5770349" y="3873500"/>
            <a:ext cx="0" cy="691972"/>
          </a:xfrm>
          <a:prstGeom prst="line">
            <a:avLst/>
          </a:prstGeom>
          <a:ln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7" name="Picture 14">
            <a:extLst>
              <a:ext uri="{FF2B5EF4-FFF2-40B4-BE49-F238E27FC236}">
                <a16:creationId xmlns:a16="http://schemas.microsoft.com/office/drawing/2014/main" id="{B8D08439-FA6C-0B29-6301-81C3F4235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9598" y="4276235"/>
            <a:ext cx="295273" cy="2952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</p:pic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2C7BF56D-1877-57B8-54D9-A0B01DA4353B}"/>
              </a:ext>
            </a:extLst>
          </p:cNvPr>
          <p:cNvCxnSpPr/>
          <p:nvPr/>
        </p:nvCxnSpPr>
        <p:spPr>
          <a:xfrm flipH="1">
            <a:off x="4296611" y="5007836"/>
            <a:ext cx="7632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7053F1E0-6066-D917-C951-5FBC2B78CFAF}"/>
              </a:ext>
            </a:extLst>
          </p:cNvPr>
          <p:cNvCxnSpPr/>
          <p:nvPr/>
        </p:nvCxnSpPr>
        <p:spPr>
          <a:xfrm flipH="1">
            <a:off x="4296611" y="5194102"/>
            <a:ext cx="763289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252597B4-35D5-6F79-21B9-756582919E27}"/>
              </a:ext>
            </a:extLst>
          </p:cNvPr>
          <p:cNvCxnSpPr/>
          <p:nvPr/>
        </p:nvCxnSpPr>
        <p:spPr>
          <a:xfrm flipH="1">
            <a:off x="2065691" y="5007836"/>
            <a:ext cx="7632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9CF300D7-6455-CAC6-0D0A-D8121F2094F0}"/>
              </a:ext>
            </a:extLst>
          </p:cNvPr>
          <p:cNvCxnSpPr/>
          <p:nvPr/>
        </p:nvCxnSpPr>
        <p:spPr>
          <a:xfrm flipH="1">
            <a:off x="2065691" y="5194102"/>
            <a:ext cx="763289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EE3DD925-EDD5-FE3D-AE04-D07F5279275F}"/>
              </a:ext>
            </a:extLst>
          </p:cNvPr>
          <p:cNvCxnSpPr>
            <a:cxnSpLocks/>
          </p:cNvCxnSpPr>
          <p:nvPr/>
        </p:nvCxnSpPr>
        <p:spPr>
          <a:xfrm flipH="1">
            <a:off x="2065691" y="5418178"/>
            <a:ext cx="2994209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6A66F6C3-286C-FD18-9729-6CD58B499F57}"/>
              </a:ext>
            </a:extLst>
          </p:cNvPr>
          <p:cNvCxnSpPr>
            <a:cxnSpLocks/>
          </p:cNvCxnSpPr>
          <p:nvPr/>
        </p:nvCxnSpPr>
        <p:spPr>
          <a:xfrm flipH="1">
            <a:off x="2065691" y="5641272"/>
            <a:ext cx="299420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4">
            <a:extLst>
              <a:ext uri="{FF2B5EF4-FFF2-40B4-BE49-F238E27FC236}">
                <a16:creationId xmlns:a16="http://schemas.microsoft.com/office/drawing/2014/main" id="{78291540-63AE-CB82-6DE2-431E40940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7" y="4270198"/>
            <a:ext cx="295273" cy="2952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</p:pic>
      <p:pic>
        <p:nvPicPr>
          <p:cNvPr id="186" name="Picture 14">
            <a:extLst>
              <a:ext uri="{FF2B5EF4-FFF2-40B4-BE49-F238E27FC236}">
                <a16:creationId xmlns:a16="http://schemas.microsoft.com/office/drawing/2014/main" id="{51D4DB89-179C-F884-A224-070830C65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77" y="4270199"/>
            <a:ext cx="295273" cy="2952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</p:pic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009762CC-6F1F-5854-420B-05DB27F745F2}"/>
              </a:ext>
            </a:extLst>
          </p:cNvPr>
          <p:cNvCxnSpPr>
            <a:cxnSpLocks/>
          </p:cNvCxnSpPr>
          <p:nvPr/>
        </p:nvCxnSpPr>
        <p:spPr>
          <a:xfrm>
            <a:off x="3597466" y="3850782"/>
            <a:ext cx="0" cy="691972"/>
          </a:xfrm>
          <a:prstGeom prst="line">
            <a:avLst/>
          </a:prstGeom>
          <a:ln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402C4003-AC7D-123E-55E7-77A20187AE8B}"/>
              </a:ext>
            </a:extLst>
          </p:cNvPr>
          <p:cNvCxnSpPr>
            <a:cxnSpLocks/>
          </p:cNvCxnSpPr>
          <p:nvPr/>
        </p:nvCxnSpPr>
        <p:spPr>
          <a:xfrm>
            <a:off x="1424583" y="3828064"/>
            <a:ext cx="0" cy="691972"/>
          </a:xfrm>
          <a:prstGeom prst="line">
            <a:avLst/>
          </a:prstGeom>
          <a:ln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Right Brace 189">
            <a:extLst>
              <a:ext uri="{FF2B5EF4-FFF2-40B4-BE49-F238E27FC236}">
                <a16:creationId xmlns:a16="http://schemas.microsoft.com/office/drawing/2014/main" id="{29CAE18F-7695-0C69-F7CC-6CA8C0166BDF}"/>
              </a:ext>
            </a:extLst>
          </p:cNvPr>
          <p:cNvSpPr/>
          <p:nvPr/>
        </p:nvSpPr>
        <p:spPr>
          <a:xfrm>
            <a:off x="6475192" y="3924102"/>
            <a:ext cx="315305" cy="176777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91" name="TextBox 29">
            <a:extLst>
              <a:ext uri="{FF2B5EF4-FFF2-40B4-BE49-F238E27FC236}">
                <a16:creationId xmlns:a16="http://schemas.microsoft.com/office/drawing/2014/main" id="{FA7AB9BA-1AA2-D3E8-2F2D-6F9A7AD3614F}"/>
              </a:ext>
            </a:extLst>
          </p:cNvPr>
          <p:cNvSpPr txBox="1"/>
          <p:nvPr/>
        </p:nvSpPr>
        <p:spPr>
          <a:xfrm>
            <a:off x="6926786" y="4520036"/>
            <a:ext cx="3461761" cy="64112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en-US"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Pre-processing Engine: </a:t>
            </a:r>
            <a:r>
              <a:rPr kumimoji="0" lang="en-GB" sz="14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  <a:ea typeface="+mn-ea"/>
                <a:cs typeface="+mn-cs"/>
              </a:rPr>
              <a:t>It delivers correlated randomness, independent from client input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en-US"/>
            </a:pPr>
            <a:endParaRPr lang="en-GB" sz="1400" b="1" kern="0">
              <a:latin typeface="Montserrat "/>
            </a:endParaRPr>
          </a:p>
        </p:txBody>
      </p:sp>
      <p:pic>
        <p:nvPicPr>
          <p:cNvPr id="193" name="Picture 192">
            <a:extLst>
              <a:ext uri="{FF2B5EF4-FFF2-40B4-BE49-F238E27FC236}">
                <a16:creationId xmlns:a16="http://schemas.microsoft.com/office/drawing/2014/main" id="{81ACE0E2-9865-2D7C-7E5B-D40C2A51F3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583" y="1742586"/>
            <a:ext cx="491651" cy="491651"/>
          </a:xfrm>
          <a:prstGeom prst="rect">
            <a:avLst/>
          </a:prstGeom>
        </p:spPr>
      </p:pic>
      <p:pic>
        <p:nvPicPr>
          <p:cNvPr id="194" name="Picture 193">
            <a:extLst>
              <a:ext uri="{FF2B5EF4-FFF2-40B4-BE49-F238E27FC236}">
                <a16:creationId xmlns:a16="http://schemas.microsoft.com/office/drawing/2014/main" id="{0115C345-ABE9-975A-E908-BF3602F00C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083" y="1739447"/>
            <a:ext cx="491651" cy="491651"/>
          </a:xfrm>
          <a:prstGeom prst="rect">
            <a:avLst/>
          </a:prstGeom>
        </p:spPr>
      </p:pic>
      <p:pic>
        <p:nvPicPr>
          <p:cNvPr id="195" name="Picture 194">
            <a:extLst>
              <a:ext uri="{FF2B5EF4-FFF2-40B4-BE49-F238E27FC236}">
                <a16:creationId xmlns:a16="http://schemas.microsoft.com/office/drawing/2014/main" id="{FAD5FBBB-E6AE-1704-3550-722BB22D13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851" y="1728124"/>
            <a:ext cx="491651" cy="491651"/>
          </a:xfrm>
          <a:prstGeom prst="rect">
            <a:avLst/>
          </a:prstGeom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5EE54575-7E94-1C30-5164-60795F69C4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389" y="2993261"/>
            <a:ext cx="370152" cy="370152"/>
          </a:xfrm>
          <a:prstGeom prst="rect">
            <a:avLst/>
          </a:prstGeom>
        </p:spPr>
      </p:pic>
      <p:pic>
        <p:nvPicPr>
          <p:cNvPr id="198" name="Picture 197">
            <a:extLst>
              <a:ext uri="{FF2B5EF4-FFF2-40B4-BE49-F238E27FC236}">
                <a16:creationId xmlns:a16="http://schemas.microsoft.com/office/drawing/2014/main" id="{AEC7C27E-EF83-D4A9-1E51-2A382BF15C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130" y="2993261"/>
            <a:ext cx="370152" cy="370152"/>
          </a:xfrm>
          <a:prstGeom prst="rect">
            <a:avLst/>
          </a:prstGeom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84150AFD-D4A0-A243-E839-B7572966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9939" y="4521798"/>
            <a:ext cx="370152" cy="370152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C482EA07-D48A-AB55-2196-C13A538DFD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161" y="4542754"/>
            <a:ext cx="370152" cy="370152"/>
          </a:xfrm>
          <a:prstGeom prst="rect">
            <a:avLst/>
          </a:prstGeom>
        </p:spPr>
      </p:pic>
      <p:pic>
        <p:nvPicPr>
          <p:cNvPr id="201" name="Picture 200">
            <a:extLst>
              <a:ext uri="{FF2B5EF4-FFF2-40B4-BE49-F238E27FC236}">
                <a16:creationId xmlns:a16="http://schemas.microsoft.com/office/drawing/2014/main" id="{C0DCDF18-DE03-CC7E-F150-16A3B55327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748" y="4565471"/>
            <a:ext cx="370152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765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8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1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0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3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6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9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2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8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1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2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5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8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3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6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9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0.00079 -2.96296E-6 L -0.00235 -0.0794 " pathEditMode="relative" ptsTypes="AA">
                                      <p:cBhvr>
                                        <p:cTn id="121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00026 -2.96296E-6 L 0.00026 -0.08264 " pathEditMode="relative" ptsTypes="AA">
                                      <p:cBhvr>
                                        <p:cTn id="123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00234 -0.00093 L 0.00234 -0.08704 " pathEditMode="relative" ptsTypes="AA">
                                      <p:cBhvr>
                                        <p:cTn id="125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 animBg="1"/>
      <p:bldP spid="129" grpId="0" animBg="1"/>
      <p:bldP spid="190" grpId="0" animBg="1"/>
      <p:bldP spid="19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98F26-515D-D366-BD8F-55E61CAD08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16227-D2C9-B2E5-B84D-CEE39A0FD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/>
              <a:t>Deploy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7E16F8-88DE-5E34-F799-F8A150FF51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9051422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BE8C9-6C98-2557-163E-66A4F8BEC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B5DBC072-C488-CD89-DDF1-9B2A4F26F350}"/>
              </a:ext>
            </a:extLst>
          </p:cNvPr>
          <p:cNvSpPr/>
          <p:nvPr/>
        </p:nvSpPr>
        <p:spPr>
          <a:xfrm>
            <a:off x="495901" y="248500"/>
            <a:ext cx="877076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Deployable in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dockerize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env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FE56F91-5F70-114C-D873-B5878376787B}"/>
              </a:ext>
            </a:extLst>
          </p:cNvPr>
          <p:cNvSpPr txBox="1"/>
          <p:nvPr/>
        </p:nvSpPr>
        <p:spPr>
          <a:xfrm>
            <a:off x="401009" y="6468158"/>
            <a:ext cx="711944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. MPC stands for Multi-Party Compu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te: Entities are equivalent to ‘users’ or ‘clients’, each of them  will deploy a contain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00" name="Picture 99" descr="A blue and black logo&#10;&#10;AI-generated content may be incorrect.">
            <a:extLst>
              <a:ext uri="{FF2B5EF4-FFF2-40B4-BE49-F238E27FC236}">
                <a16:creationId xmlns:a16="http://schemas.microsoft.com/office/drawing/2014/main" id="{593B938C-E4FD-2B18-7E26-E0B18A09E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3245" y="2698727"/>
            <a:ext cx="690021" cy="691193"/>
          </a:xfrm>
          <a:prstGeom prst="rect">
            <a:avLst/>
          </a:prstGeom>
          <a:noFill/>
        </p:spPr>
      </p:pic>
      <p:pic>
        <p:nvPicPr>
          <p:cNvPr id="101" name="Picture 100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5BC4A870-8013-7F88-14F4-32F7FE9751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8637" y="3228115"/>
            <a:ext cx="344327" cy="344913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4A81A3E8-D93C-F3C1-D1E2-6ACEC3FC99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8637" y="1318974"/>
            <a:ext cx="805942" cy="912282"/>
          </a:xfrm>
          <a:prstGeom prst="rect">
            <a:avLst/>
          </a:prstGeom>
        </p:spPr>
      </p:pic>
      <p:pic>
        <p:nvPicPr>
          <p:cNvPr id="5" name="Picture 4" descr="Agilicus Connector - Container/Docker - Agilicus">
            <a:extLst>
              <a:ext uri="{FF2B5EF4-FFF2-40B4-BE49-F238E27FC236}">
                <a16:creationId xmlns:a16="http://schemas.microsoft.com/office/drawing/2014/main" id="{67611C04-F820-6341-08C1-25BFBBBB85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3975" y="2725943"/>
            <a:ext cx="1557697" cy="965095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0C1F78C-3110-6F05-4591-FBCF411F21C9}"/>
              </a:ext>
            </a:extLst>
          </p:cNvPr>
          <p:cNvCxnSpPr>
            <a:cxnSpLocks/>
          </p:cNvCxnSpPr>
          <p:nvPr/>
        </p:nvCxnSpPr>
        <p:spPr>
          <a:xfrm>
            <a:off x="2573866" y="3090669"/>
            <a:ext cx="982133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D8FC921-A848-95FB-843C-60CBE32C5B87}"/>
              </a:ext>
            </a:extLst>
          </p:cNvPr>
          <p:cNvSpPr txBox="1"/>
          <p:nvPr/>
        </p:nvSpPr>
        <p:spPr>
          <a:xfrm>
            <a:off x="5629648" y="2638733"/>
            <a:ext cx="5241551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AE" b="1">
                <a:latin typeface="Charter"/>
                <a:cs typeface="Arial"/>
              </a:rPr>
              <a:t>Docker container </a:t>
            </a:r>
            <a:r>
              <a:rPr lang="en-AE">
                <a:latin typeface="Charter"/>
                <a:cs typeface="Arial"/>
              </a:rPr>
              <a:t>for the local training.</a:t>
            </a:r>
            <a:r>
              <a:rPr lang="en-AE" b="1">
                <a:latin typeface="Charter"/>
                <a:cs typeface="Arial"/>
              </a:rPr>
              <a:t> </a:t>
            </a:r>
            <a:r>
              <a:rPr lang="en-AE">
                <a:latin typeface="Charter"/>
                <a:cs typeface="Arial"/>
              </a:rPr>
              <a:t>Comaptible with AI models of any type – CNNs, transformers, LLMs of any size. Should run on GPU – CUDA compatibl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81EC2FB-7B85-FE33-634D-3F5E6968A898}"/>
              </a:ext>
            </a:extLst>
          </p:cNvPr>
          <p:cNvCxnSpPr>
            <a:cxnSpLocks/>
          </p:cNvCxnSpPr>
          <p:nvPr/>
        </p:nvCxnSpPr>
        <p:spPr>
          <a:xfrm>
            <a:off x="2573866" y="1743486"/>
            <a:ext cx="982133" cy="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gilicus Connector - Container/Docker - Agilicus">
            <a:extLst>
              <a:ext uri="{FF2B5EF4-FFF2-40B4-BE49-F238E27FC236}">
                <a16:creationId xmlns:a16="http://schemas.microsoft.com/office/drawing/2014/main" id="{68E70CAE-E5AD-6B86-3BE8-4F2D3EFE36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3975" y="1292568"/>
            <a:ext cx="1557697" cy="96509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61054E5-DA7F-149B-CA0B-E4400FCBE1AA}"/>
              </a:ext>
            </a:extLst>
          </p:cNvPr>
          <p:cNvSpPr txBox="1"/>
          <p:nvPr/>
        </p:nvSpPr>
        <p:spPr>
          <a:xfrm>
            <a:off x="5724931" y="1135627"/>
            <a:ext cx="524155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AE" b="1">
                <a:latin typeface="Charter"/>
                <a:cs typeface="Arial"/>
              </a:rPr>
              <a:t>Docker container </a:t>
            </a:r>
            <a:r>
              <a:rPr lang="en-AE">
                <a:latin typeface="Charter"/>
                <a:cs typeface="Arial"/>
              </a:rPr>
              <a:t>for the aggregator. Should run on CPU (no GPU power needed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8A64C3-1D92-2937-AC35-810FA36201AC}"/>
              </a:ext>
            </a:extLst>
          </p:cNvPr>
          <p:cNvSpPr txBox="1"/>
          <p:nvPr/>
        </p:nvSpPr>
        <p:spPr>
          <a:xfrm>
            <a:off x="1831980" y="3382917"/>
            <a:ext cx="6062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573594-26C8-F77E-3BA3-2FC4D43D0416}"/>
              </a:ext>
            </a:extLst>
          </p:cNvPr>
          <p:cNvSpPr txBox="1"/>
          <p:nvPr/>
        </p:nvSpPr>
        <p:spPr>
          <a:xfrm>
            <a:off x="1485106" y="2176144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147C900-6A81-9190-6F8F-FCEA453CD5C0}"/>
              </a:ext>
            </a:extLst>
          </p:cNvPr>
          <p:cNvSpPr/>
          <p:nvPr/>
        </p:nvSpPr>
        <p:spPr>
          <a:xfrm>
            <a:off x="1112628" y="1135627"/>
            <a:ext cx="1670756" cy="2703428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290399E-1BA5-BA1E-60C9-ABC91AAC3DC6}"/>
              </a:ext>
            </a:extLst>
          </p:cNvPr>
          <p:cNvSpPr txBox="1"/>
          <p:nvPr/>
        </p:nvSpPr>
        <p:spPr>
          <a:xfrm>
            <a:off x="879723" y="4414946"/>
            <a:ext cx="6640733" cy="1477328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AE">
                <a:latin typeface="Charter"/>
                <a:cs typeface="Arial"/>
              </a:rPr>
              <a:t>We can deploy aggregators: </a:t>
            </a:r>
          </a:p>
          <a:p>
            <a:pPr lvl="0">
              <a:defRPr/>
            </a:pPr>
            <a:endParaRPr lang="en-AE">
              <a:latin typeface="Charter"/>
              <a:cs typeface="Arial"/>
            </a:endParaRP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US">
                <a:latin typeface="Charter"/>
                <a:cs typeface="Arial"/>
              </a:rPr>
              <a:t>S</a:t>
            </a:r>
            <a:r>
              <a:rPr lang="en-AE">
                <a:latin typeface="Charter"/>
                <a:cs typeface="Arial"/>
              </a:rPr>
              <a:t>eparately (each entity needs to trust at least 1)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AE">
                <a:latin typeface="Charter"/>
                <a:cs typeface="Arial"/>
              </a:rPr>
              <a:t>One aggregator in each entity (no trust needed)</a:t>
            </a:r>
          </a:p>
          <a:p>
            <a:pPr marL="342900" lvl="0" indent="-342900">
              <a:buFont typeface="+mj-lt"/>
              <a:buAutoNum type="arabicPeriod"/>
              <a:defRPr/>
            </a:pPr>
            <a:endParaRPr lang="en-AE">
              <a:latin typeface="Charter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9202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4E6E6-E7BC-45E5-4707-0D523AEA86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B60689CA-BB77-3FEE-0479-A6A1E953B94E}"/>
              </a:ext>
            </a:extLst>
          </p:cNvPr>
          <p:cNvSpPr/>
          <p:nvPr/>
        </p:nvSpPr>
        <p:spPr>
          <a:xfrm>
            <a:off x="495901" y="248500"/>
            <a:ext cx="877076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UI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739DAA-6890-124A-F5CA-E8A1BF522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2" y="139103"/>
            <a:ext cx="10396464" cy="55793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9D1E6F-01E2-4832-FBE6-9318F48033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327" y="429034"/>
            <a:ext cx="10725614" cy="5755998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56FEDC4-C852-4989-BB65-85B483B08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492" y="892939"/>
            <a:ext cx="10855976" cy="5825958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358994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5B711-BD92-A768-D187-C438A77E6D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3394325-34BC-9E6A-9078-31E4B1CABCE3}"/>
              </a:ext>
            </a:extLst>
          </p:cNvPr>
          <p:cNvSpPr/>
          <p:nvPr/>
        </p:nvSpPr>
        <p:spPr>
          <a:xfrm>
            <a:off x="10718155" y="879677"/>
            <a:ext cx="1215342" cy="37501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" name="Structure">
            <a:extLst>
              <a:ext uri="{FF2B5EF4-FFF2-40B4-BE49-F238E27FC236}">
                <a16:creationId xmlns:a16="http://schemas.microsoft.com/office/drawing/2014/main" id="{F508CE64-ED7B-99A6-F50A-B2B8B4F50612}"/>
              </a:ext>
            </a:extLst>
          </p:cNvPr>
          <p:cNvSpPr/>
          <p:nvPr/>
        </p:nvSpPr>
        <p:spPr>
          <a:xfrm>
            <a:off x="495901" y="248500"/>
            <a:ext cx="8176386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3080"/>
              </a:lnSpc>
            </a:pPr>
            <a:r>
              <a:rPr lang="en-US" sz="2000" err="1">
                <a:solidFill>
                  <a:srgbClr val="000000">
                    <a:alpha val="90000"/>
                  </a:srgbClr>
                </a:solidFill>
                <a:latin typeface="Montserrat ExtraBold" panose="00000900000000000000" pitchFamily="2" charset="0"/>
              </a:rPr>
              <a:t>PetalGuard</a:t>
            </a:r>
            <a:r>
              <a:rPr lang="en-US" sz="2000">
                <a:solidFill>
                  <a:srgbClr val="000000">
                    <a:alpha val="90000"/>
                  </a:srgbClr>
                </a:solidFill>
                <a:latin typeface="Montserrat ExtraBold" panose="00000900000000000000" pitchFamily="2" charset="0"/>
              </a:rPr>
              <a:t>: end-to-end data privacy for model train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5EF486-3BE4-F241-36BE-48109C51E5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132"/>
            <a:ext cx="11059886" cy="677486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DEFE541-7FA1-3AC7-FE78-F6C102218E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4273" y="972757"/>
            <a:ext cx="7772400" cy="3611929"/>
          </a:xfrm>
          <a:prstGeom prst="rect">
            <a:avLst/>
          </a:prstGeom>
          <a:ln w="25400">
            <a:solidFill>
              <a:schemeClr val="bg1"/>
            </a:solidFill>
          </a:ln>
        </p:spPr>
      </p:pic>
      <p:sp>
        <p:nvSpPr>
          <p:cNvPr id="15" name="Down Arrow 14">
            <a:extLst>
              <a:ext uri="{FF2B5EF4-FFF2-40B4-BE49-F238E27FC236}">
                <a16:creationId xmlns:a16="http://schemas.microsoft.com/office/drawing/2014/main" id="{555D9E1F-C0AF-2449-DB0F-7ADABD9778A4}"/>
              </a:ext>
            </a:extLst>
          </p:cNvPr>
          <p:cNvSpPr/>
          <p:nvPr/>
        </p:nvSpPr>
        <p:spPr>
          <a:xfrm rot="3279547">
            <a:off x="3286379" y="4154931"/>
            <a:ext cx="209006" cy="1839341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253087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7F38-2538-65A1-A183-2A741B781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tructure">
            <a:extLst>
              <a:ext uri="{FF2B5EF4-FFF2-40B4-BE49-F238E27FC236}">
                <a16:creationId xmlns:a16="http://schemas.microsoft.com/office/drawing/2014/main" id="{5A09F4D5-C239-5CAC-BBC1-BF07611815AA}"/>
              </a:ext>
            </a:extLst>
          </p:cNvPr>
          <p:cNvSpPr/>
          <p:nvPr/>
        </p:nvSpPr>
        <p:spPr>
          <a:xfrm>
            <a:off x="495901" y="248500"/>
            <a:ext cx="870795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3080"/>
              </a:lnSpc>
            </a:pPr>
            <a:r>
              <a:rPr lang="en-US" sz="2800">
                <a:solidFill>
                  <a:srgbClr val="7229F6"/>
                </a:solidFill>
                <a:latin typeface="Montserrat ExtraBold" pitchFamily="34" charset="0"/>
              </a:rPr>
              <a:t>Why Federated Learning (FL)?</a:t>
            </a:r>
          </a:p>
        </p:txBody>
      </p:sp>
      <p:sp>
        <p:nvSpPr>
          <p:cNvPr id="5" name="TextBox 102">
            <a:extLst>
              <a:ext uri="{FF2B5EF4-FFF2-40B4-BE49-F238E27FC236}">
                <a16:creationId xmlns:a16="http://schemas.microsoft.com/office/drawing/2014/main" id="{B9B4D6D3-29A2-00B8-0B36-C95ED3735EF4}"/>
              </a:ext>
            </a:extLst>
          </p:cNvPr>
          <p:cNvSpPr txBox="1"/>
          <p:nvPr/>
        </p:nvSpPr>
        <p:spPr>
          <a:xfrm>
            <a:off x="494942" y="1426889"/>
            <a:ext cx="2606539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GB" sz="1600" b="1">
                <a:latin typeface="Montserrat" pitchFamily="2" charset="77"/>
                <a:cs typeface="Arial"/>
              </a:rPr>
              <a:t>The problem to solve</a:t>
            </a:r>
            <a:endParaRPr lang="en-GB" sz="1600">
              <a:latin typeface="Montserrat" pitchFamily="2" charset="77"/>
              <a:cs typeface="Arial"/>
            </a:endParaRPr>
          </a:p>
        </p:txBody>
      </p:sp>
      <p:sp>
        <p:nvSpPr>
          <p:cNvPr id="6" name="TextBox 103">
            <a:extLst>
              <a:ext uri="{FF2B5EF4-FFF2-40B4-BE49-F238E27FC236}">
                <a16:creationId xmlns:a16="http://schemas.microsoft.com/office/drawing/2014/main" id="{13510690-7BF3-C1B0-6852-192F1B2FAB6E}"/>
              </a:ext>
            </a:extLst>
          </p:cNvPr>
          <p:cNvSpPr txBox="1"/>
          <p:nvPr/>
        </p:nvSpPr>
        <p:spPr>
          <a:xfrm>
            <a:off x="494942" y="1839151"/>
            <a:ext cx="3954801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Training model with sensitive data from different sources cannot be achieved achieved with centralized AI training strategi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E73499-7F14-DED2-2364-96565D3093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7927" y="2842003"/>
            <a:ext cx="805942" cy="912282"/>
          </a:xfrm>
          <a:prstGeom prst="rect">
            <a:avLst/>
          </a:prstGeom>
        </p:spPr>
      </p:pic>
      <p:pic>
        <p:nvPicPr>
          <p:cNvPr id="13" name="Picture 12" descr="A blue and black logo&#10;&#10;AI-generated content may be incorrect.">
            <a:extLst>
              <a:ext uri="{FF2B5EF4-FFF2-40B4-BE49-F238E27FC236}">
                <a16:creationId xmlns:a16="http://schemas.microsoft.com/office/drawing/2014/main" id="{95BDD54F-B928-DBDB-76EF-0F3DFE5879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104" y="4990637"/>
            <a:ext cx="682819" cy="683979"/>
          </a:xfrm>
          <a:prstGeom prst="rect">
            <a:avLst/>
          </a:prstGeom>
          <a:solidFill>
            <a:srgbClr val="5C5D60">
              <a:lumMod val="20000"/>
              <a:lumOff val="80000"/>
            </a:srgbClr>
          </a:solidFill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C22D2DC-B49C-BEC6-E946-1FF857824E03}"/>
              </a:ext>
            </a:extLst>
          </p:cNvPr>
          <p:cNvSpPr txBox="1"/>
          <p:nvPr/>
        </p:nvSpPr>
        <p:spPr>
          <a:xfrm>
            <a:off x="663104" y="5674616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5" name="Picture 14" descr="A blue and black logo&#10;&#10;AI-generated content may be incorrect.">
            <a:extLst>
              <a:ext uri="{FF2B5EF4-FFF2-40B4-BE49-F238E27FC236}">
                <a16:creationId xmlns:a16="http://schemas.microsoft.com/office/drawing/2014/main" id="{FB51CE72-EE90-C307-D4C9-A167FA2EE7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2625" y="4990637"/>
            <a:ext cx="682819" cy="683979"/>
          </a:xfrm>
          <a:prstGeom prst="rect">
            <a:avLst/>
          </a:prstGeom>
          <a:solidFill>
            <a:srgbClr val="883FFF">
              <a:lumMod val="20000"/>
              <a:lumOff val="80000"/>
            </a:srgbClr>
          </a:solidFill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3D3E173-4985-5895-E397-E4CE28792127}"/>
              </a:ext>
            </a:extLst>
          </p:cNvPr>
          <p:cNvSpPr txBox="1"/>
          <p:nvPr/>
        </p:nvSpPr>
        <p:spPr>
          <a:xfrm>
            <a:off x="1824199" y="5662245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7" name="Picture 16" descr="A blue and black logo&#10;&#10;AI-generated content may be incorrect.">
            <a:extLst>
              <a:ext uri="{FF2B5EF4-FFF2-40B4-BE49-F238E27FC236}">
                <a16:creationId xmlns:a16="http://schemas.microsoft.com/office/drawing/2014/main" id="{CCD8921C-85EC-E276-4C79-5BD915AB70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0571" y="4974519"/>
            <a:ext cx="682819" cy="683979"/>
          </a:xfrm>
          <a:prstGeom prst="rect">
            <a:avLst/>
          </a:prstGeom>
          <a:solidFill>
            <a:srgbClr val="5C5D60">
              <a:lumMod val="20000"/>
              <a:lumOff val="80000"/>
            </a:srgbClr>
          </a:solidFill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F80D334-BE21-5A02-DC73-F1289468CBDA}"/>
              </a:ext>
            </a:extLst>
          </p:cNvPr>
          <p:cNvSpPr txBox="1"/>
          <p:nvPr/>
        </p:nvSpPr>
        <p:spPr>
          <a:xfrm>
            <a:off x="3220571" y="5649876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12D964D-6598-A2D6-4B8C-9400E80323CB}"/>
              </a:ext>
            </a:extLst>
          </p:cNvPr>
          <p:cNvCxnSpPr>
            <a:cxnSpLocks/>
          </p:cNvCxnSpPr>
          <p:nvPr/>
        </p:nvCxnSpPr>
        <p:spPr>
          <a:xfrm flipH="1" flipV="1">
            <a:off x="2425900" y="3754285"/>
            <a:ext cx="1077422" cy="12202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6DD842BB-2D5C-13B2-69B8-B90BFFC8CD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64611" y="4308997"/>
            <a:ext cx="344327" cy="344913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E554DF71-FB8E-A1B1-3274-67DAB50B6AC7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004514" y="3754285"/>
            <a:ext cx="1047170" cy="12363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66B9437-67CC-FBA2-05EF-BAF973763698}"/>
              </a:ext>
            </a:extLst>
          </p:cNvPr>
          <p:cNvSpPr txBox="1"/>
          <p:nvPr/>
        </p:nvSpPr>
        <p:spPr>
          <a:xfrm>
            <a:off x="1153584" y="3082700"/>
            <a:ext cx="80823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rain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C0DCEF5-9E18-2130-2F60-D54B4549103F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2244035" y="3830485"/>
            <a:ext cx="16863" cy="11601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A228DEDE-5948-87DC-70BB-3F4AB319EC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1573" y="4308997"/>
            <a:ext cx="344327" cy="344913"/>
          </a:xfrm>
          <a:prstGeom prst="rect">
            <a:avLst/>
          </a:prstGeom>
        </p:spPr>
      </p:pic>
      <p:pic>
        <p:nvPicPr>
          <p:cNvPr id="30" name="Picture 29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48335DB7-7E5C-3457-6819-407268DF83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8535" y="4308997"/>
            <a:ext cx="344327" cy="344913"/>
          </a:xfrm>
          <a:prstGeom prst="rect">
            <a:avLst/>
          </a:prstGeom>
        </p:spPr>
      </p:pic>
      <p:pic>
        <p:nvPicPr>
          <p:cNvPr id="35" name="Graphic 34" descr="Add with solid fill">
            <a:extLst>
              <a:ext uri="{FF2B5EF4-FFF2-40B4-BE49-F238E27FC236}">
                <a16:creationId xmlns:a16="http://schemas.microsoft.com/office/drawing/2014/main" id="{CEC230BF-BAD4-CDF3-5FA2-2347E421665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8426645">
            <a:off x="1197561" y="3952289"/>
            <a:ext cx="607208" cy="639314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27AB32D2-4A67-E76A-D47F-0FEE22175BCC}"/>
              </a:ext>
            </a:extLst>
          </p:cNvPr>
          <p:cNvSpPr txBox="1"/>
          <p:nvPr/>
        </p:nvSpPr>
        <p:spPr>
          <a:xfrm>
            <a:off x="380202" y="4230468"/>
            <a:ext cx="891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Sensi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  <a:endParaRPr kumimoji="0" lang="en-AE" sz="1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" name="Graphic 50" descr="Add with solid fill">
            <a:extLst>
              <a:ext uri="{FF2B5EF4-FFF2-40B4-BE49-F238E27FC236}">
                <a16:creationId xmlns:a16="http://schemas.microsoft.com/office/drawing/2014/main" id="{E731D28D-2940-CD19-D2A8-9CED6CF626C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8426645">
            <a:off x="1974337" y="3948063"/>
            <a:ext cx="607208" cy="639314"/>
          </a:xfrm>
          <a:prstGeom prst="rect">
            <a:avLst/>
          </a:prstGeom>
        </p:spPr>
      </p:pic>
      <p:pic>
        <p:nvPicPr>
          <p:cNvPr id="53" name="Graphic 52" descr="Add with solid fill">
            <a:extLst>
              <a:ext uri="{FF2B5EF4-FFF2-40B4-BE49-F238E27FC236}">
                <a16:creationId xmlns:a16="http://schemas.microsoft.com/office/drawing/2014/main" id="{A5FE2A60-4419-D462-2817-9A58CE95CAF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8426645">
            <a:off x="2798364" y="3931945"/>
            <a:ext cx="607208" cy="639314"/>
          </a:xfrm>
          <a:prstGeom prst="rect">
            <a:avLst/>
          </a:prstGeom>
        </p:spPr>
      </p:pic>
      <p:pic>
        <p:nvPicPr>
          <p:cNvPr id="59" name="Picture 20">
            <a:extLst>
              <a:ext uri="{FF2B5EF4-FFF2-40B4-BE49-F238E27FC236}">
                <a16:creationId xmlns:a16="http://schemas.microsoft.com/office/drawing/2014/main" id="{B70D9EAD-5996-B355-E444-7EB81B773D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462" y="2804255"/>
            <a:ext cx="896599" cy="806063"/>
          </a:xfrm>
          <a:prstGeom prst="rect">
            <a:avLst/>
          </a:prstGeom>
          <a:noFill/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CBB3647-D9AC-CDF9-2611-176BD6F08E6A}"/>
              </a:ext>
            </a:extLst>
          </p:cNvPr>
          <p:cNvSpPr txBox="1"/>
          <p:nvPr/>
        </p:nvSpPr>
        <p:spPr>
          <a:xfrm>
            <a:off x="3175478" y="3086526"/>
            <a:ext cx="808235" cy="2616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I Model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A67CF6-BD21-03B0-F1D9-7524C6C5E0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5192" y="1056834"/>
            <a:ext cx="6275776" cy="159483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D1860CF-EF05-4049-3CB7-969AE08D23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07899" y="2304503"/>
            <a:ext cx="6558194" cy="20469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A14EE61-2387-07C9-5E4A-B95CEB63B44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47352" y="3989423"/>
            <a:ext cx="6293343" cy="200242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79140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3804F-D938-9CFD-FA04-D45A610F45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C2BD9D96-1B43-DDD4-E0E7-EDA518282CE0}"/>
              </a:ext>
            </a:extLst>
          </p:cNvPr>
          <p:cNvSpPr/>
          <p:nvPr/>
        </p:nvSpPr>
        <p:spPr>
          <a:xfrm>
            <a:off x="495901" y="248500"/>
            <a:ext cx="877076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Integrated with OPAQUE platform 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C7FD04C-6E83-48BE-829C-42E13414186A}"/>
              </a:ext>
            </a:extLst>
          </p:cNvPr>
          <p:cNvSpPr txBox="1"/>
          <p:nvPr/>
        </p:nvSpPr>
        <p:spPr>
          <a:xfrm>
            <a:off x="401009" y="6468158"/>
            <a:ext cx="711944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. MPC stands for Multi-Party Compu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te: Entities are equivalent to ‘users’ or ‘clients’, each of them  will deploy a contain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EBB78E22-F5FE-C8D9-D7CF-1698A61F9EAD}"/>
              </a:ext>
            </a:extLst>
          </p:cNvPr>
          <p:cNvSpPr/>
          <p:nvPr/>
        </p:nvSpPr>
        <p:spPr>
          <a:xfrm>
            <a:off x="7712770" y="1840036"/>
            <a:ext cx="3688423" cy="3358678"/>
          </a:xfrm>
          <a:prstGeom prst="roundRect">
            <a:avLst>
              <a:gd name="adj" fmla="val 5129"/>
            </a:avLst>
          </a:prstGeom>
          <a:solidFill>
            <a:schemeClr val="bg1"/>
          </a:solidFill>
          <a:ln w="19050" cap="flat" cmpd="sng" algn="ctr">
            <a:solidFill>
              <a:srgbClr val="10BA87"/>
            </a:solidFill>
            <a:prstDash val="solid"/>
            <a:miter lim="800000"/>
          </a:ln>
          <a:effectLst>
            <a:glow rad="63500">
              <a:srgbClr val="10BA87">
                <a:alpha val="30000"/>
              </a:srgbClr>
            </a:glow>
          </a:effectLst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srgbClr val="FEFAFA"/>
              </a:solidFill>
              <a:latin typeface="Aptos" panose="02110004020202020204"/>
              <a:sym typeface="Arial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E799724-DA76-2B80-B8D3-6A2026A753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6289" y="2340290"/>
            <a:ext cx="1515151" cy="270311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F91543B-2E41-8348-568B-7F2F2967D176}"/>
              </a:ext>
            </a:extLst>
          </p:cNvPr>
          <p:cNvSpPr txBox="1"/>
          <p:nvPr/>
        </p:nvSpPr>
        <p:spPr>
          <a:xfrm>
            <a:off x="7712770" y="3019112"/>
            <a:ext cx="3688423" cy="318100"/>
          </a:xfrm>
          <a:prstGeom prst="roundRect">
            <a:avLst>
              <a:gd name="adj" fmla="val 0"/>
            </a:avLst>
          </a:prstGeom>
          <a:solidFill>
            <a:srgbClr val="10BA87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67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fidential AI Platform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F722437-3385-BFC0-E3FA-DA3DD61D31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4002" y="1659287"/>
            <a:ext cx="285959" cy="36149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F739AF4E-579D-8086-2821-C5B30B9F442E}"/>
              </a:ext>
            </a:extLst>
          </p:cNvPr>
          <p:cNvSpPr txBox="1"/>
          <p:nvPr/>
        </p:nvSpPr>
        <p:spPr>
          <a:xfrm>
            <a:off x="7804604" y="3593183"/>
            <a:ext cx="3467553" cy="351941"/>
          </a:xfrm>
          <a:prstGeom prst="roundRect">
            <a:avLst/>
          </a:prstGeom>
          <a:solidFill>
            <a:srgbClr val="10BA87">
              <a:lumMod val="50000"/>
            </a:srgbClr>
          </a:solidFill>
          <a:effectLst>
            <a:outerShdw blurRad="50800" dist="38100" dir="8100000" algn="tr" rotWithShape="0">
              <a:srgbClr val="FF0000">
                <a:alpha val="4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US" sz="1467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fidential Federated Learn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6A29619-C771-E4F7-2EB0-C539188BF99F}"/>
              </a:ext>
            </a:extLst>
          </p:cNvPr>
          <p:cNvSpPr txBox="1"/>
          <p:nvPr/>
        </p:nvSpPr>
        <p:spPr>
          <a:xfrm>
            <a:off x="7801931" y="4133360"/>
            <a:ext cx="3467553" cy="351941"/>
          </a:xfrm>
          <a:prstGeom prst="roundRect">
            <a:avLst/>
          </a:prstGeom>
          <a:solidFill>
            <a:srgbClr val="10BA87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US" sz="1467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fidential Infere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61834C1-F9C3-73C6-EF06-A2E8D55959CE}"/>
              </a:ext>
            </a:extLst>
          </p:cNvPr>
          <p:cNvSpPr txBox="1"/>
          <p:nvPr/>
        </p:nvSpPr>
        <p:spPr>
          <a:xfrm>
            <a:off x="7801931" y="4602073"/>
            <a:ext cx="3467553" cy="351941"/>
          </a:xfrm>
          <a:prstGeom prst="roundRect">
            <a:avLst/>
          </a:prstGeom>
          <a:solidFill>
            <a:srgbClr val="10BA87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US" sz="1467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erifiable Attestation &amp; Audit Log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C58ECAA9-E520-D20C-7F00-D7F1D5D024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7228" y="2037894"/>
            <a:ext cx="1586487" cy="872152"/>
          </a:xfrm>
          <a:prstGeom prst="rect">
            <a:avLst/>
          </a:prstGeom>
        </p:spPr>
      </p:pic>
      <p:pic>
        <p:nvPicPr>
          <p:cNvPr id="97" name="Picture 96" descr="A blue and black logo&#10;&#10;AI-generated content may be incorrect.">
            <a:extLst>
              <a:ext uri="{FF2B5EF4-FFF2-40B4-BE49-F238E27FC236}">
                <a16:creationId xmlns:a16="http://schemas.microsoft.com/office/drawing/2014/main" id="{A104D253-848E-7631-FC01-7761F73EB3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0774" y="2277718"/>
            <a:ext cx="558305" cy="559253"/>
          </a:xfrm>
          <a:prstGeom prst="rect">
            <a:avLst/>
          </a:prstGeom>
          <a:noFill/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2A1C493-D574-1DE2-8E88-869DB92EEA03}"/>
              </a:ext>
            </a:extLst>
          </p:cNvPr>
          <p:cNvCxnSpPr>
            <a:cxnSpLocks/>
          </p:cNvCxnSpPr>
          <p:nvPr/>
        </p:nvCxnSpPr>
        <p:spPr>
          <a:xfrm>
            <a:off x="4355507" y="2859921"/>
            <a:ext cx="352068" cy="0"/>
          </a:xfrm>
          <a:prstGeom prst="straightConnector1">
            <a:avLst/>
          </a:prstGeom>
          <a:ln w="50800">
            <a:solidFill>
              <a:schemeClr val="tx1">
                <a:lumMod val="75000"/>
                <a:lumOff val="2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98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4A2D722B-BAD7-3E80-E275-139B059D07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6166" y="2675165"/>
            <a:ext cx="344327" cy="344913"/>
          </a:xfrm>
          <a:prstGeom prst="rect">
            <a:avLst/>
          </a:prstGeom>
        </p:spPr>
      </p:pic>
      <p:pic>
        <p:nvPicPr>
          <p:cNvPr id="100" name="Picture 99" descr="A blue and black logo&#10;&#10;AI-generated content may be incorrect.">
            <a:extLst>
              <a:ext uri="{FF2B5EF4-FFF2-40B4-BE49-F238E27FC236}">
                <a16:creationId xmlns:a16="http://schemas.microsoft.com/office/drawing/2014/main" id="{A6BED16F-00A8-F020-CFBF-42B43DBAFB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7273" y="2273432"/>
            <a:ext cx="558305" cy="559253"/>
          </a:xfrm>
          <a:prstGeom prst="rect">
            <a:avLst/>
          </a:prstGeom>
          <a:noFill/>
        </p:spPr>
      </p:pic>
      <p:pic>
        <p:nvPicPr>
          <p:cNvPr id="101" name="Picture 100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CE3A99D8-0B7F-8C7E-DCB4-098AECB7DB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2665" y="2670880"/>
            <a:ext cx="344327" cy="344913"/>
          </a:xfrm>
          <a:prstGeom prst="rect">
            <a:avLst/>
          </a:prstGeom>
        </p:spPr>
      </p:pic>
      <p:pic>
        <p:nvPicPr>
          <p:cNvPr id="102" name="Picture 101" descr="A blue and black logo&#10;&#10;AI-generated content may be incorrect.">
            <a:extLst>
              <a:ext uri="{FF2B5EF4-FFF2-40B4-BE49-F238E27FC236}">
                <a16:creationId xmlns:a16="http://schemas.microsoft.com/office/drawing/2014/main" id="{7D751013-28D9-3A9B-8A3E-C8D13691E3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7473" y="2287540"/>
            <a:ext cx="558305" cy="559253"/>
          </a:xfrm>
          <a:prstGeom prst="rect">
            <a:avLst/>
          </a:prstGeom>
          <a:noFill/>
        </p:spPr>
      </p:pic>
      <p:pic>
        <p:nvPicPr>
          <p:cNvPr id="103" name="Picture 10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F633F420-7975-1A76-ED1F-FC00D25EEF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2865" y="2684988"/>
            <a:ext cx="344327" cy="344913"/>
          </a:xfrm>
          <a:prstGeom prst="rect">
            <a:avLst/>
          </a:prstGeom>
        </p:spPr>
      </p:pic>
      <p:sp>
        <p:nvSpPr>
          <p:cNvPr id="104" name="Rounded Rectangle 103">
            <a:extLst>
              <a:ext uri="{FF2B5EF4-FFF2-40B4-BE49-F238E27FC236}">
                <a16:creationId xmlns:a16="http://schemas.microsoft.com/office/drawing/2014/main" id="{79298921-20C5-F6EC-18A3-8CC39B4D76A5}"/>
              </a:ext>
            </a:extLst>
          </p:cNvPr>
          <p:cNvSpPr/>
          <p:nvPr/>
        </p:nvSpPr>
        <p:spPr>
          <a:xfrm>
            <a:off x="1698994" y="2244941"/>
            <a:ext cx="896013" cy="1893620"/>
          </a:xfrm>
          <a:prstGeom prst="roundRect">
            <a:avLst/>
          </a:prstGeom>
          <a:noFill/>
          <a:ln w="254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78">
              <a:defRPr/>
            </a:pPr>
            <a:endParaRPr lang="en-AE" sz="1092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105" name="Picture 104" descr="OPAQUE Systems | LinkedIn">
            <a:extLst>
              <a:ext uri="{FF2B5EF4-FFF2-40B4-BE49-F238E27FC236}">
                <a16:creationId xmlns:a16="http://schemas.microsoft.com/office/drawing/2014/main" id="{1F62414E-5B54-5166-8F26-6B991A2E6F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33789" y="1836965"/>
            <a:ext cx="635192" cy="635192"/>
          </a:xfrm>
          <a:prstGeom prst="rect">
            <a:avLst/>
          </a:prstGeom>
        </p:spPr>
      </p:pic>
      <p:sp>
        <p:nvSpPr>
          <p:cNvPr id="106" name="Rounded Rectangle 105">
            <a:extLst>
              <a:ext uri="{FF2B5EF4-FFF2-40B4-BE49-F238E27FC236}">
                <a16:creationId xmlns:a16="http://schemas.microsoft.com/office/drawing/2014/main" id="{72637C2F-9C93-B6C1-E4B3-8503A9B74EBB}"/>
              </a:ext>
            </a:extLst>
          </p:cNvPr>
          <p:cNvSpPr/>
          <p:nvPr/>
        </p:nvSpPr>
        <p:spPr>
          <a:xfrm>
            <a:off x="3147326" y="2258697"/>
            <a:ext cx="896013" cy="1893618"/>
          </a:xfrm>
          <a:prstGeom prst="roundRect">
            <a:avLst/>
          </a:prstGeom>
          <a:noFill/>
          <a:ln w="254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78">
              <a:defRPr/>
            </a:pPr>
            <a:endParaRPr lang="en-AE" sz="1092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07" name="Rounded Rectangle 106">
            <a:extLst>
              <a:ext uri="{FF2B5EF4-FFF2-40B4-BE49-F238E27FC236}">
                <a16:creationId xmlns:a16="http://schemas.microsoft.com/office/drawing/2014/main" id="{F310EE9A-2C56-4D72-131A-DB3D61C6EF39}"/>
              </a:ext>
            </a:extLst>
          </p:cNvPr>
          <p:cNvSpPr/>
          <p:nvPr/>
        </p:nvSpPr>
        <p:spPr>
          <a:xfrm>
            <a:off x="5014455" y="2268520"/>
            <a:ext cx="896013" cy="1893618"/>
          </a:xfrm>
          <a:prstGeom prst="roundRect">
            <a:avLst/>
          </a:prstGeom>
          <a:noFill/>
          <a:ln w="254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78">
              <a:defRPr/>
            </a:pPr>
            <a:endParaRPr lang="en-AE" sz="1092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51200FDB-7C5A-C9FF-9F39-1F1540809A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64461" y="3157025"/>
            <a:ext cx="805942" cy="912282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72D9E1C5-2D06-D332-FC0E-CE14644594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92361" y="3157025"/>
            <a:ext cx="805942" cy="912282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4545AEC4-8F02-7255-5AFD-5D50A372F9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38658" y="3135444"/>
            <a:ext cx="805942" cy="912282"/>
          </a:xfrm>
          <a:prstGeom prst="rect">
            <a:avLst/>
          </a:prstGeom>
        </p:spPr>
      </p:pic>
      <p:pic>
        <p:nvPicPr>
          <p:cNvPr id="140" name="Picture 139" descr="OPAQUE Systems | LinkedIn">
            <a:extLst>
              <a:ext uri="{FF2B5EF4-FFF2-40B4-BE49-F238E27FC236}">
                <a16:creationId xmlns:a16="http://schemas.microsoft.com/office/drawing/2014/main" id="{C5A689C5-FA5B-833E-D8B6-8B9DB470BD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11391" y="1841250"/>
            <a:ext cx="635192" cy="635192"/>
          </a:xfrm>
          <a:prstGeom prst="rect">
            <a:avLst/>
          </a:prstGeom>
        </p:spPr>
      </p:pic>
      <p:pic>
        <p:nvPicPr>
          <p:cNvPr id="141" name="Picture 140" descr="OPAQUE Systems | LinkedIn">
            <a:extLst>
              <a:ext uri="{FF2B5EF4-FFF2-40B4-BE49-F238E27FC236}">
                <a16:creationId xmlns:a16="http://schemas.microsoft.com/office/drawing/2014/main" id="{F17D48C7-A869-7B40-4C6E-2E1E864243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59163" y="1854362"/>
            <a:ext cx="635192" cy="635192"/>
          </a:xfrm>
          <a:prstGeom prst="rect">
            <a:avLst/>
          </a:prstGeom>
        </p:spPr>
      </p:pic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0E903239-4AE2-2FAB-3F75-0DA0359CD212}"/>
              </a:ext>
            </a:extLst>
          </p:cNvPr>
          <p:cNvCxnSpPr/>
          <p:nvPr/>
        </p:nvCxnSpPr>
        <p:spPr>
          <a:xfrm flipH="1">
            <a:off x="2617309" y="3520740"/>
            <a:ext cx="500939" cy="0"/>
          </a:xfrm>
          <a:prstGeom prst="straightConnector1">
            <a:avLst/>
          </a:prstGeom>
          <a:ln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BB76220-D70A-1C60-7CB3-A5F972EFB36A}"/>
              </a:ext>
            </a:extLst>
          </p:cNvPr>
          <p:cNvCxnSpPr>
            <a:cxnSpLocks/>
          </p:cNvCxnSpPr>
          <p:nvPr/>
        </p:nvCxnSpPr>
        <p:spPr>
          <a:xfrm flipH="1">
            <a:off x="4076792" y="3520740"/>
            <a:ext cx="933420" cy="0"/>
          </a:xfrm>
          <a:prstGeom prst="straightConnector1">
            <a:avLst/>
          </a:prstGeom>
          <a:ln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29">
            <a:extLst>
              <a:ext uri="{FF2B5EF4-FFF2-40B4-BE49-F238E27FC236}">
                <a16:creationId xmlns:a16="http://schemas.microsoft.com/office/drawing/2014/main" id="{CAA8D884-06B4-C145-ACBF-353959172B55}"/>
              </a:ext>
            </a:extLst>
          </p:cNvPr>
          <p:cNvSpPr txBox="1"/>
          <p:nvPr/>
        </p:nvSpPr>
        <p:spPr>
          <a:xfrm>
            <a:off x="1380372" y="4289262"/>
            <a:ext cx="5057413" cy="8170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en-US"/>
            </a:pPr>
            <a:r>
              <a:rPr lang="en-GB" sz="1400" kern="0">
                <a:latin typeface="Montserrat "/>
              </a:rPr>
              <a:t>Local training and model aggregation can be deployed in </a:t>
            </a:r>
            <a:r>
              <a:rPr lang="en-GB" sz="1400" b="1" u="sng" kern="0">
                <a:latin typeface="Montserrat "/>
              </a:rPr>
              <a:t>per-client instances</a:t>
            </a:r>
            <a:r>
              <a:rPr lang="en-GB" sz="1400" kern="0">
                <a:latin typeface="Montserrat "/>
              </a:rPr>
              <a:t> inside OPAQUE platform.</a:t>
            </a: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 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F08C3-3D2E-4825-8153-98451F71CAB0}"/>
              </a:ext>
            </a:extLst>
          </p:cNvPr>
          <p:cNvSpPr txBox="1"/>
          <p:nvPr/>
        </p:nvSpPr>
        <p:spPr>
          <a:xfrm>
            <a:off x="1380372" y="5150670"/>
            <a:ext cx="4638935" cy="646331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AE">
                <a:latin typeface="Charter"/>
                <a:cs typeface="Arial"/>
              </a:rPr>
              <a:t>D</a:t>
            </a:r>
            <a:r>
              <a:rPr lang="en-US">
                <a:latin typeface="Charter"/>
                <a:cs typeface="Arial"/>
              </a:rPr>
              <a:t>e</a:t>
            </a:r>
            <a:r>
              <a:rPr lang="en-AE">
                <a:latin typeface="Charter"/>
                <a:cs typeface="Arial"/>
              </a:rPr>
              <a:t>ployment inside TEEs provides verifiablity without any protocol trade-offs.</a:t>
            </a:r>
          </a:p>
        </p:txBody>
      </p:sp>
    </p:spTree>
    <p:extLst>
      <p:ext uri="{BB962C8B-B14F-4D97-AF65-F5344CB8AC3E}">
        <p14:creationId xmlns:p14="http://schemas.microsoft.com/office/powerpoint/2010/main" val="203409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4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1" descr="preencoded.png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Frame 2087325667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17550" y="6153150"/>
            <a:ext cx="10890250" cy="374650"/>
          </a:xfrm>
          <a:prstGeom prst="rect">
            <a:avLst/>
          </a:prstGeom>
        </p:spPr>
      </p:pic>
      <p:pic>
        <p:nvPicPr>
          <p:cNvPr id="4" name="Frame" descr="preencoded.png"/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17550" y="368300"/>
            <a:ext cx="1371600" cy="495300"/>
          </a:xfrm>
          <a:prstGeom prst="rect">
            <a:avLst/>
          </a:prstGeom>
        </p:spPr>
      </p:pic>
      <p:sp>
        <p:nvSpPr>
          <p:cNvPr id="5" name="THANK YOU"/>
          <p:cNvSpPr/>
          <p:nvPr/>
        </p:nvSpPr>
        <p:spPr>
          <a:xfrm>
            <a:off x="3448050" y="2965450"/>
            <a:ext cx="5480050" cy="9334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7336"/>
              </a:lnSpc>
            </a:pPr>
            <a:r>
              <a:rPr lang="en-US" sz="6550">
                <a:solidFill>
                  <a:srgbClr val="E4E4E4"/>
                </a:solidFill>
                <a:latin typeface="Montserrat ExtraBold" pitchFamily="34" charset="0"/>
                <a:ea typeface="Montserrat ExtraBold" pitchFamily="34" charset="-122"/>
                <a:cs typeface="Montserrat ExtraBold" pitchFamily="34" charset="-120"/>
              </a:rPr>
              <a:t>THANK YOU</a:t>
            </a:r>
            <a:endParaRPr lang="en-US" sz="6550"/>
          </a:p>
        </p:txBody>
      </p:sp>
      <p:sp>
        <p:nvSpPr>
          <p:cNvPr id="7" name="wwwventureoneae"/>
          <p:cNvSpPr/>
          <p:nvPr/>
        </p:nvSpPr>
        <p:spPr>
          <a:xfrm>
            <a:off x="10306050" y="6257925"/>
            <a:ext cx="1314450" cy="165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300"/>
              </a:lnSpc>
              <a:spcAft>
                <a:spcPts val="550"/>
              </a:spcAft>
            </a:pPr>
            <a:r>
              <a:rPr lang="en-US" sz="1000">
                <a:solidFill>
                  <a:srgbClr val="FFFFFF">
                    <a:alpha val="80000"/>
                  </a:srgbClr>
                </a:solidFill>
                <a:latin typeface="Montserrat Medium" pitchFamily="34" charset="0"/>
                <a:ea typeface="Montserrat Medium" pitchFamily="34" charset="-122"/>
                <a:cs typeface="Montserrat Medium" pitchFamily="34" charset="-120"/>
              </a:rPr>
              <a:t>www.ventureone.ae</a:t>
            </a:r>
            <a:endParaRPr lang="en-US" sz="1000"/>
          </a:p>
        </p:txBody>
      </p:sp>
      <p:sp>
        <p:nvSpPr>
          <p:cNvPr id="8" name="Header"/>
          <p:cNvSpPr/>
          <p:nvPr/>
        </p:nvSpPr>
        <p:spPr>
          <a:xfrm>
            <a:off x="8629650" y="368300"/>
            <a:ext cx="2978150" cy="2603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r">
              <a:lnSpc>
                <a:spcPts val="2040"/>
              </a:lnSpc>
            </a:pPr>
            <a:r>
              <a:rPr lang="en-US" sz="1200">
                <a:solidFill>
                  <a:srgbClr val="FFFFFF"/>
                </a:solidFill>
                <a:latin typeface="Montserrat Medium" pitchFamily="34" charset="0"/>
                <a:ea typeface="Montserrat Medium" pitchFamily="34" charset="-122"/>
                <a:cs typeface="Montserrat Medium" pitchFamily="34" charset="-120"/>
              </a:rPr>
              <a:t>Technology Commercialization</a:t>
            </a:r>
            <a:endParaRPr lang="en-US" sz="12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93DBB-0C40-6569-F6C4-74FB7C7BA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tructure">
            <a:extLst>
              <a:ext uri="{FF2B5EF4-FFF2-40B4-BE49-F238E27FC236}">
                <a16:creationId xmlns:a16="http://schemas.microsoft.com/office/drawing/2014/main" id="{8705FD9C-F288-757A-BB7E-BA6981A22606}"/>
              </a:ext>
            </a:extLst>
          </p:cNvPr>
          <p:cNvSpPr/>
          <p:nvPr/>
        </p:nvSpPr>
        <p:spPr>
          <a:xfrm>
            <a:off x="495901" y="248500"/>
            <a:ext cx="870795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3080"/>
              </a:lnSpc>
            </a:pPr>
            <a:r>
              <a:rPr lang="en-US" sz="2800">
                <a:solidFill>
                  <a:srgbClr val="7229F6"/>
                </a:solidFill>
                <a:latin typeface="Montserrat ExtraBold" pitchFamily="34" charset="0"/>
              </a:rPr>
              <a:t>Use cases in UAE</a:t>
            </a:r>
          </a:p>
        </p:txBody>
      </p:sp>
      <p:pic>
        <p:nvPicPr>
          <p:cNvPr id="3" name="Picture 2" descr="5 UAE mangroves to visit with children during the school winter break">
            <a:extLst>
              <a:ext uri="{FF2B5EF4-FFF2-40B4-BE49-F238E27FC236}">
                <a16:creationId xmlns:a16="http://schemas.microsoft.com/office/drawing/2014/main" id="{E166CEE6-DD37-4237-3EDA-F6D7DF229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951" y="1056141"/>
            <a:ext cx="3689178" cy="27668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DA38F94-A9E0-68A3-006F-BE1B4FD2E4A2}"/>
              </a:ext>
            </a:extLst>
          </p:cNvPr>
          <p:cNvSpPr txBox="1"/>
          <p:nvPr/>
        </p:nvSpPr>
        <p:spPr>
          <a:xfrm>
            <a:off x="4296317" y="1924328"/>
            <a:ext cx="252012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latin typeface="Charter"/>
                <a:cs typeface="Arial"/>
              </a:rPr>
              <a:t>M42 planning to build models on Environmental data collected across multiple public and private institu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9A95E8-74A9-14C5-45BE-CD40435208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5590" y="1059024"/>
            <a:ext cx="2020355" cy="6848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1633AC-2199-1867-9FDD-8518E7C7D7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5747" y="4519191"/>
            <a:ext cx="2020352" cy="6848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7A3E46D-886D-93EB-2CD3-52B22B73DD69}"/>
              </a:ext>
            </a:extLst>
          </p:cNvPr>
          <p:cNvSpPr txBox="1"/>
          <p:nvPr/>
        </p:nvSpPr>
        <p:spPr>
          <a:xfrm>
            <a:off x="8326582" y="5392737"/>
            <a:ext cx="336951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latin typeface="Charter"/>
                <a:cs typeface="Arial"/>
              </a:rPr>
              <a:t>GCC Police planning to build models for crime prediction combining data from multiple Emirates and Gulf Nations.</a:t>
            </a:r>
          </a:p>
        </p:txBody>
      </p:sp>
      <p:pic>
        <p:nvPicPr>
          <p:cNvPr id="10" name="Picture 9" descr="How Minority Report Correctly Predicted Today's Future">
            <a:extLst>
              <a:ext uri="{FF2B5EF4-FFF2-40B4-BE49-F238E27FC236}">
                <a16:creationId xmlns:a16="http://schemas.microsoft.com/office/drawing/2014/main" id="{584DDE03-E311-9A52-4320-3E80C0D64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39891" y="1918180"/>
            <a:ext cx="4256208" cy="2387629"/>
          </a:xfrm>
          <a:prstGeom prst="rect">
            <a:avLst/>
          </a:prstGeom>
        </p:spPr>
      </p:pic>
      <p:pic>
        <p:nvPicPr>
          <p:cNvPr id="13" name="Picture 12" descr="Missed Appointments—What's Your Approach? – Dentrix Magazine">
            <a:extLst>
              <a:ext uri="{FF2B5EF4-FFF2-40B4-BE49-F238E27FC236}">
                <a16:creationId xmlns:a16="http://schemas.microsoft.com/office/drawing/2014/main" id="{13ED51AF-B420-44ED-F9B8-E51D5F641B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951" y="4438338"/>
            <a:ext cx="3686229" cy="19987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F4DBEF5-21D9-B738-EDB3-9FEC2F9201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31465" y="4077390"/>
            <a:ext cx="2962041" cy="6848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xtBox 103">
            <a:extLst>
              <a:ext uri="{FF2B5EF4-FFF2-40B4-BE49-F238E27FC236}">
                <a16:creationId xmlns:a16="http://schemas.microsoft.com/office/drawing/2014/main" id="{03D1DF86-B473-8C67-A943-93DEB1C5F452}"/>
              </a:ext>
            </a:extLst>
          </p:cNvPr>
          <p:cNvSpPr txBox="1"/>
          <p:nvPr/>
        </p:nvSpPr>
        <p:spPr>
          <a:xfrm>
            <a:off x="4296317" y="4884308"/>
            <a:ext cx="3785118" cy="15620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Emirates Health Services planning to build models with sensitive data from different healthcare institutions:</a:t>
            </a:r>
          </a:p>
          <a:p>
            <a:endParaRPr lang="en-US" sz="1400">
              <a:latin typeface="Charter"/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Charter"/>
                <a:cs typeface="Arial"/>
              </a:rPr>
              <a:t>Appointment absence predictio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Charter"/>
                <a:cs typeface="Arial"/>
              </a:rPr>
              <a:t>X-Ray and MRI diagnosis</a:t>
            </a:r>
          </a:p>
        </p:txBody>
      </p:sp>
      <p:pic>
        <p:nvPicPr>
          <p:cNvPr id="16" name="Picture 15" descr="Abu Dhabi boosts climate action by planting 44 million mangrove trees">
            <a:extLst>
              <a:ext uri="{FF2B5EF4-FFF2-40B4-BE49-F238E27FC236}">
                <a16:creationId xmlns:a16="http://schemas.microsoft.com/office/drawing/2014/main" id="{7BC667C2-3B6B-7054-13E1-0B716B4481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5803" y="2836791"/>
            <a:ext cx="2100262" cy="1400175"/>
          </a:xfrm>
          <a:prstGeom prst="rect">
            <a:avLst/>
          </a:prstGeom>
          <a:effectLst>
            <a:glow rad="604176">
              <a:schemeClr val="bg1"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489473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BCE309-A777-4DBB-EEC4-7982533CC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Picture 100">
            <a:extLst>
              <a:ext uri="{FF2B5EF4-FFF2-40B4-BE49-F238E27FC236}">
                <a16:creationId xmlns:a16="http://schemas.microsoft.com/office/drawing/2014/main" id="{DC129745-D1B1-31C4-F7E7-5F77546C75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4215" y="2081154"/>
            <a:ext cx="805942" cy="912282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DACF0F51-1D2D-6E33-F488-39DD844D88D5}"/>
              </a:ext>
            </a:extLst>
          </p:cNvPr>
          <p:cNvSpPr txBox="1"/>
          <p:nvPr/>
        </p:nvSpPr>
        <p:spPr>
          <a:xfrm>
            <a:off x="481302" y="1197934"/>
            <a:ext cx="601123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AE" b="1" dirty="0">
                <a:latin typeface="Charter"/>
                <a:cs typeface="Arial"/>
              </a:rPr>
              <a:t>Conventional FL </a:t>
            </a:r>
            <a:r>
              <a:rPr lang="en-AE" dirty="0">
                <a:latin typeface="Charter"/>
                <a:cs typeface="Arial"/>
              </a:rPr>
              <a:t>trains models locally, but it sends the locally trained models to one single aggregator…</a:t>
            </a:r>
          </a:p>
        </p:txBody>
      </p:sp>
      <p:sp>
        <p:nvSpPr>
          <p:cNvPr id="56" name="Structure">
            <a:extLst>
              <a:ext uri="{FF2B5EF4-FFF2-40B4-BE49-F238E27FC236}">
                <a16:creationId xmlns:a16="http://schemas.microsoft.com/office/drawing/2014/main" id="{225A2491-BD18-6676-CEE5-EF51D2EBC44D}"/>
              </a:ext>
            </a:extLst>
          </p:cNvPr>
          <p:cNvSpPr/>
          <p:nvPr/>
        </p:nvSpPr>
        <p:spPr>
          <a:xfrm>
            <a:off x="495901" y="248500"/>
            <a:ext cx="870795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3080"/>
              </a:lnSpc>
            </a:pPr>
            <a:r>
              <a:rPr lang="en-US" sz="2800">
                <a:solidFill>
                  <a:srgbClr val="7229F6"/>
                </a:solidFill>
                <a:latin typeface="Montserrat ExtraBold" pitchFamily="34" charset="0"/>
              </a:rPr>
              <a:t>The problem with conventional FL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D62AAAE-EB65-FBF6-3957-25EA962AB886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2116305" y="3155515"/>
            <a:ext cx="2370614" cy="17699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A8CAFB8-03EB-EA34-5CAB-8B699A57DA8B}"/>
              </a:ext>
            </a:extLst>
          </p:cNvPr>
          <p:cNvSpPr txBox="1"/>
          <p:nvPr/>
        </p:nvSpPr>
        <p:spPr>
          <a:xfrm>
            <a:off x="1450963" y="2517680"/>
            <a:ext cx="7235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Local trai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phase</a:t>
            </a:r>
            <a:endParaRPr kumimoji="0" lang="en-A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D8260CC-D76F-0E49-133D-C0E96FD79CE1}"/>
              </a:ext>
            </a:extLst>
          </p:cNvPr>
          <p:cNvCxnSpPr>
            <a:cxnSpLocks/>
          </p:cNvCxnSpPr>
          <p:nvPr/>
        </p:nvCxnSpPr>
        <p:spPr>
          <a:xfrm flipV="1">
            <a:off x="3301612" y="3294743"/>
            <a:ext cx="1185307" cy="89370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5AF134A4-9F50-E8F3-4CD8-2904E8C7EDD3}"/>
              </a:ext>
            </a:extLst>
          </p:cNvPr>
          <p:cNvCxnSpPr>
            <a:cxnSpLocks/>
          </p:cNvCxnSpPr>
          <p:nvPr/>
        </p:nvCxnSpPr>
        <p:spPr>
          <a:xfrm flipV="1">
            <a:off x="4251993" y="3353367"/>
            <a:ext cx="403276" cy="13727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16">
            <a:extLst>
              <a:ext uri="{FF2B5EF4-FFF2-40B4-BE49-F238E27FC236}">
                <a16:creationId xmlns:a16="http://schemas.microsoft.com/office/drawing/2014/main" id="{36B355F7-543C-DAAD-D8A9-F88DD7F51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948" y="4146937"/>
            <a:ext cx="485370" cy="44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6">
            <a:extLst>
              <a:ext uri="{FF2B5EF4-FFF2-40B4-BE49-F238E27FC236}">
                <a16:creationId xmlns:a16="http://schemas.microsoft.com/office/drawing/2014/main" id="{0453E2C8-F302-F773-58F8-109F5F774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701" y="3137649"/>
            <a:ext cx="485370" cy="44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6">
            <a:extLst>
              <a:ext uri="{FF2B5EF4-FFF2-40B4-BE49-F238E27FC236}">
                <a16:creationId xmlns:a16="http://schemas.microsoft.com/office/drawing/2014/main" id="{05AD81CC-B5B3-9421-92C4-100B0E3A5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536" y="4702458"/>
            <a:ext cx="485370" cy="44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84" descr="A blue and black logo&#10;&#10;AI-generated content may be incorrect.">
            <a:extLst>
              <a:ext uri="{FF2B5EF4-FFF2-40B4-BE49-F238E27FC236}">
                <a16:creationId xmlns:a16="http://schemas.microsoft.com/office/drawing/2014/main" id="{EFB9D773-F0F9-B9FD-55D5-96492AE6D2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654" y="2886076"/>
            <a:ext cx="620745" cy="621799"/>
          </a:xfrm>
          <a:prstGeom prst="rect">
            <a:avLst/>
          </a:prstGeom>
          <a:solidFill>
            <a:srgbClr val="5000D2">
              <a:lumMod val="20000"/>
              <a:lumOff val="80000"/>
            </a:srgbClr>
          </a:solidFill>
        </p:spPr>
      </p:pic>
      <p:pic>
        <p:nvPicPr>
          <p:cNvPr id="90" name="Picture 89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1E89A619-9BF6-2166-899C-94AB35C27E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7853" y="3237106"/>
            <a:ext cx="313025" cy="313557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29EBACC8-EEB5-AD9D-2F15-A7B5B9110522}"/>
              </a:ext>
            </a:extLst>
          </p:cNvPr>
          <p:cNvSpPr txBox="1"/>
          <p:nvPr/>
        </p:nvSpPr>
        <p:spPr>
          <a:xfrm>
            <a:off x="344940" y="2636828"/>
            <a:ext cx="806172" cy="2474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93" name="Picture 92" descr="A blue and black logo&#10;&#10;AI-generated content may be incorrect.">
            <a:extLst>
              <a:ext uri="{FF2B5EF4-FFF2-40B4-BE49-F238E27FC236}">
                <a16:creationId xmlns:a16="http://schemas.microsoft.com/office/drawing/2014/main" id="{689C1EA7-7E7B-F7B2-16C3-1CFFC06542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7203" y="4134680"/>
            <a:ext cx="682819" cy="683979"/>
          </a:xfrm>
          <a:prstGeom prst="rect">
            <a:avLst/>
          </a:prstGeom>
          <a:solidFill>
            <a:srgbClr val="883FFF">
              <a:lumMod val="20000"/>
              <a:lumOff val="80000"/>
            </a:srgbClr>
          </a:solidFill>
        </p:spPr>
      </p:pic>
      <p:pic>
        <p:nvPicPr>
          <p:cNvPr id="94" name="Picture 93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35916D93-A32E-400B-7AC8-EE43F89E83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1354" y="4467084"/>
            <a:ext cx="344327" cy="344913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E60D4BDC-3ED4-6189-B446-7B07F6766FAF}"/>
              </a:ext>
            </a:extLst>
          </p:cNvPr>
          <p:cNvSpPr txBox="1"/>
          <p:nvPr/>
        </p:nvSpPr>
        <p:spPr>
          <a:xfrm>
            <a:off x="1742782" y="3857018"/>
            <a:ext cx="839670" cy="2721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96" name="Picture 95" descr="A blue and black logo&#10;&#10;AI-generated content may be incorrect.">
            <a:extLst>
              <a:ext uri="{FF2B5EF4-FFF2-40B4-BE49-F238E27FC236}">
                <a16:creationId xmlns:a16="http://schemas.microsoft.com/office/drawing/2014/main" id="{F13850F1-B4D3-026D-9BDD-077A8C3B8B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7338" y="4737934"/>
            <a:ext cx="682819" cy="683979"/>
          </a:xfrm>
          <a:prstGeom prst="rect">
            <a:avLst/>
          </a:prstGeom>
          <a:solidFill>
            <a:srgbClr val="5C5D60">
              <a:lumMod val="20000"/>
              <a:lumOff val="80000"/>
            </a:srgbClr>
          </a:solidFill>
        </p:spPr>
      </p:pic>
      <p:pic>
        <p:nvPicPr>
          <p:cNvPr id="98" name="Picture 9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1A07F322-2CB0-EA57-35ED-0576A4D808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6906" y="4977451"/>
            <a:ext cx="344327" cy="344913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7337C113-86C2-D59F-A871-014C412509F3}"/>
              </a:ext>
            </a:extLst>
          </p:cNvPr>
          <p:cNvSpPr txBox="1"/>
          <p:nvPr/>
        </p:nvSpPr>
        <p:spPr>
          <a:xfrm>
            <a:off x="4717338" y="4484398"/>
            <a:ext cx="839670" cy="2721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02" name="Picture 20">
            <a:extLst>
              <a:ext uri="{FF2B5EF4-FFF2-40B4-BE49-F238E27FC236}">
                <a16:creationId xmlns:a16="http://schemas.microsoft.com/office/drawing/2014/main" id="{09AEC9BB-A01C-6DFB-1D2D-E4E959F48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381" y="2823742"/>
            <a:ext cx="544291" cy="489330"/>
          </a:xfrm>
          <a:prstGeom prst="rect">
            <a:avLst/>
          </a:prstGeom>
          <a:noFill/>
        </p:spPr>
      </p:pic>
      <p:pic>
        <p:nvPicPr>
          <p:cNvPr id="105" name="Picture 104" descr="A person wearing a mask and a hood with a computer&#10;&#10;Description automatically generated">
            <a:extLst>
              <a:ext uri="{FF2B5EF4-FFF2-40B4-BE49-F238E27FC236}">
                <a16:creationId xmlns:a16="http://schemas.microsoft.com/office/drawing/2014/main" id="{35D95C01-A118-8819-05EB-E0766AEC180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3471" y="3020439"/>
            <a:ext cx="443725" cy="443725"/>
          </a:xfrm>
          <a:prstGeom prst="rect">
            <a:avLst/>
          </a:prstGeom>
        </p:spPr>
      </p:pic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0A75C422-F121-3F1D-1AA3-ACE81B3749D7}"/>
              </a:ext>
            </a:extLst>
          </p:cNvPr>
          <p:cNvCxnSpPr>
            <a:cxnSpLocks/>
          </p:cNvCxnSpPr>
          <p:nvPr/>
        </p:nvCxnSpPr>
        <p:spPr>
          <a:xfrm>
            <a:off x="5169738" y="3108853"/>
            <a:ext cx="1112594" cy="489330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Picture 16">
            <a:extLst>
              <a:ext uri="{FF2B5EF4-FFF2-40B4-BE49-F238E27FC236}">
                <a16:creationId xmlns:a16="http://schemas.microsoft.com/office/drawing/2014/main" id="{AE88AA4B-BFAC-E69F-0CFE-DAF27DCC6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189" y="3137357"/>
            <a:ext cx="485370" cy="44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11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4EBE527A-40D1-853E-5CCC-A4C97660A4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12061" y="3475072"/>
            <a:ext cx="485700" cy="486525"/>
          </a:xfrm>
          <a:prstGeom prst="rect">
            <a:avLst/>
          </a:prstGeom>
        </p:spPr>
      </p:pic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3AFC375F-52B0-EDB2-0CE0-3A70DFD6B60C}"/>
              </a:ext>
            </a:extLst>
          </p:cNvPr>
          <p:cNvSpPr/>
          <p:nvPr/>
        </p:nvSpPr>
        <p:spPr>
          <a:xfrm>
            <a:off x="6346981" y="3556303"/>
            <a:ext cx="620058" cy="31355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000"/>
              <a:t>Extract</a:t>
            </a:r>
          </a:p>
          <a:p>
            <a:pPr algn="ctr"/>
            <a:r>
              <a:rPr lang="en-AE" sz="1000"/>
              <a:t>Data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93912B74-DD69-7D41-75C5-91B737D2BF03}"/>
              </a:ext>
            </a:extLst>
          </p:cNvPr>
          <p:cNvCxnSpPr>
            <a:cxnSpLocks/>
          </p:cNvCxnSpPr>
          <p:nvPr/>
        </p:nvCxnSpPr>
        <p:spPr>
          <a:xfrm>
            <a:off x="6967039" y="3713081"/>
            <a:ext cx="485700" cy="0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86536664-B1AA-3DED-A66D-D1ABC37E35F0}"/>
              </a:ext>
            </a:extLst>
          </p:cNvPr>
          <p:cNvSpPr txBox="1"/>
          <p:nvPr/>
        </p:nvSpPr>
        <p:spPr>
          <a:xfrm>
            <a:off x="701765" y="3511413"/>
            <a:ext cx="891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Sensi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  <a:endParaRPr kumimoji="0" lang="en-A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DB354B9-79CB-95E6-B8CD-AFA67605A28E}"/>
              </a:ext>
            </a:extLst>
          </p:cNvPr>
          <p:cNvSpPr txBox="1"/>
          <p:nvPr/>
        </p:nvSpPr>
        <p:spPr>
          <a:xfrm>
            <a:off x="6501390" y="4022733"/>
            <a:ext cx="14696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Sensitive Data is stolen!</a:t>
            </a:r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Montserrat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Box 102">
            <a:extLst>
              <a:ext uri="{FF2B5EF4-FFF2-40B4-BE49-F238E27FC236}">
                <a16:creationId xmlns:a16="http://schemas.microsoft.com/office/drawing/2014/main" id="{DC74787A-53BD-72E3-DFBA-2B29E3AE1ED3}"/>
              </a:ext>
            </a:extLst>
          </p:cNvPr>
          <p:cNvSpPr txBox="1"/>
          <p:nvPr/>
        </p:nvSpPr>
        <p:spPr>
          <a:xfrm>
            <a:off x="8704783" y="2407589"/>
            <a:ext cx="2606539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GB" sz="1600" b="1">
                <a:latin typeface="Montserrat" pitchFamily="2" charset="77"/>
                <a:cs typeface="Arial"/>
              </a:rPr>
              <a:t>Privacy vulnerabilities</a:t>
            </a:r>
            <a:endParaRPr lang="en-GB" sz="1600">
              <a:latin typeface="Montserrat" pitchFamily="2" charset="77"/>
              <a:cs typeface="Arial"/>
            </a:endParaRPr>
          </a:p>
        </p:txBody>
      </p:sp>
      <p:sp>
        <p:nvSpPr>
          <p:cNvPr id="6" name="TextBox 103">
            <a:extLst>
              <a:ext uri="{FF2B5EF4-FFF2-40B4-BE49-F238E27FC236}">
                <a16:creationId xmlns:a16="http://schemas.microsoft.com/office/drawing/2014/main" id="{04301911-96FF-23F0-530F-E470B5DA2768}"/>
              </a:ext>
            </a:extLst>
          </p:cNvPr>
          <p:cNvSpPr txBox="1"/>
          <p:nvPr/>
        </p:nvSpPr>
        <p:spPr>
          <a:xfrm>
            <a:off x="9071486" y="2990741"/>
            <a:ext cx="2670132" cy="160043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Exposes </a:t>
            </a:r>
            <a:r>
              <a:rPr lang="en-US" sz="1400">
                <a:latin typeface="Montserrat" pitchFamily="2" charset="77"/>
                <a:cs typeface="Arial"/>
              </a:rPr>
              <a:t>local</a:t>
            </a:r>
            <a:r>
              <a:rPr lang="en-US" sz="1400">
                <a:latin typeface="Charter"/>
                <a:cs typeface="Arial"/>
              </a:rPr>
              <a:t> model updates that can leak training data information.</a:t>
            </a:r>
            <a:endParaRPr lang="en-US"/>
          </a:p>
          <a:p>
            <a:endParaRPr lang="en-US" sz="1400"/>
          </a:p>
          <a:p>
            <a:r>
              <a:rPr lang="en-US" sz="1400">
                <a:latin typeface="Charter"/>
                <a:cs typeface="Arial"/>
              </a:rPr>
              <a:t>Susceptible to membership inference attacks by malicious aggregator.</a:t>
            </a:r>
          </a:p>
        </p:txBody>
      </p:sp>
      <p:pic>
        <p:nvPicPr>
          <p:cNvPr id="7" name="Picture 6" descr="A person wearing a hat and coat&#10;&#10;AI-generated content may be incorrect.">
            <a:extLst>
              <a:ext uri="{FF2B5EF4-FFF2-40B4-BE49-F238E27FC236}">
                <a16:creationId xmlns:a16="http://schemas.microsoft.com/office/drawing/2014/main" id="{50BF8FBA-2B67-120D-413E-A93E15F506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981" y="2278889"/>
            <a:ext cx="463637" cy="497243"/>
          </a:xfrm>
          <a:prstGeom prst="rect">
            <a:avLst/>
          </a:prstGeom>
        </p:spPr>
      </p:pic>
      <p:pic>
        <p:nvPicPr>
          <p:cNvPr id="8" name="Picture 7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6CA6D54D-D468-36F5-FAAE-118344E0B8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701" y="3011039"/>
            <a:ext cx="378984" cy="374281"/>
          </a:xfrm>
          <a:prstGeom prst="rect">
            <a:avLst/>
          </a:prstGeom>
        </p:spPr>
      </p:pic>
      <p:pic>
        <p:nvPicPr>
          <p:cNvPr id="10" name="Picture 9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9BBD5F75-C7D1-40DD-250D-D95433D254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701" y="3923819"/>
            <a:ext cx="378984" cy="37559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945DD2C-2F24-DB4C-34D1-A7764E09D940}"/>
              </a:ext>
            </a:extLst>
          </p:cNvPr>
          <p:cNvSpPr txBox="1"/>
          <p:nvPr/>
        </p:nvSpPr>
        <p:spPr>
          <a:xfrm>
            <a:off x="3455326" y="2731272"/>
            <a:ext cx="10948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Aggreg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black"/>
                </a:solidFill>
                <a:latin typeface="Montserrat" pitchFamily="2" charset="77"/>
                <a:ea typeface="Verdana" panose="020B0604030504040204" pitchFamily="34" charset="0"/>
                <a:cs typeface="Verdana" panose="020B0604030504040204" pitchFamily="34" charset="0"/>
              </a:rPr>
              <a:t>phase</a:t>
            </a:r>
            <a:endParaRPr kumimoji="0" lang="en-A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AB7423-B7B4-C6F7-CED3-F5ED5492C72B}"/>
              </a:ext>
            </a:extLst>
          </p:cNvPr>
          <p:cNvSpPr txBox="1"/>
          <p:nvPr/>
        </p:nvSpPr>
        <p:spPr>
          <a:xfrm>
            <a:off x="1467853" y="36696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A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AA06107-0804-D29A-CE76-5687C4C5D519}"/>
              </a:ext>
            </a:extLst>
          </p:cNvPr>
          <p:cNvSpPr/>
          <p:nvPr/>
        </p:nvSpPr>
        <p:spPr>
          <a:xfrm>
            <a:off x="4503931" y="2786339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B59C5B-A58E-9C1A-4BD6-0B3765D26935}"/>
              </a:ext>
            </a:extLst>
          </p:cNvPr>
          <p:cNvSpPr/>
          <p:nvPr/>
        </p:nvSpPr>
        <p:spPr>
          <a:xfrm>
            <a:off x="1500455" y="3044992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3" name="Picture 20">
            <a:extLst>
              <a:ext uri="{FF2B5EF4-FFF2-40B4-BE49-F238E27FC236}">
                <a16:creationId xmlns:a16="http://schemas.microsoft.com/office/drawing/2014/main" id="{0DA26BE2-E88B-7445-8D97-EA713345C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9658" y="2827444"/>
            <a:ext cx="544291" cy="489330"/>
          </a:xfrm>
          <a:prstGeom prst="rect">
            <a:avLst/>
          </a:prstGeom>
          <a:noFill/>
        </p:spPr>
      </p:pic>
      <p:pic>
        <p:nvPicPr>
          <p:cNvPr id="4" name="Picture 20">
            <a:extLst>
              <a:ext uri="{FF2B5EF4-FFF2-40B4-BE49-F238E27FC236}">
                <a16:creationId xmlns:a16="http://schemas.microsoft.com/office/drawing/2014/main" id="{B0E043A6-319D-CCC3-068D-2DC4671A0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3781" y="2823742"/>
            <a:ext cx="544291" cy="489330"/>
          </a:xfrm>
          <a:prstGeom prst="rect">
            <a:avLst/>
          </a:prstGeom>
          <a:noFill/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8BF24F8-F74C-75F6-5055-D3DFA1B007AE}"/>
              </a:ext>
            </a:extLst>
          </p:cNvPr>
          <p:cNvSpPr/>
          <p:nvPr/>
        </p:nvSpPr>
        <p:spPr>
          <a:xfrm>
            <a:off x="585784" y="5626454"/>
            <a:ext cx="2133600" cy="641131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Re-start process!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0E59E3-FC3A-29E5-0229-989F34EDB6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610" y="5604218"/>
            <a:ext cx="641131" cy="64113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CBE883E-B654-2D13-77A5-E57B45D50780}"/>
              </a:ext>
            </a:extLst>
          </p:cNvPr>
          <p:cNvSpPr/>
          <p:nvPr/>
        </p:nvSpPr>
        <p:spPr>
          <a:xfrm>
            <a:off x="2808192" y="406232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DF5E9E-5177-DE9B-CD76-B137F5D5B7E8}"/>
              </a:ext>
            </a:extLst>
          </p:cNvPr>
          <p:cNvSpPr/>
          <p:nvPr/>
        </p:nvSpPr>
        <p:spPr>
          <a:xfrm>
            <a:off x="3763762" y="4619750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001827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repeatCount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42 0.00139 L 0.24414 -0.03982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36" y="-206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0" presetClass="path" presetSubtype="0" repeatCount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9 -0.00162 L 0.13776 -0.18935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9398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0" presetClass="path" presetSubtype="0" repeatCount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61 -0.00348 L 0.0612 -0.27431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90" y="-135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6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0694 L -0.24466 0.03843 " pathEditMode="relative" ptsTypes="AA">
                                      <p:cBhvr>
                                        <p:cTn id="45" dur="2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0695 L -0.1388 0.18773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862" y="94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0694 L -0.05925 0.26737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34" y="13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 animBg="1"/>
      <p:bldP spid="123" grpId="0"/>
      <p:bldP spid="5" grpId="0"/>
      <p:bldP spid="6" grpId="0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EDDF31-BEEC-B6ED-1739-8B12B3CEE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3A780046-0AF5-A9B5-4527-5A51258707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780046-0AF5-A9B5-4527-5A5125870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tructure">
            <a:extLst>
              <a:ext uri="{FF2B5EF4-FFF2-40B4-BE49-F238E27FC236}">
                <a16:creationId xmlns:a16="http://schemas.microsoft.com/office/drawing/2014/main" id="{47938A2F-0634-FA64-14E9-CC47AFA25222}"/>
              </a:ext>
            </a:extLst>
          </p:cNvPr>
          <p:cNvSpPr/>
          <p:nvPr/>
        </p:nvSpPr>
        <p:spPr>
          <a:xfrm>
            <a:off x="495901" y="248500"/>
            <a:ext cx="11400652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3080"/>
              </a:lnSpc>
            </a:pPr>
            <a:r>
              <a:rPr lang="en-US" sz="2800">
                <a:solidFill>
                  <a:srgbClr val="7229F6"/>
                </a:solidFill>
                <a:latin typeface="Montserrat ExtraBold" pitchFamily="34" charset="0"/>
              </a:rPr>
              <a:t>Market overview:</a:t>
            </a:r>
            <a:endParaRPr lang="en-US" sz="2800">
              <a:latin typeface="Montserrat ExtraBold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B030C3C-F9DE-97AD-BCFA-A85C074C9077}"/>
              </a:ext>
            </a:extLst>
          </p:cNvPr>
          <p:cNvSpPr txBox="1"/>
          <p:nvPr/>
        </p:nvSpPr>
        <p:spPr>
          <a:xfrm>
            <a:off x="617511" y="10372743"/>
            <a:ext cx="45333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schemeClr val="bg1">
                    <a:lumMod val="50000"/>
                  </a:schemeClr>
                </a:solidFill>
                <a:latin typeface="Montserrat "/>
              </a:rPr>
              <a:t>Low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ontserrat 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5422B92-3A49-6CC7-65E2-95D810E8D1BA}"/>
              </a:ext>
            </a:extLst>
          </p:cNvPr>
          <p:cNvGrpSpPr/>
          <p:nvPr/>
        </p:nvGrpSpPr>
        <p:grpSpPr>
          <a:xfrm>
            <a:off x="8350614" y="2934261"/>
            <a:ext cx="1434487" cy="479591"/>
            <a:chOff x="621173" y="4651424"/>
            <a:chExt cx="1078054" cy="432920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60E3905-8129-21C3-02E8-754C55554D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22638" t="32777" r="24305" b="34583"/>
            <a:stretch/>
          </p:blipFill>
          <p:spPr>
            <a:xfrm>
              <a:off x="621173" y="4651424"/>
              <a:ext cx="1078054" cy="33849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6DA0D6B-FE6D-489D-A08B-528BB9F455CA}"/>
                </a:ext>
              </a:extLst>
            </p:cNvPr>
            <p:cNvSpPr txBox="1"/>
            <p:nvPr/>
          </p:nvSpPr>
          <p:spPr>
            <a:xfrm>
              <a:off x="621173" y="4977206"/>
              <a:ext cx="1078054" cy="107138"/>
            </a:xfrm>
            <a:prstGeom prst="rect">
              <a:avLst/>
            </a:prstGeom>
            <a:solidFill>
              <a:srgbClr val="1B67AE"/>
            </a:solidFill>
            <a:ln>
              <a:noFill/>
            </a:ln>
          </p:spPr>
          <p:txBody>
            <a:bodyPr vert="horz" wrap="square" tIns="0" bIns="0">
              <a:spAutoFit/>
            </a:bodyPr>
            <a:lstStyle/>
            <a:p>
              <a:pPr algn="ctr"/>
              <a:r>
                <a:rPr lang="en-US" sz="700" i="1">
                  <a:solidFill>
                    <a:schemeClr val="bg1"/>
                  </a:solidFill>
                  <a:latin typeface="Montserrat "/>
                </a:rPr>
                <a:t>by IBM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6C22F4B-1883-9643-6D03-9753E4877BD3}"/>
              </a:ext>
            </a:extLst>
          </p:cNvPr>
          <p:cNvSpPr txBox="1"/>
          <p:nvPr/>
        </p:nvSpPr>
        <p:spPr>
          <a:xfrm>
            <a:off x="1327481" y="1567047"/>
            <a:ext cx="5463831" cy="449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b="1" i="1">
                <a:solidFill>
                  <a:prstClr val="black"/>
                </a:solidFill>
                <a:latin typeface="Montserrat "/>
              </a:rPr>
              <a:t>FL champ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prstClr val="black"/>
                </a:solidFill>
                <a:latin typeface="Montserrat "/>
              </a:rPr>
              <a:t>(productized/enterprise ready, FL focus)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9340B0C-AFF0-CDAC-8A32-4694B3A6C646}"/>
              </a:ext>
            </a:extLst>
          </p:cNvPr>
          <p:cNvSpPr txBox="1"/>
          <p:nvPr/>
        </p:nvSpPr>
        <p:spPr>
          <a:xfrm>
            <a:off x="1298157" y="3820669"/>
            <a:ext cx="47428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b="1" i="1">
                <a:solidFill>
                  <a:prstClr val="black"/>
                </a:solidFill>
                <a:latin typeface="Montserrat "/>
              </a:rPr>
              <a:t>Experimental</a:t>
            </a:r>
            <a:r>
              <a:rPr lang="en-AE" sz="1100" i="1">
                <a:solidFill>
                  <a:prstClr val="black"/>
                </a:solidFill>
                <a:latin typeface="Montserrat 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prstClr val="black"/>
                </a:solidFill>
                <a:latin typeface="Montserrat "/>
              </a:rPr>
              <a:t>(not fully productized, PFL focus)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61C8896-243D-61A2-890B-DEDC1BC7A18D}"/>
              </a:ext>
            </a:extLst>
          </p:cNvPr>
          <p:cNvSpPr txBox="1"/>
          <p:nvPr/>
        </p:nvSpPr>
        <p:spPr>
          <a:xfrm>
            <a:off x="6115947" y="1567047"/>
            <a:ext cx="47871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b="1" i="1">
                <a:solidFill>
                  <a:prstClr val="black"/>
                </a:solidFill>
                <a:latin typeface="Montserrat "/>
              </a:rPr>
              <a:t>Platform lead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prstClr val="black"/>
                </a:solidFill>
                <a:latin typeface="Montserrat "/>
              </a:rPr>
              <a:t>(productized/enterprise ready, broad solution)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"/>
            </a:endParaRPr>
          </a:p>
        </p:txBody>
      </p:sp>
      <p:pic>
        <p:nvPicPr>
          <p:cNvPr id="50" name="Line 27" descr="preencoded.png">
            <a:extLst>
              <a:ext uri="{FF2B5EF4-FFF2-40B4-BE49-F238E27FC236}">
                <a16:creationId xmlns:a16="http://schemas.microsoft.com/office/drawing/2014/main" id="{21AF16B8-F5DB-7568-D0DB-430F3F7CE766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50000"/>
          </a:blip>
          <a:srcRect/>
          <a:stretch/>
        </p:blipFill>
        <p:spPr>
          <a:xfrm>
            <a:off x="1258935" y="5977454"/>
            <a:ext cx="9645069" cy="12080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FB158AB-9773-9DFE-83B4-972C5656D242}"/>
              </a:ext>
            </a:extLst>
          </p:cNvPr>
          <p:cNvSpPr txBox="1"/>
          <p:nvPr/>
        </p:nvSpPr>
        <p:spPr>
          <a:xfrm>
            <a:off x="6115947" y="3820669"/>
            <a:ext cx="47871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b="1" i="1">
                <a:solidFill>
                  <a:prstClr val="black"/>
                </a:solidFill>
                <a:latin typeface="Montserrat "/>
              </a:rPr>
              <a:t>Emerging platforms</a:t>
            </a:r>
            <a:r>
              <a:rPr lang="en-AE" sz="1100" i="1">
                <a:solidFill>
                  <a:prstClr val="black"/>
                </a:solidFill>
                <a:latin typeface="Montserrat 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prstClr val="black"/>
                </a:solidFill>
                <a:latin typeface="Montserrat "/>
              </a:rPr>
              <a:t>(not fully productized, broad solution)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"/>
            </a:endParaRPr>
          </a:p>
        </p:txBody>
      </p:sp>
      <p:pic>
        <p:nvPicPr>
          <p:cNvPr id="51" name="Line 35" descr="preencoded.png">
            <a:extLst>
              <a:ext uri="{FF2B5EF4-FFF2-40B4-BE49-F238E27FC236}">
                <a16:creationId xmlns:a16="http://schemas.microsoft.com/office/drawing/2014/main" id="{996D626C-539D-780A-ACD4-A1AB51D830F3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50000"/>
          </a:blip>
          <a:srcRect/>
          <a:stretch/>
        </p:blipFill>
        <p:spPr>
          <a:xfrm>
            <a:off x="988885" y="1581482"/>
            <a:ext cx="158594" cy="4313927"/>
          </a:xfrm>
          <a:prstGeom prst="rect">
            <a:avLst/>
          </a:prstGeom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3886A60-9D03-B689-FB79-95DD1B84C6D9}"/>
              </a:ext>
            </a:extLst>
          </p:cNvPr>
          <p:cNvCxnSpPr/>
          <p:nvPr/>
        </p:nvCxnSpPr>
        <p:spPr>
          <a:xfrm>
            <a:off x="1306508" y="3725128"/>
            <a:ext cx="9596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4F3B890-DE7B-D086-FBE4-D648A98F6564}"/>
              </a:ext>
            </a:extLst>
          </p:cNvPr>
          <p:cNvSpPr txBox="1"/>
          <p:nvPr/>
        </p:nvSpPr>
        <p:spPr>
          <a:xfrm>
            <a:off x="4345887" y="5941973"/>
            <a:ext cx="3471166" cy="234404"/>
          </a:xfrm>
          <a:prstGeom prst="rect">
            <a:avLst/>
          </a:prstGeom>
          <a:solidFill>
            <a:srgbClr val="F6F6F6"/>
          </a:solidFill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050" b="1" i="1">
                <a:solidFill>
                  <a:prstClr val="black"/>
                </a:solidFill>
                <a:latin typeface="Montserrat "/>
              </a:rPr>
              <a:t>Offering dep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900" i="1">
                <a:solidFill>
                  <a:prstClr val="black"/>
                </a:solidFill>
                <a:latin typeface="Montserrat "/>
              </a:rPr>
              <a:t>Integration of federated </a:t>
            </a:r>
            <a:r>
              <a:rPr lang="en-AE" sz="900" i="1" err="1">
                <a:solidFill>
                  <a:prstClr val="black"/>
                </a:solidFill>
                <a:latin typeface="Montserrat "/>
              </a:rPr>
              <a:t>learni</a:t>
            </a:r>
            <a:r>
              <a:rPr lang="en-US" sz="900" i="1">
                <a:solidFill>
                  <a:prstClr val="black"/>
                </a:solidFill>
                <a:latin typeface="Montserrat "/>
              </a:rPr>
              <a:t>n</a:t>
            </a:r>
            <a:r>
              <a:rPr lang="en-AE" sz="900" i="1">
                <a:solidFill>
                  <a:prstClr val="black"/>
                </a:solidFill>
                <a:latin typeface="Montserrat "/>
              </a:rPr>
              <a:t>g within broader AI offering </a:t>
            </a:r>
            <a:endParaRPr kumimoji="0" lang="en-AE" sz="9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DE74AB-85F1-6C10-A002-82FA0E53B32C}"/>
              </a:ext>
            </a:extLst>
          </p:cNvPr>
          <p:cNvSpPr txBox="1"/>
          <p:nvPr/>
        </p:nvSpPr>
        <p:spPr>
          <a:xfrm rot="16200000">
            <a:off x="-115871" y="3820049"/>
            <a:ext cx="2336212" cy="178371"/>
          </a:xfrm>
          <a:prstGeom prst="rect">
            <a:avLst/>
          </a:prstGeom>
          <a:solidFill>
            <a:srgbClr val="F6F6F6"/>
          </a:solidFill>
        </p:spPr>
        <p:txBody>
          <a:bodyPr wrap="non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050" b="1" i="1">
                <a:solidFill>
                  <a:prstClr val="black"/>
                </a:solidFill>
                <a:latin typeface="Montserrat "/>
              </a:rPr>
              <a:t>Productization lev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E" sz="90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"/>
              </a:rPr>
              <a:t>Readiness for real</a:t>
            </a:r>
            <a:r>
              <a:rPr lang="en-AE" sz="900" i="1">
                <a:solidFill>
                  <a:prstClr val="black"/>
                </a:solidFill>
                <a:latin typeface="Montserrat "/>
              </a:rPr>
              <a:t>-world deployment</a:t>
            </a:r>
            <a:endParaRPr kumimoji="0" lang="en-AE" sz="9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B1AFBB-5B1D-D7FA-489E-B37CFADDA7F0}"/>
              </a:ext>
            </a:extLst>
          </p:cNvPr>
          <p:cNvSpPr txBox="1"/>
          <p:nvPr/>
        </p:nvSpPr>
        <p:spPr>
          <a:xfrm>
            <a:off x="401009" y="6064285"/>
            <a:ext cx="740412" cy="272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schemeClr val="bg1">
                    <a:lumMod val="50000"/>
                  </a:schemeClr>
                </a:solidFill>
                <a:latin typeface="Montserrat "/>
              </a:rPr>
              <a:t>Low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ontserrat 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05C53FA-CCD3-E290-5311-40C196284114}"/>
              </a:ext>
            </a:extLst>
          </p:cNvPr>
          <p:cNvSpPr txBox="1"/>
          <p:nvPr/>
        </p:nvSpPr>
        <p:spPr>
          <a:xfrm>
            <a:off x="10290616" y="6064285"/>
            <a:ext cx="830804" cy="272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schemeClr val="bg1">
                    <a:lumMod val="50000"/>
                  </a:schemeClr>
                </a:solidFill>
                <a:latin typeface="Montserrat "/>
              </a:rPr>
              <a:t>High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ontserrat 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EFAD03B-6C6D-C87B-F4B7-ED48E6375AE6}"/>
              </a:ext>
            </a:extLst>
          </p:cNvPr>
          <p:cNvSpPr txBox="1"/>
          <p:nvPr/>
        </p:nvSpPr>
        <p:spPr>
          <a:xfrm>
            <a:off x="401009" y="1581482"/>
            <a:ext cx="830804" cy="272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E" sz="1100" i="1">
                <a:solidFill>
                  <a:schemeClr val="bg1">
                    <a:lumMod val="50000"/>
                  </a:schemeClr>
                </a:solidFill>
                <a:latin typeface="Montserrat "/>
              </a:rPr>
              <a:t>High</a:t>
            </a:r>
            <a:endParaRPr kumimoji="0" lang="en-AE" sz="1100" i="1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ontserrat 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C3C65B6-5A15-442B-8433-8C72034EC248}"/>
              </a:ext>
            </a:extLst>
          </p:cNvPr>
          <p:cNvCxnSpPr>
            <a:cxnSpLocks/>
          </p:cNvCxnSpPr>
          <p:nvPr/>
        </p:nvCxnSpPr>
        <p:spPr>
          <a:xfrm flipV="1">
            <a:off x="6081470" y="1619674"/>
            <a:ext cx="0" cy="427573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>
            <a:extLst>
              <a:ext uri="{FF2B5EF4-FFF2-40B4-BE49-F238E27FC236}">
                <a16:creationId xmlns:a16="http://schemas.microsoft.com/office/drawing/2014/main" id="{4A702028-26A0-C4F5-BEB3-91E98CE6F8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4061" y="4467899"/>
            <a:ext cx="1285452" cy="204789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56569276-885E-EF6F-E622-3274CDB9DBD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62653" y="2266648"/>
            <a:ext cx="941991" cy="815043"/>
          </a:xfrm>
          <a:prstGeom prst="rect">
            <a:avLst/>
          </a:prstGeom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D749B9C3-096F-5A8E-416A-0301630B4115}"/>
              </a:ext>
            </a:extLst>
          </p:cNvPr>
          <p:cNvGrpSpPr/>
          <p:nvPr/>
        </p:nvGrpSpPr>
        <p:grpSpPr>
          <a:xfrm>
            <a:off x="6257313" y="2585524"/>
            <a:ext cx="1601507" cy="374982"/>
            <a:chOff x="7456132" y="3351421"/>
            <a:chExt cx="1096854" cy="25398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A42B110-D1D4-4211-26A0-C97CE57AB89E}"/>
                </a:ext>
              </a:extLst>
            </p:cNvPr>
            <p:cNvSpPr txBox="1"/>
            <p:nvPr/>
          </p:nvSpPr>
          <p:spPr>
            <a:xfrm>
              <a:off x="7456132" y="3497683"/>
              <a:ext cx="1096854" cy="10772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18000" tIns="0" rIns="1800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ontserrat "/>
                </a:rPr>
                <a:t>Previously </a:t>
              </a:r>
              <a:r>
                <a:rPr kumimoji="0" lang="en-US" sz="700" b="0" i="1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Montserrat "/>
                </a:rPr>
                <a:t>FedML</a:t>
              </a:r>
              <a:endParaRPr kumimoji="0" lang="en-US" sz="7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 "/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EC4A1AE3-1A18-BCB4-A9FF-56F18CC15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513328" y="3351421"/>
              <a:ext cx="982463" cy="146262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B9C14E2-01F1-479A-B9F7-1E8D15DA966E}"/>
              </a:ext>
            </a:extLst>
          </p:cNvPr>
          <p:cNvGrpSpPr/>
          <p:nvPr/>
        </p:nvGrpSpPr>
        <p:grpSpPr>
          <a:xfrm>
            <a:off x="1964148" y="2396675"/>
            <a:ext cx="1452475" cy="628305"/>
            <a:chOff x="1215717" y="2490560"/>
            <a:chExt cx="1205108" cy="60249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8563D1E-51EC-4EC1-A24F-3F0C98432895}"/>
                </a:ext>
              </a:extLst>
            </p:cNvPr>
            <p:cNvSpPr txBox="1"/>
            <p:nvPr/>
          </p:nvSpPr>
          <p:spPr>
            <a:xfrm>
              <a:off x="1215717" y="2886462"/>
              <a:ext cx="1205108" cy="20659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18000" tIns="0" rIns="1800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1" u="none" strike="noStrike" kern="1200" cap="none" spc="0" normalizeH="0" baseline="0" noProof="0">
                  <a:ln>
                    <a:noFill/>
                  </a:ln>
                  <a:solidFill>
                    <a:srgbClr val="6F8FB8"/>
                  </a:solidFill>
                  <a:effectLst/>
                  <a:uLnTx/>
                  <a:uFillTx/>
                  <a:latin typeface="Montserrat "/>
                </a:rPr>
                <a:t>Leveraging NVIDIA Flare,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1" u="none" strike="noStrike" kern="1200" cap="none" spc="0" normalizeH="0" baseline="0" noProof="0">
                  <a:ln>
                    <a:noFill/>
                  </a:ln>
                  <a:solidFill>
                    <a:srgbClr val="6F8FB8"/>
                  </a:solidFill>
                  <a:effectLst/>
                  <a:uLnTx/>
                  <a:uFillTx/>
                  <a:latin typeface="Montserrat "/>
                </a:rPr>
                <a:t>focus on healthcare</a:t>
              </a: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DF4F74FD-2C31-65B9-603C-9686605AE8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471304" y="2490560"/>
              <a:ext cx="656599" cy="344714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15A737F-B7A3-8620-1D67-C2D58B3022D3}"/>
              </a:ext>
            </a:extLst>
          </p:cNvPr>
          <p:cNvGrpSpPr/>
          <p:nvPr/>
        </p:nvGrpSpPr>
        <p:grpSpPr>
          <a:xfrm>
            <a:off x="1288542" y="5351613"/>
            <a:ext cx="1844253" cy="386323"/>
            <a:chOff x="1001151" y="4890870"/>
            <a:chExt cx="1624298" cy="37045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C06DB86-0A4D-8BDC-60CD-260DA75340F2}"/>
                </a:ext>
              </a:extLst>
            </p:cNvPr>
            <p:cNvSpPr txBox="1"/>
            <p:nvPr/>
          </p:nvSpPr>
          <p:spPr>
            <a:xfrm>
              <a:off x="1001151" y="5146891"/>
              <a:ext cx="1624298" cy="114433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18000" tIns="0" rIns="1800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1" u="none" strike="noStrike" kern="1200" cap="none" spc="0" normalizeH="0" baseline="0" noProof="0">
                  <a:ln>
                    <a:noFill/>
                  </a:ln>
                  <a:solidFill>
                    <a:srgbClr val="1B67AE"/>
                  </a:solidFill>
                  <a:effectLst/>
                  <a:uLnTx/>
                  <a:uFillTx/>
                  <a:latin typeface="Montserrat "/>
                </a:rPr>
                <a:t>By </a:t>
              </a:r>
              <a:r>
                <a:rPr kumimoji="0" lang="en-US" sz="700" b="0" i="1" u="none" strike="noStrike" kern="1200" cap="none" spc="0" normalizeH="0" baseline="0" noProof="0" err="1">
                  <a:ln>
                    <a:noFill/>
                  </a:ln>
                  <a:solidFill>
                    <a:srgbClr val="1B67AE"/>
                  </a:solidFill>
                  <a:effectLst/>
                  <a:uLnTx/>
                  <a:uFillTx/>
                  <a:latin typeface="Montserrat "/>
                </a:rPr>
                <a:t>Owkin</a:t>
              </a:r>
              <a:endParaRPr kumimoji="0" lang="en-US" sz="700" b="0" i="1" u="none" strike="noStrike" kern="1200" cap="none" spc="0" normalizeH="0" baseline="0" noProof="0">
                <a:ln>
                  <a:noFill/>
                </a:ln>
                <a:solidFill>
                  <a:srgbClr val="1B67AE"/>
                </a:solidFill>
                <a:effectLst/>
                <a:uLnTx/>
                <a:uFillTx/>
                <a:latin typeface="Montserrat "/>
              </a:endParaRP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EF7741A9-EC9A-8A32-9D3C-F61AD0098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211311" y="4890870"/>
              <a:ext cx="1203978" cy="236139"/>
            </a:xfrm>
            <a:prstGeom prst="rect">
              <a:avLst/>
            </a:prstGeom>
          </p:spPr>
        </p:pic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49DACA9B-B007-171E-20A5-0F786D0FA2D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64148" y="4922091"/>
            <a:ext cx="1346365" cy="282792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75543094-C29D-3E79-DAB6-B0CC0BF76C7A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t="21985" b="23237"/>
          <a:stretch>
            <a:fillRect/>
          </a:stretch>
        </p:blipFill>
        <p:spPr>
          <a:xfrm>
            <a:off x="3656225" y="4728335"/>
            <a:ext cx="1976168" cy="468318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CF4EAC34-CFC7-2CD2-47CB-E515B6B4B2F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815288" y="5270491"/>
            <a:ext cx="1203590" cy="520694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202A871B-D2C1-070C-26FA-C2AA2715984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793670" y="4286619"/>
            <a:ext cx="872667" cy="304541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14C4147A-B093-51C9-B719-13487F186375}"/>
              </a:ext>
            </a:extLst>
          </p:cNvPr>
          <p:cNvGrpSpPr/>
          <p:nvPr/>
        </p:nvGrpSpPr>
        <p:grpSpPr>
          <a:xfrm>
            <a:off x="9225227" y="2104824"/>
            <a:ext cx="1353733" cy="463684"/>
            <a:chOff x="5030596" y="2437436"/>
            <a:chExt cx="1123182" cy="444637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A6BB87F7-5ED6-9FA4-1CAF-FDA9132BC2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030596" y="2437436"/>
              <a:ext cx="1109148" cy="385889"/>
            </a:xfrm>
            <a:prstGeom prst="rect">
              <a:avLst/>
            </a:prstGeom>
          </p:spPr>
        </p:pic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78552F1-5ABF-AACA-6E52-8017C308561E}"/>
                </a:ext>
              </a:extLst>
            </p:cNvPr>
            <p:cNvSpPr txBox="1"/>
            <p:nvPr/>
          </p:nvSpPr>
          <p:spPr>
            <a:xfrm>
              <a:off x="5150881" y="2728185"/>
              <a:ext cx="10028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18000" tIns="0" rIns="1800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ontserrat "/>
                </a:rPr>
                <a:t>FLARE</a:t>
              </a:r>
            </a:p>
          </p:txBody>
        </p:sp>
      </p:grp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31917D9F-FC93-E68B-2AD4-F610D615BA9A}"/>
              </a:ext>
            </a:extLst>
          </p:cNvPr>
          <p:cNvSpPr/>
          <p:nvPr/>
        </p:nvSpPr>
        <p:spPr>
          <a:xfrm>
            <a:off x="1060954" y="1086836"/>
            <a:ext cx="9857895" cy="277200"/>
          </a:xfrm>
          <a:prstGeom prst="roundRect">
            <a:avLst/>
          </a:prstGeom>
          <a:solidFill>
            <a:srgbClr val="6400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Montserrat" panose="00000500000000000000" pitchFamily="2" charset="0"/>
              </a:rPr>
              <a:t>Key federated learning players</a:t>
            </a:r>
          </a:p>
        </p:txBody>
      </p:sp>
    </p:spTree>
    <p:extLst>
      <p:ext uri="{BB962C8B-B14F-4D97-AF65-F5344CB8AC3E}">
        <p14:creationId xmlns:p14="http://schemas.microsoft.com/office/powerpoint/2010/main" val="9875133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62B3F3-C9A7-26DC-9170-834CA71FBE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69ACA62B-FE2D-59BD-00AA-03A93C83B168}"/>
              </a:ext>
            </a:extLst>
          </p:cNvPr>
          <p:cNvSpPr/>
          <p:nvPr/>
        </p:nvSpPr>
        <p:spPr>
          <a:xfrm>
            <a:off x="495901" y="248500"/>
            <a:ext cx="8179748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Secure Aggregation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BB3B01E0-76CA-812F-7C42-3450A6FEE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009" y="4674494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30CC95ED-EA60-B0E0-502E-62CFA61A8B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523" y="5349548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AD20AAB6-578D-1885-5710-2DA8B7C77D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2181" y="4643962"/>
            <a:ext cx="465050" cy="4658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4A7B3C3D-B3B1-E37D-D919-4C14ECBC7DBF}"/>
              </a:ext>
            </a:extLst>
          </p:cNvPr>
          <p:cNvSpPr txBox="1"/>
          <p:nvPr/>
        </p:nvSpPr>
        <p:spPr>
          <a:xfrm>
            <a:off x="5662523" y="5999896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BA4B00-7A2C-75C1-B61C-1A165FBBC4EF}"/>
              </a:ext>
            </a:extLst>
          </p:cNvPr>
          <p:cNvSpPr/>
          <p:nvPr/>
        </p:nvSpPr>
        <p:spPr>
          <a:xfrm>
            <a:off x="5432088" y="4618031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91FD960E-FEB4-FC77-392C-AB930260AB85}"/>
              </a:ext>
            </a:extLst>
          </p:cNvPr>
          <p:cNvSpPr/>
          <p:nvPr/>
        </p:nvSpPr>
        <p:spPr>
          <a:xfrm>
            <a:off x="6077404" y="4760841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BE269453-9E0C-FE5E-F767-F84B08C8AFDC}"/>
              </a:ext>
            </a:extLst>
          </p:cNvPr>
          <p:cNvSpPr/>
          <p:nvPr/>
        </p:nvSpPr>
        <p:spPr>
          <a:xfrm>
            <a:off x="7352691" y="4471881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ining Ph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5D7E6DE-09B8-56D9-9143-D21607EFC911}"/>
              </a:ext>
            </a:extLst>
          </p:cNvPr>
          <p:cNvCxnSpPr>
            <a:cxnSpLocks/>
          </p:cNvCxnSpPr>
          <p:nvPr/>
        </p:nvCxnSpPr>
        <p:spPr>
          <a:xfrm flipV="1">
            <a:off x="3645280" y="2878722"/>
            <a:ext cx="0" cy="98657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6">
            <a:extLst>
              <a:ext uri="{FF2B5EF4-FFF2-40B4-BE49-F238E27FC236}">
                <a16:creationId xmlns:a16="http://schemas.microsoft.com/office/drawing/2014/main" id="{6630EC95-3237-0082-BFA3-8B5962888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562" y="4648563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5D1C72E5-28F7-6C09-968E-D19A76C4A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5076" y="5323617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BA2E71B6-EA11-117D-C6D7-C27701C6A7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4734" y="4618031"/>
            <a:ext cx="465050" cy="465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196AC0C-9640-C266-3BAB-66BECB9BE210}"/>
              </a:ext>
            </a:extLst>
          </p:cNvPr>
          <p:cNvSpPr txBox="1"/>
          <p:nvPr/>
        </p:nvSpPr>
        <p:spPr>
          <a:xfrm>
            <a:off x="3465076" y="5973965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6D4692-8BC2-B180-8029-649210CC5984}"/>
              </a:ext>
            </a:extLst>
          </p:cNvPr>
          <p:cNvSpPr/>
          <p:nvPr/>
        </p:nvSpPr>
        <p:spPr>
          <a:xfrm>
            <a:off x="3234641" y="4592100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39CAFDE6-DEE0-0FA1-00AC-8779111D8555}"/>
              </a:ext>
            </a:extLst>
          </p:cNvPr>
          <p:cNvSpPr/>
          <p:nvPr/>
        </p:nvSpPr>
        <p:spPr>
          <a:xfrm>
            <a:off x="3879957" y="473491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6" name="Picture 16">
            <a:extLst>
              <a:ext uri="{FF2B5EF4-FFF2-40B4-BE49-F238E27FC236}">
                <a16:creationId xmlns:a16="http://schemas.microsoft.com/office/drawing/2014/main" id="{16EAB6C3-B87D-769F-E05E-979F1C1830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115" y="4622632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C564AB4C-BF7D-DA15-F8A4-7DF5841587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7629" y="5297686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EA97B2B5-7302-C952-9C37-070EBB8AFD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7287" y="4592100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001E87D-99FF-742C-2EC8-E9CC911CB333}"/>
              </a:ext>
            </a:extLst>
          </p:cNvPr>
          <p:cNvSpPr txBox="1"/>
          <p:nvPr/>
        </p:nvSpPr>
        <p:spPr>
          <a:xfrm>
            <a:off x="1267629" y="5948034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F8DEAEE-047E-D0CC-D9E6-F727A08E8E10}"/>
              </a:ext>
            </a:extLst>
          </p:cNvPr>
          <p:cNvSpPr/>
          <p:nvPr/>
        </p:nvSpPr>
        <p:spPr>
          <a:xfrm>
            <a:off x="1037194" y="4566169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904F9894-77C3-31EE-33A2-ADF399E62F3B}"/>
              </a:ext>
            </a:extLst>
          </p:cNvPr>
          <p:cNvSpPr/>
          <p:nvPr/>
        </p:nvSpPr>
        <p:spPr>
          <a:xfrm>
            <a:off x="1682510" y="4708979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5B55B33-3D76-B8D7-7478-27D0F78BCDD3}"/>
              </a:ext>
            </a:extLst>
          </p:cNvPr>
          <p:cNvSpPr txBox="1"/>
          <p:nvPr/>
        </p:nvSpPr>
        <p:spPr>
          <a:xfrm>
            <a:off x="3225806" y="2579376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6E98B60B-C2D5-2D55-1432-F2CD2A704B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6144" y="1725835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FA9EC478-4000-5881-68FA-137932C7D378}"/>
              </a:ext>
            </a:extLst>
          </p:cNvPr>
          <p:cNvCxnSpPr>
            <a:cxnSpLocks/>
          </p:cNvCxnSpPr>
          <p:nvPr/>
        </p:nvCxnSpPr>
        <p:spPr>
          <a:xfrm flipH="1" flipV="1">
            <a:off x="3806486" y="2904653"/>
            <a:ext cx="1958773" cy="1044672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B75CBFE0-5166-0D76-85F5-C3E5D8C7FC37}"/>
              </a:ext>
            </a:extLst>
          </p:cNvPr>
          <p:cNvSpPr/>
          <p:nvPr/>
        </p:nvSpPr>
        <p:spPr>
          <a:xfrm>
            <a:off x="7370089" y="3407398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Masking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D378E25-9792-730D-1C82-0C626803382D}"/>
              </a:ext>
            </a:extLst>
          </p:cNvPr>
          <p:cNvSpPr txBox="1"/>
          <p:nvPr/>
        </p:nvSpPr>
        <p:spPr>
          <a:xfrm>
            <a:off x="1996918" y="5046394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773E3D6-B8A4-C686-9AEF-D38E4A4B8934}"/>
              </a:ext>
            </a:extLst>
          </p:cNvPr>
          <p:cNvSpPr txBox="1"/>
          <p:nvPr/>
        </p:nvSpPr>
        <p:spPr>
          <a:xfrm>
            <a:off x="4238960" y="5046394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2D317E0-7384-E726-78A5-075FAA2AD957}"/>
              </a:ext>
            </a:extLst>
          </p:cNvPr>
          <p:cNvSpPr txBox="1"/>
          <p:nvPr/>
        </p:nvSpPr>
        <p:spPr>
          <a:xfrm>
            <a:off x="6422181" y="5057941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97C5FD11-62B2-2A1B-A8B2-C44F9EA347EC}"/>
              </a:ext>
            </a:extLst>
          </p:cNvPr>
          <p:cNvSpPr/>
          <p:nvPr/>
        </p:nvSpPr>
        <p:spPr>
          <a:xfrm rot="5400000">
            <a:off x="5630770" y="423238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9A8A7DE-FCFF-E7B2-B17F-C0702A95B845}"/>
              </a:ext>
            </a:extLst>
          </p:cNvPr>
          <p:cNvCxnSpPr>
            <a:cxnSpLocks/>
          </p:cNvCxnSpPr>
          <p:nvPr/>
        </p:nvCxnSpPr>
        <p:spPr>
          <a:xfrm flipV="1">
            <a:off x="1460982" y="2904653"/>
            <a:ext cx="2060977" cy="96973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39176685-D631-0F3C-CFE2-442407C79E85}"/>
              </a:ext>
            </a:extLst>
          </p:cNvPr>
          <p:cNvSpPr/>
          <p:nvPr/>
        </p:nvSpPr>
        <p:spPr>
          <a:xfrm rot="5400000">
            <a:off x="3532527" y="42069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97B1DE46-8C9A-E2B7-D89E-87903694648A}"/>
              </a:ext>
            </a:extLst>
          </p:cNvPr>
          <p:cNvSpPr/>
          <p:nvPr/>
        </p:nvSpPr>
        <p:spPr>
          <a:xfrm rot="5400000">
            <a:off x="1326493" y="4169542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6C57AB43-DD2C-04A0-8C71-6D37B5A999D9}"/>
              </a:ext>
            </a:extLst>
          </p:cNvPr>
          <p:cNvSpPr/>
          <p:nvPr/>
        </p:nvSpPr>
        <p:spPr>
          <a:xfrm>
            <a:off x="7370089" y="2392119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nsmission</a:t>
            </a:r>
          </a:p>
        </p:txBody>
      </p:sp>
      <p:sp>
        <p:nvSpPr>
          <p:cNvPr id="141" name="Rounded Rectangle 140">
            <a:extLst>
              <a:ext uri="{FF2B5EF4-FFF2-40B4-BE49-F238E27FC236}">
                <a16:creationId xmlns:a16="http://schemas.microsoft.com/office/drawing/2014/main" id="{9070AD0C-97AD-CDC3-8465-84EF90DD77B0}"/>
              </a:ext>
            </a:extLst>
          </p:cNvPr>
          <p:cNvSpPr/>
          <p:nvPr/>
        </p:nvSpPr>
        <p:spPr>
          <a:xfrm>
            <a:off x="7384074" y="1084704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Masked</a:t>
            </a:r>
          </a:p>
          <a:p>
            <a:pPr algn="ctr"/>
            <a:r>
              <a:rPr lang="en-AE" sz="1600">
                <a:solidFill>
                  <a:schemeClr val="accent1"/>
                </a:solidFill>
              </a:rPr>
              <a:t>aggretation</a:t>
            </a:r>
          </a:p>
        </p:txBody>
      </p:sp>
      <p:pic>
        <p:nvPicPr>
          <p:cNvPr id="9" name="Picture 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E262C12-1713-24D1-D8FF-030476E589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470" y="5500647"/>
            <a:ext cx="494553" cy="494553"/>
          </a:xfrm>
          <a:prstGeom prst="rect">
            <a:avLst/>
          </a:prstGeom>
        </p:spPr>
      </p:pic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840E41B-2F3E-3862-F399-E54045F6E076}"/>
              </a:ext>
            </a:extLst>
          </p:cNvPr>
          <p:cNvCxnSpPr>
            <a:cxnSpLocks/>
          </p:cNvCxnSpPr>
          <p:nvPr/>
        </p:nvCxnSpPr>
        <p:spPr>
          <a:xfrm>
            <a:off x="2147455" y="6349268"/>
            <a:ext cx="3284633" cy="27379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9C71A67-FA9C-2DD9-429C-74544C3065FE}"/>
              </a:ext>
            </a:extLst>
          </p:cNvPr>
          <p:cNvCxnSpPr/>
          <p:nvPr/>
        </p:nvCxnSpPr>
        <p:spPr>
          <a:xfrm>
            <a:off x="2147455" y="5691537"/>
            <a:ext cx="115841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7EF62C3-DBD7-3242-1FA8-F617B24408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7284" y="5528238"/>
            <a:ext cx="494553" cy="494553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6F96431-E68D-C922-DDB6-8EADF406ACCB}"/>
              </a:ext>
            </a:extLst>
          </p:cNvPr>
          <p:cNvCxnSpPr/>
          <p:nvPr/>
        </p:nvCxnSpPr>
        <p:spPr>
          <a:xfrm>
            <a:off x="4263269" y="5719128"/>
            <a:ext cx="115841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16">
            <a:extLst>
              <a:ext uri="{FF2B5EF4-FFF2-40B4-BE49-F238E27FC236}">
                <a16:creationId xmlns:a16="http://schemas.microsoft.com/office/drawing/2014/main" id="{FF428436-F226-0550-4D3F-C0C8C0C07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214" y="3652702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48" name="Picture 16">
            <a:extLst>
              <a:ext uri="{FF2B5EF4-FFF2-40B4-BE49-F238E27FC236}">
                <a16:creationId xmlns:a16="http://schemas.microsoft.com/office/drawing/2014/main" id="{405B6E58-9599-BB3F-9121-1BFB4A3995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17" y="3652214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51" name="Picture 16">
            <a:extLst>
              <a:ext uri="{FF2B5EF4-FFF2-40B4-BE49-F238E27FC236}">
                <a16:creationId xmlns:a16="http://schemas.microsoft.com/office/drawing/2014/main" id="{D25CDC19-F760-BA3C-271A-4483B7AC1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632" y="364740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52" name="Picture 5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5C98338-ACF0-07F1-3346-50151B6CC2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674" y="3544731"/>
            <a:ext cx="344328" cy="344328"/>
          </a:xfrm>
          <a:prstGeom prst="rect">
            <a:avLst/>
          </a:prstGeom>
        </p:spPr>
      </p:pic>
      <p:pic>
        <p:nvPicPr>
          <p:cNvPr id="53" name="Picture 5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C07ED9AA-A132-742A-3C93-383FEBA723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497" y="3595401"/>
            <a:ext cx="344328" cy="344328"/>
          </a:xfrm>
          <a:prstGeom prst="rect">
            <a:avLst/>
          </a:prstGeom>
        </p:spPr>
      </p:pic>
      <p:pic>
        <p:nvPicPr>
          <p:cNvPr id="10" name="Picture 9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7962C36-18D9-9D9E-E6D3-C3C8584ED9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183" y="3541487"/>
            <a:ext cx="344328" cy="344328"/>
          </a:xfrm>
          <a:prstGeom prst="rect">
            <a:avLst/>
          </a:prstGeom>
        </p:spPr>
      </p:pic>
      <p:pic>
        <p:nvPicPr>
          <p:cNvPr id="68" name="Picture 6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27D7DC9-4862-2877-F156-08F7129E0C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686" y="6187229"/>
            <a:ext cx="494553" cy="494553"/>
          </a:xfrm>
          <a:prstGeom prst="rect">
            <a:avLst/>
          </a:prstGeom>
        </p:spPr>
      </p:pic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801BF400-1914-78FF-AE6A-CEA403257974}"/>
              </a:ext>
            </a:extLst>
          </p:cNvPr>
          <p:cNvSpPr/>
          <p:nvPr/>
        </p:nvSpPr>
        <p:spPr>
          <a:xfrm>
            <a:off x="7350239" y="5244000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Client coordination</a:t>
            </a:r>
          </a:p>
        </p:txBody>
      </p:sp>
      <p:pic>
        <p:nvPicPr>
          <p:cNvPr id="70" name="Picture 16">
            <a:extLst>
              <a:ext uri="{FF2B5EF4-FFF2-40B4-BE49-F238E27FC236}">
                <a16:creationId xmlns:a16="http://schemas.microsoft.com/office/drawing/2014/main" id="{4D1FE102-0527-23ED-E443-2CA156862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259" y="1176814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72" name="Picture 16">
            <a:extLst>
              <a:ext uri="{FF2B5EF4-FFF2-40B4-BE49-F238E27FC236}">
                <a16:creationId xmlns:a16="http://schemas.microsoft.com/office/drawing/2014/main" id="{D9C12483-6CCB-4A3C-AA8E-82124D3F6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660" y="1186655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75" name="Picture 16">
            <a:extLst>
              <a:ext uri="{FF2B5EF4-FFF2-40B4-BE49-F238E27FC236}">
                <a16:creationId xmlns:a16="http://schemas.microsoft.com/office/drawing/2014/main" id="{D2EBE15F-DB1F-C494-4DA8-CAB29D996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621" y="1184189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82" name="Picture 8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8F67D0D-BF48-5611-BB98-2D7689B689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2663" y="1081512"/>
            <a:ext cx="344328" cy="344328"/>
          </a:xfrm>
          <a:prstGeom prst="rect">
            <a:avLst/>
          </a:prstGeom>
        </p:spPr>
      </p:pic>
      <p:pic>
        <p:nvPicPr>
          <p:cNvPr id="83" name="Picture 8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852A091-EB5E-977A-EB46-11E9376F25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6542" y="1119513"/>
            <a:ext cx="344328" cy="344328"/>
          </a:xfrm>
          <a:prstGeom prst="rect">
            <a:avLst/>
          </a:prstGeom>
        </p:spPr>
      </p:pic>
      <p:pic>
        <p:nvPicPr>
          <p:cNvPr id="84" name="Picture 8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F99F44D-003F-55E3-1500-04F3D382A1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326" y="1075928"/>
            <a:ext cx="344328" cy="344328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B3E09583-CA8E-FDD8-C72C-07519392DE51}"/>
              </a:ext>
            </a:extLst>
          </p:cNvPr>
          <p:cNvSpPr txBox="1"/>
          <p:nvPr/>
        </p:nvSpPr>
        <p:spPr>
          <a:xfrm>
            <a:off x="2738685" y="1146304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DE2975B-18EA-4767-55FB-0096782388BE}"/>
              </a:ext>
            </a:extLst>
          </p:cNvPr>
          <p:cNvSpPr txBox="1"/>
          <p:nvPr/>
        </p:nvSpPr>
        <p:spPr>
          <a:xfrm>
            <a:off x="3725162" y="1173233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71A03E2-2607-7BB9-452A-E5DCEFD31057}"/>
              </a:ext>
            </a:extLst>
          </p:cNvPr>
          <p:cNvSpPr txBox="1"/>
          <p:nvPr/>
        </p:nvSpPr>
        <p:spPr>
          <a:xfrm>
            <a:off x="4745535" y="1133930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=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9" name="Picture 20">
            <a:extLst>
              <a:ext uri="{FF2B5EF4-FFF2-40B4-BE49-F238E27FC236}">
                <a16:creationId xmlns:a16="http://schemas.microsoft.com/office/drawing/2014/main" id="{16DACD35-0FC9-6675-C52A-2E08F44D3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936" y="1099118"/>
            <a:ext cx="544291" cy="489330"/>
          </a:xfrm>
          <a:prstGeom prst="rect">
            <a:avLst/>
          </a:prstGeom>
          <a:noFill/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16282525-1E8C-87D2-5A85-91F98837B621}"/>
              </a:ext>
            </a:extLst>
          </p:cNvPr>
          <p:cNvSpPr/>
          <p:nvPr/>
        </p:nvSpPr>
        <p:spPr>
          <a:xfrm>
            <a:off x="2050398" y="953115"/>
            <a:ext cx="3714861" cy="8170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99" name="Picture 9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9967205-A176-85C0-7862-14D299EAA3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4262" y="2044825"/>
            <a:ext cx="285683" cy="285683"/>
          </a:xfrm>
          <a:prstGeom prst="rect">
            <a:avLst/>
          </a:prstGeom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649205F4-DDF0-EB79-EB4B-25B1BD9F7D95}"/>
              </a:ext>
            </a:extLst>
          </p:cNvPr>
          <p:cNvSpPr txBox="1"/>
          <p:nvPr/>
        </p:nvSpPr>
        <p:spPr>
          <a:xfrm>
            <a:off x="4816810" y="1919096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F6F6010-BA59-D7AA-DC10-8A7535AE754B}"/>
              </a:ext>
            </a:extLst>
          </p:cNvPr>
          <p:cNvSpPr txBox="1"/>
          <p:nvPr/>
        </p:nvSpPr>
        <p:spPr>
          <a:xfrm>
            <a:off x="5356477" y="1919096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0FF40631-0775-16B6-5B38-7CB0A465CCFF}"/>
              </a:ext>
            </a:extLst>
          </p:cNvPr>
          <p:cNvSpPr txBox="1"/>
          <p:nvPr/>
        </p:nvSpPr>
        <p:spPr>
          <a:xfrm>
            <a:off x="6015653" y="1919096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=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DA4578F-A0D6-1046-9CF2-85D1C6C8C227}"/>
              </a:ext>
            </a:extLst>
          </p:cNvPr>
          <p:cNvSpPr/>
          <p:nvPr/>
        </p:nvSpPr>
        <p:spPr>
          <a:xfrm>
            <a:off x="4521931" y="1974372"/>
            <a:ext cx="2216353" cy="41415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A2B1C09-84E6-24CC-BFC2-1D7AACC2F7FC}"/>
              </a:ext>
            </a:extLst>
          </p:cNvPr>
          <p:cNvSpPr txBox="1"/>
          <p:nvPr/>
        </p:nvSpPr>
        <p:spPr>
          <a:xfrm>
            <a:off x="6309962" y="1908478"/>
            <a:ext cx="428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0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20" name="Picture 119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7C07976-93CC-1D7E-9A59-F846C8D6A5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398" y="2051702"/>
            <a:ext cx="285683" cy="285683"/>
          </a:xfrm>
          <a:prstGeom prst="rect">
            <a:avLst/>
          </a:prstGeom>
        </p:spPr>
      </p:pic>
      <p:pic>
        <p:nvPicPr>
          <p:cNvPr id="121" name="Picture 120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1A55B1F-8F2A-143A-1D83-FBE90AC142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534" y="2060002"/>
            <a:ext cx="285683" cy="28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27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513 -0.15232 " pathEditMode="relative" ptsTypes="AA">
                                      <p:cBhvr>
                                        <p:cTn id="4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513 -0.15232 " pathEditMode="relative" ptsTypes="AA">
                                      <p:cBhvr>
                                        <p:cTn id="48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756 -0.15093 " pathEditMode="relative" ptsTypes="AA">
                                      <p:cBhvr>
                                        <p:cTn id="50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756 -0.15093 " pathEditMode="relative" ptsTypes="AA">
                                      <p:cBhvr>
                                        <p:cTn id="5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6146 -0.16019 " pathEditMode="relative" ptsTypes="AA">
                                      <p:cBhvr>
                                        <p:cTn id="54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6146 -0.16019 " pathEditMode="relative" ptsTypes="AA">
                                      <p:cBhvr>
                                        <p:cTn id="56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6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8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1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4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7" grpId="0"/>
      <p:bldP spid="88" grpId="0"/>
      <p:bldP spid="90" grpId="0" animBg="1"/>
      <p:bldP spid="103" grpId="0"/>
      <p:bldP spid="104" grpId="0"/>
      <p:bldP spid="115" grpId="0"/>
      <p:bldP spid="118" grpId="0" animBg="1"/>
      <p:bldP spid="11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ADBA1-9321-E6D6-5B36-85F4A12B9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6EEE2136-9F87-AFE6-23C4-D942F7D9A6E2}"/>
              </a:ext>
            </a:extLst>
          </p:cNvPr>
          <p:cNvSpPr/>
          <p:nvPr/>
        </p:nvSpPr>
        <p:spPr>
          <a:xfrm>
            <a:off x="495900" y="248500"/>
            <a:ext cx="10172099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Secure Aggregation -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Problems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720F8654-DDE1-B75C-8333-1E3A04547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009" y="4674494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8DA94D75-391A-6771-5DB7-50A9542358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523" y="5349548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B9AEC05F-BAC0-1BF1-D245-C6CFBC31A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2181" y="4643962"/>
            <a:ext cx="465050" cy="4658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17FDCC2B-2A16-FB4A-1BB1-FF557EFCBD78}"/>
              </a:ext>
            </a:extLst>
          </p:cNvPr>
          <p:cNvSpPr txBox="1"/>
          <p:nvPr/>
        </p:nvSpPr>
        <p:spPr>
          <a:xfrm>
            <a:off x="5662523" y="5999896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3701FD-0A6D-8797-80A1-44A30BF274AF}"/>
              </a:ext>
            </a:extLst>
          </p:cNvPr>
          <p:cNvSpPr/>
          <p:nvPr/>
        </p:nvSpPr>
        <p:spPr>
          <a:xfrm>
            <a:off x="5432088" y="4618031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03ED1ED1-22CD-6989-B882-9372F3901E9C}"/>
              </a:ext>
            </a:extLst>
          </p:cNvPr>
          <p:cNvSpPr/>
          <p:nvPr/>
        </p:nvSpPr>
        <p:spPr>
          <a:xfrm>
            <a:off x="6077404" y="4760841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4B63224-2593-82D1-A203-264D93447F08}"/>
              </a:ext>
            </a:extLst>
          </p:cNvPr>
          <p:cNvCxnSpPr>
            <a:cxnSpLocks/>
          </p:cNvCxnSpPr>
          <p:nvPr/>
        </p:nvCxnSpPr>
        <p:spPr>
          <a:xfrm flipV="1">
            <a:off x="3645280" y="2878722"/>
            <a:ext cx="0" cy="98657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6">
            <a:extLst>
              <a:ext uri="{FF2B5EF4-FFF2-40B4-BE49-F238E27FC236}">
                <a16:creationId xmlns:a16="http://schemas.microsoft.com/office/drawing/2014/main" id="{94268A72-491C-DEFF-C903-2B0030FE6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562" y="4648563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739190C4-66F4-1FC1-5257-33B6FE5205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5076" y="5323617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33BD0048-9CCC-0776-0516-49F36801DE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4734" y="4618031"/>
            <a:ext cx="465050" cy="465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869C974-B320-23C9-A649-B6E7C168A134}"/>
              </a:ext>
            </a:extLst>
          </p:cNvPr>
          <p:cNvSpPr txBox="1"/>
          <p:nvPr/>
        </p:nvSpPr>
        <p:spPr>
          <a:xfrm>
            <a:off x="3465076" y="5973965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96B55D5-564E-F22F-9A05-4391D63CD359}"/>
              </a:ext>
            </a:extLst>
          </p:cNvPr>
          <p:cNvSpPr/>
          <p:nvPr/>
        </p:nvSpPr>
        <p:spPr>
          <a:xfrm>
            <a:off x="3234641" y="4592100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5B26CC0B-9ECD-043A-0679-13171BED09DD}"/>
              </a:ext>
            </a:extLst>
          </p:cNvPr>
          <p:cNvSpPr/>
          <p:nvPr/>
        </p:nvSpPr>
        <p:spPr>
          <a:xfrm>
            <a:off x="3879957" y="473491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6" name="Picture 16">
            <a:extLst>
              <a:ext uri="{FF2B5EF4-FFF2-40B4-BE49-F238E27FC236}">
                <a16:creationId xmlns:a16="http://schemas.microsoft.com/office/drawing/2014/main" id="{EE5904A0-697C-3336-24E6-21AEA2B75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115" y="4622632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A6E34D7A-2FC3-832E-82EE-54E4D67C2D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7629" y="5297686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2607A9F6-461F-4A3B-CBCE-3852F64724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7287" y="4592100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5226BC2-57AC-8BB3-DE01-222F810575D4}"/>
              </a:ext>
            </a:extLst>
          </p:cNvPr>
          <p:cNvSpPr txBox="1"/>
          <p:nvPr/>
        </p:nvSpPr>
        <p:spPr>
          <a:xfrm>
            <a:off x="1267629" y="5948034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315446A-3D2F-145B-4ABA-DBE26AE05B7F}"/>
              </a:ext>
            </a:extLst>
          </p:cNvPr>
          <p:cNvSpPr/>
          <p:nvPr/>
        </p:nvSpPr>
        <p:spPr>
          <a:xfrm>
            <a:off x="1037194" y="4566169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3BA63F7A-7157-9208-D589-4F8F608968AB}"/>
              </a:ext>
            </a:extLst>
          </p:cNvPr>
          <p:cNvSpPr/>
          <p:nvPr/>
        </p:nvSpPr>
        <p:spPr>
          <a:xfrm>
            <a:off x="1682510" y="4708979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F749539-D0E9-3AEA-FD71-7181FEFD13E6}"/>
              </a:ext>
            </a:extLst>
          </p:cNvPr>
          <p:cNvSpPr txBox="1"/>
          <p:nvPr/>
        </p:nvSpPr>
        <p:spPr>
          <a:xfrm>
            <a:off x="3225806" y="2579376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7AB81803-AACB-D010-45B0-AE856CE2F2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6144" y="1725835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08F7D89-222C-E04C-2F7C-276AE9E9FBAF}"/>
              </a:ext>
            </a:extLst>
          </p:cNvPr>
          <p:cNvCxnSpPr>
            <a:cxnSpLocks/>
          </p:cNvCxnSpPr>
          <p:nvPr/>
        </p:nvCxnSpPr>
        <p:spPr>
          <a:xfrm flipH="1" flipV="1">
            <a:off x="3806486" y="2904653"/>
            <a:ext cx="1958773" cy="1044672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C90B23BC-AEE8-469F-46AD-B10E76F684B9}"/>
              </a:ext>
            </a:extLst>
          </p:cNvPr>
          <p:cNvSpPr txBox="1"/>
          <p:nvPr/>
        </p:nvSpPr>
        <p:spPr>
          <a:xfrm>
            <a:off x="1996918" y="5046394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C4190EE-8D1B-DD29-7ACE-F60FE0652E4B}"/>
              </a:ext>
            </a:extLst>
          </p:cNvPr>
          <p:cNvSpPr txBox="1"/>
          <p:nvPr/>
        </p:nvSpPr>
        <p:spPr>
          <a:xfrm>
            <a:off x="4238960" y="5046394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49CB8BF-CACC-EA0D-1412-F017C902BAD0}"/>
              </a:ext>
            </a:extLst>
          </p:cNvPr>
          <p:cNvSpPr txBox="1"/>
          <p:nvPr/>
        </p:nvSpPr>
        <p:spPr>
          <a:xfrm>
            <a:off x="6422181" y="5057941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B68F3E39-476E-BA56-2357-E37181C17A90}"/>
              </a:ext>
            </a:extLst>
          </p:cNvPr>
          <p:cNvSpPr/>
          <p:nvPr/>
        </p:nvSpPr>
        <p:spPr>
          <a:xfrm rot="5400000">
            <a:off x="5630770" y="423238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A98E015-39FA-FA57-05F7-E950C2B5BC8E}"/>
              </a:ext>
            </a:extLst>
          </p:cNvPr>
          <p:cNvCxnSpPr>
            <a:cxnSpLocks/>
          </p:cNvCxnSpPr>
          <p:nvPr/>
        </p:nvCxnSpPr>
        <p:spPr>
          <a:xfrm flipV="1">
            <a:off x="1460982" y="2904653"/>
            <a:ext cx="2060977" cy="96973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8791B3C1-9A55-5CE8-4551-7471616CBFDE}"/>
              </a:ext>
            </a:extLst>
          </p:cNvPr>
          <p:cNvSpPr/>
          <p:nvPr/>
        </p:nvSpPr>
        <p:spPr>
          <a:xfrm rot="5400000">
            <a:off x="3532527" y="42069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782CD0F7-4586-472F-3798-FDEC480B1EBE}"/>
              </a:ext>
            </a:extLst>
          </p:cNvPr>
          <p:cNvSpPr/>
          <p:nvPr/>
        </p:nvSpPr>
        <p:spPr>
          <a:xfrm rot="5400000">
            <a:off x="1326493" y="4169542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9" name="Picture 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663F015-26F5-5F22-CC79-DE98098D89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470" y="5500647"/>
            <a:ext cx="494553" cy="494553"/>
          </a:xfrm>
          <a:prstGeom prst="rect">
            <a:avLst/>
          </a:prstGeom>
        </p:spPr>
      </p:pic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A075FA7-D11A-F234-3D17-7B4CC675FB1C}"/>
              </a:ext>
            </a:extLst>
          </p:cNvPr>
          <p:cNvCxnSpPr>
            <a:cxnSpLocks/>
          </p:cNvCxnSpPr>
          <p:nvPr/>
        </p:nvCxnSpPr>
        <p:spPr>
          <a:xfrm>
            <a:off x="2147455" y="6349268"/>
            <a:ext cx="3284633" cy="27379"/>
          </a:xfrm>
          <a:prstGeom prst="straightConnector1">
            <a:avLst/>
          </a:prstGeom>
          <a:ln w="19050"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8D9681B-0398-4002-3632-09FCAEF31A69}"/>
              </a:ext>
            </a:extLst>
          </p:cNvPr>
          <p:cNvCxnSpPr/>
          <p:nvPr/>
        </p:nvCxnSpPr>
        <p:spPr>
          <a:xfrm>
            <a:off x="2147455" y="5691537"/>
            <a:ext cx="1158419" cy="0"/>
          </a:xfrm>
          <a:prstGeom prst="straightConnector1">
            <a:avLst/>
          </a:prstGeom>
          <a:ln w="19050"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C386D52E-DACB-2730-DA44-8E4726A70A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7284" y="5528238"/>
            <a:ext cx="494553" cy="494553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39391B-BD05-2F71-6477-E09DB786470F}"/>
              </a:ext>
            </a:extLst>
          </p:cNvPr>
          <p:cNvCxnSpPr/>
          <p:nvPr/>
        </p:nvCxnSpPr>
        <p:spPr>
          <a:xfrm>
            <a:off x="4263269" y="5719128"/>
            <a:ext cx="1158419" cy="0"/>
          </a:xfrm>
          <a:prstGeom prst="straightConnector1">
            <a:avLst/>
          </a:prstGeom>
          <a:ln w="19050"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16">
            <a:extLst>
              <a:ext uri="{FF2B5EF4-FFF2-40B4-BE49-F238E27FC236}">
                <a16:creationId xmlns:a16="http://schemas.microsoft.com/office/drawing/2014/main" id="{F4CCBD53-2D6A-4CC7-596F-887A06B128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214" y="3652702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48" name="Picture 16">
            <a:extLst>
              <a:ext uri="{FF2B5EF4-FFF2-40B4-BE49-F238E27FC236}">
                <a16:creationId xmlns:a16="http://schemas.microsoft.com/office/drawing/2014/main" id="{3C25E968-A9B6-64E1-87CC-685BBFC878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17" y="3652214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51" name="Picture 16">
            <a:extLst>
              <a:ext uri="{FF2B5EF4-FFF2-40B4-BE49-F238E27FC236}">
                <a16:creationId xmlns:a16="http://schemas.microsoft.com/office/drawing/2014/main" id="{7B82F616-680F-2413-5D3E-5A529D6D4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632" y="364740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52" name="Picture 5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7BCF2DD-C027-638A-8829-277F2B1E95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674" y="3544731"/>
            <a:ext cx="344328" cy="344328"/>
          </a:xfrm>
          <a:prstGeom prst="rect">
            <a:avLst/>
          </a:prstGeom>
        </p:spPr>
      </p:pic>
      <p:pic>
        <p:nvPicPr>
          <p:cNvPr id="53" name="Picture 5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E04F5BF-484E-36D1-830E-D9BF69287F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497" y="3595401"/>
            <a:ext cx="344328" cy="344328"/>
          </a:xfrm>
          <a:prstGeom prst="rect">
            <a:avLst/>
          </a:prstGeom>
        </p:spPr>
      </p:pic>
      <p:pic>
        <p:nvPicPr>
          <p:cNvPr id="10" name="Picture 9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E1C89D2-E20E-24D9-3692-F23DA1D91A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183" y="3541487"/>
            <a:ext cx="344328" cy="344328"/>
          </a:xfrm>
          <a:prstGeom prst="rect">
            <a:avLst/>
          </a:prstGeom>
        </p:spPr>
      </p:pic>
      <p:pic>
        <p:nvPicPr>
          <p:cNvPr id="68" name="Picture 6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B8AA680-5697-2AFC-1D36-289BF8F8DA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686" y="6187229"/>
            <a:ext cx="494553" cy="494553"/>
          </a:xfrm>
          <a:prstGeom prst="rect">
            <a:avLst/>
          </a:prstGeom>
        </p:spPr>
      </p:pic>
      <p:pic>
        <p:nvPicPr>
          <p:cNvPr id="70" name="Picture 16">
            <a:extLst>
              <a:ext uri="{FF2B5EF4-FFF2-40B4-BE49-F238E27FC236}">
                <a16:creationId xmlns:a16="http://schemas.microsoft.com/office/drawing/2014/main" id="{63F34242-BAA8-BEA8-C6CC-CA0EBF3F5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259" y="1176814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72" name="Picture 16">
            <a:extLst>
              <a:ext uri="{FF2B5EF4-FFF2-40B4-BE49-F238E27FC236}">
                <a16:creationId xmlns:a16="http://schemas.microsoft.com/office/drawing/2014/main" id="{100E395D-E37F-8D48-E9BD-D572CE7E0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660" y="1186655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83" name="Picture 8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CF808D86-0EEA-92B9-C35F-91D26D8641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6542" y="1119513"/>
            <a:ext cx="344328" cy="344328"/>
          </a:xfrm>
          <a:prstGeom prst="rect">
            <a:avLst/>
          </a:prstGeom>
        </p:spPr>
      </p:pic>
      <p:pic>
        <p:nvPicPr>
          <p:cNvPr id="84" name="Picture 8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C0E6FDB1-B5ED-9BAA-29A0-0853342B82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326" y="1075928"/>
            <a:ext cx="344328" cy="344328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B0D95C8A-BC6B-E6C2-500D-8EB1D3F93D2D}"/>
              </a:ext>
            </a:extLst>
          </p:cNvPr>
          <p:cNvSpPr txBox="1"/>
          <p:nvPr/>
        </p:nvSpPr>
        <p:spPr>
          <a:xfrm>
            <a:off x="2738685" y="1146304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43B19D4-FC7D-F06A-B7DB-17C9C3F5F037}"/>
              </a:ext>
            </a:extLst>
          </p:cNvPr>
          <p:cNvSpPr txBox="1"/>
          <p:nvPr/>
        </p:nvSpPr>
        <p:spPr>
          <a:xfrm>
            <a:off x="3725162" y="1173233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46024AD-E7CE-6869-9BFA-3F69D541B6C6}"/>
              </a:ext>
            </a:extLst>
          </p:cNvPr>
          <p:cNvSpPr txBox="1"/>
          <p:nvPr/>
        </p:nvSpPr>
        <p:spPr>
          <a:xfrm>
            <a:off x="4745535" y="1133930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=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89" name="Picture 20">
            <a:extLst>
              <a:ext uri="{FF2B5EF4-FFF2-40B4-BE49-F238E27FC236}">
                <a16:creationId xmlns:a16="http://schemas.microsoft.com/office/drawing/2014/main" id="{A9A50107-9CBE-0848-2B3F-CC5937BDF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936" y="1099118"/>
            <a:ext cx="544291" cy="489330"/>
          </a:xfrm>
          <a:prstGeom prst="rect">
            <a:avLst/>
          </a:prstGeom>
          <a:noFill/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DC6D69B5-E970-53C5-7412-CEDBCE8EB193}"/>
              </a:ext>
            </a:extLst>
          </p:cNvPr>
          <p:cNvSpPr/>
          <p:nvPr/>
        </p:nvSpPr>
        <p:spPr>
          <a:xfrm>
            <a:off x="2050398" y="953115"/>
            <a:ext cx="3714861" cy="8170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" name="TextBox 103">
            <a:extLst>
              <a:ext uri="{FF2B5EF4-FFF2-40B4-BE49-F238E27FC236}">
                <a16:creationId xmlns:a16="http://schemas.microsoft.com/office/drawing/2014/main" id="{C0D6CDC7-0D9E-2C5C-CA71-0284E74385FA}"/>
              </a:ext>
            </a:extLst>
          </p:cNvPr>
          <p:cNvSpPr txBox="1"/>
          <p:nvPr/>
        </p:nvSpPr>
        <p:spPr>
          <a:xfrm>
            <a:off x="8199275" y="5070235"/>
            <a:ext cx="2794107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Complex coordination if all clients need to talk to each other</a:t>
            </a:r>
            <a:endParaRPr lang="en-US"/>
          </a:p>
        </p:txBody>
      </p:sp>
      <p:pic>
        <p:nvPicPr>
          <p:cNvPr id="4" name="Picture 3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0BBB03B2-BA18-8EC8-E967-8932F6D9F8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165" y="5153812"/>
            <a:ext cx="378984" cy="375594"/>
          </a:xfrm>
          <a:prstGeom prst="rect">
            <a:avLst/>
          </a:prstGeom>
        </p:spPr>
      </p:pic>
      <p:pic>
        <p:nvPicPr>
          <p:cNvPr id="5" name="Picture 4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958D97DE-5659-28DE-33C5-EC2F73DE3A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165" y="5712077"/>
            <a:ext cx="378984" cy="375594"/>
          </a:xfrm>
          <a:prstGeom prst="rect">
            <a:avLst/>
          </a:prstGeom>
        </p:spPr>
      </p:pic>
      <p:sp>
        <p:nvSpPr>
          <p:cNvPr id="6" name="TextBox 103">
            <a:extLst>
              <a:ext uri="{FF2B5EF4-FFF2-40B4-BE49-F238E27FC236}">
                <a16:creationId xmlns:a16="http://schemas.microsoft.com/office/drawing/2014/main" id="{BD987EB3-DF9A-5A47-78B9-215B0C98A999}"/>
              </a:ext>
            </a:extLst>
          </p:cNvPr>
          <p:cNvSpPr txBox="1"/>
          <p:nvPr/>
        </p:nvSpPr>
        <p:spPr>
          <a:xfrm>
            <a:off x="8210763" y="5612333"/>
            <a:ext cx="3081998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If masks are negotiated with limited number of clients, then we need to trust them</a:t>
            </a:r>
            <a:endParaRPr lang="en-US"/>
          </a:p>
        </p:txBody>
      </p:sp>
      <p:sp>
        <p:nvSpPr>
          <p:cNvPr id="7" name="TextBox 103">
            <a:extLst>
              <a:ext uri="{FF2B5EF4-FFF2-40B4-BE49-F238E27FC236}">
                <a16:creationId xmlns:a16="http://schemas.microsoft.com/office/drawing/2014/main" id="{AE94E4A2-7F52-0301-26CE-9BC88284BCA8}"/>
              </a:ext>
            </a:extLst>
          </p:cNvPr>
          <p:cNvSpPr txBox="1"/>
          <p:nvPr/>
        </p:nvSpPr>
        <p:spPr>
          <a:xfrm>
            <a:off x="8263743" y="3700331"/>
            <a:ext cx="279410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 dirty="0">
                <a:latin typeface="Charter"/>
                <a:cs typeface="Arial"/>
              </a:rPr>
              <a:t>If one client fails to transmit, unmasking is very difficult (requires threshold settings)</a:t>
            </a:r>
            <a:endParaRPr lang="en-US" dirty="0"/>
          </a:p>
        </p:txBody>
      </p:sp>
      <p:pic>
        <p:nvPicPr>
          <p:cNvPr id="8" name="Picture 7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1FCC77B7-782F-0B9F-9DED-6C7170E3D4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633" y="3783908"/>
            <a:ext cx="378984" cy="375594"/>
          </a:xfrm>
          <a:prstGeom prst="rect">
            <a:avLst/>
          </a:prstGeom>
        </p:spPr>
      </p:pic>
      <p:sp>
        <p:nvSpPr>
          <p:cNvPr id="20" name="TextBox 103">
            <a:extLst>
              <a:ext uri="{FF2B5EF4-FFF2-40B4-BE49-F238E27FC236}">
                <a16:creationId xmlns:a16="http://schemas.microsoft.com/office/drawing/2014/main" id="{6857DF68-B661-0C6D-9375-CFB6B33EC33B}"/>
              </a:ext>
            </a:extLst>
          </p:cNvPr>
          <p:cNvSpPr txBox="1"/>
          <p:nvPr/>
        </p:nvSpPr>
        <p:spPr>
          <a:xfrm>
            <a:off x="8263743" y="1216733"/>
            <a:ext cx="2794107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>
                <a:latin typeface="Charter"/>
                <a:cs typeface="Arial"/>
              </a:rPr>
              <a:t>No model poisoning detection or other checks possible on models</a:t>
            </a:r>
            <a:endParaRPr lang="en-US"/>
          </a:p>
        </p:txBody>
      </p:sp>
      <p:pic>
        <p:nvPicPr>
          <p:cNvPr id="21" name="Picture 20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1EFB2E33-C505-7A37-2FC2-B5A2DDD139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633" y="1300310"/>
            <a:ext cx="378984" cy="37559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A476D49-7EEA-9A35-9C1E-14261AB60189}"/>
              </a:ext>
            </a:extLst>
          </p:cNvPr>
          <p:cNvSpPr txBox="1"/>
          <p:nvPr/>
        </p:nvSpPr>
        <p:spPr>
          <a:xfrm>
            <a:off x="5198081" y="2840048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516E48-EA85-71CA-3626-99EF04A8D23E}"/>
              </a:ext>
            </a:extLst>
          </p:cNvPr>
          <p:cNvSpPr txBox="1"/>
          <p:nvPr/>
        </p:nvSpPr>
        <p:spPr>
          <a:xfrm>
            <a:off x="5737748" y="2840048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B9F567-F33A-7A16-7D4D-B9D18A4E5D20}"/>
              </a:ext>
            </a:extLst>
          </p:cNvPr>
          <p:cNvSpPr/>
          <p:nvPr/>
        </p:nvSpPr>
        <p:spPr>
          <a:xfrm>
            <a:off x="4903202" y="2895324"/>
            <a:ext cx="2216353" cy="414158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29" name="Picture 2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88DB5DC-4689-22EB-BB84-D45E2FB5B3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7669" y="2972654"/>
            <a:ext cx="285683" cy="285683"/>
          </a:xfrm>
          <a:prstGeom prst="rect">
            <a:avLst/>
          </a:prstGeom>
        </p:spPr>
      </p:pic>
      <p:pic>
        <p:nvPicPr>
          <p:cNvPr id="30" name="Picture 29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1023059-A0D3-25C7-99AC-09416F5F72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805" y="2980954"/>
            <a:ext cx="285683" cy="28568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4D491D8-7B89-925B-82FC-62DFCAD1F957}"/>
                  </a:ext>
                </a:extLst>
              </p:cNvPr>
              <p:cNvSpPr txBox="1"/>
              <p:nvPr/>
            </p:nvSpPr>
            <p:spPr>
              <a:xfrm>
                <a:off x="6190856" y="2766585"/>
                <a:ext cx="606255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3200" b="1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≠</m:t>
                      </m:r>
                    </m:oMath>
                  </m:oMathPara>
                </a14:m>
                <a:endParaRPr kumimoji="0" lang="en-AE" sz="3200" b="1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ontserrat" panose="00000500000000000000" pitchFamily="2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4D491D8-7B89-925B-82FC-62DFCAD1F9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0856" y="2766585"/>
                <a:ext cx="606255" cy="584775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TextBox 34">
            <a:extLst>
              <a:ext uri="{FF2B5EF4-FFF2-40B4-BE49-F238E27FC236}">
                <a16:creationId xmlns:a16="http://schemas.microsoft.com/office/drawing/2014/main" id="{24B1C9EF-0D99-B267-472E-AF25F30B3DEC}"/>
              </a:ext>
            </a:extLst>
          </p:cNvPr>
          <p:cNvSpPr txBox="1"/>
          <p:nvPr/>
        </p:nvSpPr>
        <p:spPr>
          <a:xfrm>
            <a:off x="6642604" y="2837707"/>
            <a:ext cx="428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0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6" name="Cross 35">
            <a:extLst>
              <a:ext uri="{FF2B5EF4-FFF2-40B4-BE49-F238E27FC236}">
                <a16:creationId xmlns:a16="http://schemas.microsoft.com/office/drawing/2014/main" id="{0B7D22EB-2624-31CD-A24F-8F0BFC151EE5}"/>
              </a:ext>
            </a:extLst>
          </p:cNvPr>
          <p:cNvSpPr/>
          <p:nvPr/>
        </p:nvSpPr>
        <p:spPr>
          <a:xfrm rot="19682937">
            <a:off x="5382035" y="3545121"/>
            <a:ext cx="431027" cy="406044"/>
          </a:xfrm>
          <a:prstGeom prst="plus">
            <a:avLst>
              <a:gd name="adj" fmla="val 46448"/>
            </a:avLst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DE5D9E8F-DDF9-43C2-D022-47A1D9676C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6602" y="1139758"/>
            <a:ext cx="536311" cy="536311"/>
          </a:xfrm>
          <a:prstGeom prst="rect">
            <a:avLst/>
          </a:prstGeom>
        </p:spPr>
      </p:pic>
      <p:pic>
        <p:nvPicPr>
          <p:cNvPr id="82" name="Picture 8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86CF086F-F552-4DFA-E036-72C3BDDC7A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492" y="1075928"/>
            <a:ext cx="344328" cy="34432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90BCCDC9-2A7D-EA3C-FADA-3D5A2BAE30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810" y="1011410"/>
            <a:ext cx="354608" cy="354608"/>
          </a:xfrm>
          <a:prstGeom prst="rect">
            <a:avLst/>
          </a:prstGeom>
        </p:spPr>
      </p:pic>
      <p:sp>
        <p:nvSpPr>
          <p:cNvPr id="13" name="TextBox 103">
            <a:extLst>
              <a:ext uri="{FF2B5EF4-FFF2-40B4-BE49-F238E27FC236}">
                <a16:creationId xmlns:a16="http://schemas.microsoft.com/office/drawing/2014/main" id="{D7247001-79FC-3C64-485E-381276E26663}"/>
              </a:ext>
            </a:extLst>
          </p:cNvPr>
          <p:cNvSpPr txBox="1"/>
          <p:nvPr/>
        </p:nvSpPr>
        <p:spPr>
          <a:xfrm>
            <a:off x="8263743" y="2029599"/>
            <a:ext cx="2794107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1pPr>
            <a:lvl2pPr marL="45712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2pPr>
            <a:lvl3pPr marL="914252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3pPr>
            <a:lvl4pPr marL="137138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4pPr>
            <a:lvl5pPr marL="1828506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5pPr>
            <a:lvl6pPr marL="228563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6pPr>
            <a:lvl7pPr marL="2742758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7pPr>
            <a:lvl8pPr marL="3199886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8pPr>
            <a:lvl9pPr marL="3657012" algn="l" defTabSz="914252" rtl="0" eaLnBrk="1" latinLnBrk="0" hangingPunct="1">
              <a:defRPr sz="4000" kern="1200">
                <a:solidFill>
                  <a:schemeClr val="tx1"/>
                </a:solidFill>
                <a:latin typeface="Charter" pitchFamily="2" charset="0"/>
                <a:ea typeface="+mn-ea"/>
                <a:cs typeface="Arial" charset="0"/>
              </a:defRPr>
            </a:lvl9pPr>
          </a:lstStyle>
          <a:p>
            <a:r>
              <a:rPr lang="en-US" sz="1400" dirty="0">
                <a:latin typeface="Charter"/>
                <a:cs typeface="Arial"/>
              </a:rPr>
              <a:t>Protecting against malicious aggregator is very challenging</a:t>
            </a:r>
            <a:endParaRPr lang="en-US" dirty="0"/>
          </a:p>
        </p:txBody>
      </p:sp>
      <p:pic>
        <p:nvPicPr>
          <p:cNvPr id="14" name="Picture 13" descr="A red circle with a white x in it&#10;&#10;AI-generated content may be incorrect.">
            <a:extLst>
              <a:ext uri="{FF2B5EF4-FFF2-40B4-BE49-F238E27FC236}">
                <a16:creationId xmlns:a16="http://schemas.microsoft.com/office/drawing/2014/main" id="{EC88A9C5-09D1-FAC1-2D8E-4EB1ABAFAD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633" y="2113176"/>
            <a:ext cx="378984" cy="37559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DB2366-1B45-AFFB-3989-B9233898B39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661" y="2088732"/>
            <a:ext cx="491390" cy="491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59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53 -0.13311 " pathEditMode="relative" ptsTypes="AA">
                                      <p:cBhvr>
                                        <p:cTn id="59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53 -0.13311 " pathEditMode="relative" ptsTypes="AA">
                                      <p:cBhvr>
                                        <p:cTn id="61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5093 " pathEditMode="relative" ptsTypes="AA">
                                      <p:cBhvr>
                                        <p:cTn id="63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5093 " pathEditMode="relative" ptsTypes="AA">
                                      <p:cBhvr>
                                        <p:cTn id="6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9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0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0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0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1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5" presetClass="exit" presetSubtype="1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5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5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5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5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5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5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4" fill="hold">
                      <p:stCondLst>
                        <p:cond delay="indefinite"/>
                      </p:stCondLst>
                      <p:childTnLst>
                        <p:par>
                          <p:cTn id="185" fill="hold">
                            <p:stCondLst>
                              <p:cond delay="0"/>
                            </p:stCondLst>
                            <p:childTnLst>
                              <p:par>
                                <p:cTn id="18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7" grpId="0"/>
      <p:bldP spid="88" grpId="0"/>
      <p:bldP spid="90" grpId="0" animBg="1"/>
      <p:bldP spid="3" grpId="0"/>
      <p:bldP spid="6" grpId="0"/>
      <p:bldP spid="7" grpId="0"/>
      <p:bldP spid="20" grpId="0"/>
      <p:bldP spid="24" grpId="0"/>
      <p:bldP spid="24" grpId="1"/>
      <p:bldP spid="25" grpId="0"/>
      <p:bldP spid="25" grpId="1"/>
      <p:bldP spid="27" grpId="0" animBg="1"/>
      <p:bldP spid="27" grpId="1" animBg="1"/>
      <p:bldP spid="31" grpId="0"/>
      <p:bldP spid="31" grpId="1"/>
      <p:bldP spid="35" grpId="0"/>
      <p:bldP spid="35" grpId="1"/>
      <p:bldP spid="36" grpId="0" animBg="1"/>
      <p:bldP spid="36" grpId="1" animBg="1"/>
      <p:bldP spid="36" grpId="2" animBg="1"/>
      <p:bldP spid="1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55A4B-72CC-BE2B-1242-75188D460F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ucture">
            <a:extLst>
              <a:ext uri="{FF2B5EF4-FFF2-40B4-BE49-F238E27FC236}">
                <a16:creationId xmlns:a16="http://schemas.microsoft.com/office/drawing/2014/main" id="{1DF80590-E672-4AA0-62DB-EA5972C95C9B}"/>
              </a:ext>
            </a:extLst>
          </p:cNvPr>
          <p:cNvSpPr/>
          <p:nvPr/>
        </p:nvSpPr>
        <p:spPr>
          <a:xfrm>
            <a:off x="495901" y="248500"/>
            <a:ext cx="7834060" cy="3937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712AF6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Federated Learning with Differential Privacy</a:t>
            </a:r>
            <a:endParaRPr kumimoji="0" lang="en-US" sz="2400" b="1" i="0" u="none" strike="noStrike" kern="1200" cap="none" spc="0" normalizeH="0" noProof="0">
              <a:ln>
                <a:noFill/>
              </a:ln>
              <a:solidFill>
                <a:srgbClr val="712AF6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40CE279B-23C0-E2F5-5C3B-E3856FA7B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552" y="4934158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2" name="Picture 91" descr="A blue and black logo&#10;&#10;AI-generated content may be incorrect.">
            <a:extLst>
              <a:ext uri="{FF2B5EF4-FFF2-40B4-BE49-F238E27FC236}">
                <a16:creationId xmlns:a16="http://schemas.microsoft.com/office/drawing/2014/main" id="{662CE35F-3AEF-6E14-FEEF-741ADBF2E1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66" y="5609212"/>
            <a:ext cx="682819" cy="6839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93" name="Picture 9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63F75E64-6E4A-63AC-9B62-3E79D37741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6724" y="4903626"/>
            <a:ext cx="465050" cy="4658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F2ACCE3A-6BBF-5957-E59C-064B87E5E4F9}"/>
              </a:ext>
            </a:extLst>
          </p:cNvPr>
          <p:cNvSpPr txBox="1"/>
          <p:nvPr/>
        </p:nvSpPr>
        <p:spPr>
          <a:xfrm>
            <a:off x="5667066" y="6259560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</a:t>
            </a:r>
            <a:r>
              <a:rPr lang="en-US" sz="1100" kern="0">
                <a:solidFill>
                  <a:srgbClr val="6F7375"/>
                </a:solidFill>
                <a:latin typeface="Montserrat" panose="00000500000000000000" pitchFamily="2" charset="0"/>
              </a:rPr>
              <a:t>3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599AC2-E00A-C452-90E0-C3924906B08C}"/>
              </a:ext>
            </a:extLst>
          </p:cNvPr>
          <p:cNvSpPr/>
          <p:nvPr/>
        </p:nvSpPr>
        <p:spPr>
          <a:xfrm>
            <a:off x="5436631" y="4877695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2" name="Left Arrow 31">
            <a:extLst>
              <a:ext uri="{FF2B5EF4-FFF2-40B4-BE49-F238E27FC236}">
                <a16:creationId xmlns:a16="http://schemas.microsoft.com/office/drawing/2014/main" id="{253F0E2B-335F-E10A-702F-0730A99B73A8}"/>
              </a:ext>
            </a:extLst>
          </p:cNvPr>
          <p:cNvSpPr/>
          <p:nvPr/>
        </p:nvSpPr>
        <p:spPr>
          <a:xfrm>
            <a:off x="6081947" y="5020505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6D34E2-0823-3B4E-7A82-1AC2FE4577A2}"/>
              </a:ext>
            </a:extLst>
          </p:cNvPr>
          <p:cNvSpPr/>
          <p:nvPr/>
        </p:nvSpPr>
        <p:spPr>
          <a:xfrm>
            <a:off x="7386526" y="4811599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ining Ph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1E7AD6-0B4D-3B4A-4668-C89C285183ED}"/>
              </a:ext>
            </a:extLst>
          </p:cNvPr>
          <p:cNvCxnSpPr>
            <a:cxnSpLocks/>
          </p:cNvCxnSpPr>
          <p:nvPr/>
        </p:nvCxnSpPr>
        <p:spPr>
          <a:xfrm flipV="1">
            <a:off x="3672989" y="2749479"/>
            <a:ext cx="0" cy="1383883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6">
            <a:extLst>
              <a:ext uri="{FF2B5EF4-FFF2-40B4-BE49-F238E27FC236}">
                <a16:creationId xmlns:a16="http://schemas.microsoft.com/office/drawing/2014/main" id="{07B01131-1582-36D5-798A-C444E2F3C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105" y="4908227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1" name="Picture 40" descr="A blue and black logo&#10;&#10;AI-generated content may be incorrect.">
            <a:extLst>
              <a:ext uri="{FF2B5EF4-FFF2-40B4-BE49-F238E27FC236}">
                <a16:creationId xmlns:a16="http://schemas.microsoft.com/office/drawing/2014/main" id="{8B06D2A2-D067-2D33-9968-496FAE2FD9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619" y="5583281"/>
            <a:ext cx="682819" cy="683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43" name="Picture 42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9D5A7C17-F972-F547-EF57-A2832F7FF4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9277" y="4877695"/>
            <a:ext cx="465050" cy="465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44427513-2940-4409-017B-37B11B46A960}"/>
              </a:ext>
            </a:extLst>
          </p:cNvPr>
          <p:cNvSpPr txBox="1"/>
          <p:nvPr/>
        </p:nvSpPr>
        <p:spPr>
          <a:xfrm>
            <a:off x="3469619" y="6233629"/>
            <a:ext cx="7232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2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AD4F889-68BF-6843-0283-1AC56DD3A062}"/>
              </a:ext>
            </a:extLst>
          </p:cNvPr>
          <p:cNvSpPr/>
          <p:nvPr/>
        </p:nvSpPr>
        <p:spPr>
          <a:xfrm>
            <a:off x="3239184" y="4851764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49" name="Left Arrow 48">
            <a:extLst>
              <a:ext uri="{FF2B5EF4-FFF2-40B4-BE49-F238E27FC236}">
                <a16:creationId xmlns:a16="http://schemas.microsoft.com/office/drawing/2014/main" id="{34AE9AE2-12FD-3EA9-29F1-15C3155F96A3}"/>
              </a:ext>
            </a:extLst>
          </p:cNvPr>
          <p:cNvSpPr/>
          <p:nvPr/>
        </p:nvSpPr>
        <p:spPr>
          <a:xfrm>
            <a:off x="3884500" y="499457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6" name="Picture 16">
            <a:extLst>
              <a:ext uri="{FF2B5EF4-FFF2-40B4-BE49-F238E27FC236}">
                <a16:creationId xmlns:a16="http://schemas.microsoft.com/office/drawing/2014/main" id="{6B10080B-D4DE-DCF3-6B83-903E96E4D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658" y="4882296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7" name="Picture 56" descr="A blue and black logo&#10;&#10;AI-generated content may be incorrect.">
            <a:extLst>
              <a:ext uri="{FF2B5EF4-FFF2-40B4-BE49-F238E27FC236}">
                <a16:creationId xmlns:a16="http://schemas.microsoft.com/office/drawing/2014/main" id="{42C87FE2-F680-70B0-B57C-D0F668A42D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2172" y="5557350"/>
            <a:ext cx="682819" cy="6839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58" name="Picture 57" descr="A blue cylinder with three layers&#10;&#10;AI-generated content may be incorrect.">
            <a:extLst>
              <a:ext uri="{FF2B5EF4-FFF2-40B4-BE49-F238E27FC236}">
                <a16:creationId xmlns:a16="http://schemas.microsoft.com/office/drawing/2014/main" id="{71BF289F-43C6-2E0E-DFCD-C797317CE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30" y="4851764"/>
            <a:ext cx="465050" cy="4658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38D9068E-74D5-1D54-59AD-02F9BFD7CC74}"/>
              </a:ext>
            </a:extLst>
          </p:cNvPr>
          <p:cNvSpPr txBox="1"/>
          <p:nvPr/>
        </p:nvSpPr>
        <p:spPr>
          <a:xfrm>
            <a:off x="1272172" y="62076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tity 1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C7F73B7-1005-9CEF-9D58-C7C8F85F2F85}"/>
              </a:ext>
            </a:extLst>
          </p:cNvPr>
          <p:cNvSpPr/>
          <p:nvPr/>
        </p:nvSpPr>
        <p:spPr>
          <a:xfrm>
            <a:off x="1041737" y="4825833"/>
            <a:ext cx="615850" cy="5750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" name="Left Arrow 60">
            <a:extLst>
              <a:ext uri="{FF2B5EF4-FFF2-40B4-BE49-F238E27FC236}">
                <a16:creationId xmlns:a16="http://schemas.microsoft.com/office/drawing/2014/main" id="{D021657E-CFDE-F21A-1E7E-AD209986E4D9}"/>
              </a:ext>
            </a:extLst>
          </p:cNvPr>
          <p:cNvSpPr/>
          <p:nvPr/>
        </p:nvSpPr>
        <p:spPr>
          <a:xfrm>
            <a:off x="1687053" y="4968643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9C1CBFC-EED1-89A8-D0E2-B72034A47BC1}"/>
              </a:ext>
            </a:extLst>
          </p:cNvPr>
          <p:cNvSpPr txBox="1"/>
          <p:nvPr/>
        </p:nvSpPr>
        <p:spPr>
          <a:xfrm>
            <a:off x="3227587" y="2508675"/>
            <a:ext cx="10374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ggregator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9185A7F9-77CD-1967-BF52-891285871E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1986" y="1696453"/>
            <a:ext cx="805942" cy="912282"/>
          </a:xfrm>
          <a:prstGeom prst="rect">
            <a:avLst/>
          </a:prstGeom>
        </p:spPr>
      </p:pic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B493D85-FB0B-1D93-3964-E3897DBB2267}"/>
              </a:ext>
            </a:extLst>
          </p:cNvPr>
          <p:cNvCxnSpPr>
            <a:cxnSpLocks/>
          </p:cNvCxnSpPr>
          <p:nvPr/>
        </p:nvCxnSpPr>
        <p:spPr>
          <a:xfrm flipH="1" flipV="1">
            <a:off x="3834195" y="2775410"/>
            <a:ext cx="1903772" cy="1414841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1065A552-CE78-F354-2C79-74C5E4FFF41E}"/>
              </a:ext>
            </a:extLst>
          </p:cNvPr>
          <p:cNvSpPr/>
          <p:nvPr/>
        </p:nvSpPr>
        <p:spPr>
          <a:xfrm>
            <a:off x="7386526" y="4110202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Adding Nois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CEA8751-8835-1E56-081B-ECCB04EE7A36}"/>
              </a:ext>
            </a:extLst>
          </p:cNvPr>
          <p:cNvSpPr txBox="1"/>
          <p:nvPr/>
        </p:nvSpPr>
        <p:spPr>
          <a:xfrm>
            <a:off x="2001461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1A2441B-C0B3-F21C-F3B0-F442AFF37428}"/>
              </a:ext>
            </a:extLst>
          </p:cNvPr>
          <p:cNvSpPr txBox="1"/>
          <p:nvPr/>
        </p:nvSpPr>
        <p:spPr>
          <a:xfrm>
            <a:off x="4243503" y="5306058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9140A7-12D1-CDA0-71F0-5BF4EC6E1940}"/>
              </a:ext>
            </a:extLst>
          </p:cNvPr>
          <p:cNvSpPr txBox="1"/>
          <p:nvPr/>
        </p:nvSpPr>
        <p:spPr>
          <a:xfrm>
            <a:off x="6426724" y="5317605"/>
            <a:ext cx="5261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6F737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ata</a:t>
            </a:r>
            <a:endParaRPr kumimoji="0" lang="en-AE" sz="1100" b="0" i="0" u="none" strike="noStrike" kern="0" cap="none" spc="0" normalizeH="0" baseline="0" noProof="0">
              <a:ln>
                <a:noFill/>
              </a:ln>
              <a:solidFill>
                <a:srgbClr val="6F737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1" name="Left Arrow 80">
            <a:extLst>
              <a:ext uri="{FF2B5EF4-FFF2-40B4-BE49-F238E27FC236}">
                <a16:creationId xmlns:a16="http://schemas.microsoft.com/office/drawing/2014/main" id="{BE219452-2A11-CA67-50DE-F84A188C0137}"/>
              </a:ext>
            </a:extLst>
          </p:cNvPr>
          <p:cNvSpPr/>
          <p:nvPr/>
        </p:nvSpPr>
        <p:spPr>
          <a:xfrm rot="5400000">
            <a:off x="5635313" y="4492050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B82F20B-8FEA-D4E0-F497-8BEF74B62FE2}"/>
              </a:ext>
            </a:extLst>
          </p:cNvPr>
          <p:cNvCxnSpPr>
            <a:cxnSpLocks/>
          </p:cNvCxnSpPr>
          <p:nvPr/>
        </p:nvCxnSpPr>
        <p:spPr>
          <a:xfrm flipV="1">
            <a:off x="1623992" y="2775410"/>
            <a:ext cx="1925676" cy="1331765"/>
          </a:xfrm>
          <a:prstGeom prst="straightConnector1">
            <a:avLst/>
          </a:prstGeom>
          <a:ln>
            <a:solidFill>
              <a:schemeClr val="accent1">
                <a:shade val="95000"/>
                <a:satMod val="105000"/>
                <a:alpha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Left Arrow 107">
            <a:extLst>
              <a:ext uri="{FF2B5EF4-FFF2-40B4-BE49-F238E27FC236}">
                <a16:creationId xmlns:a16="http://schemas.microsoft.com/office/drawing/2014/main" id="{2AE4A32C-F8E6-363D-F62F-FF4B07CA5105}"/>
              </a:ext>
            </a:extLst>
          </p:cNvPr>
          <p:cNvSpPr/>
          <p:nvPr/>
        </p:nvSpPr>
        <p:spPr>
          <a:xfrm rot="5400000">
            <a:off x="3537070" y="4466614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2" name="Left Arrow 111">
            <a:extLst>
              <a:ext uri="{FF2B5EF4-FFF2-40B4-BE49-F238E27FC236}">
                <a16:creationId xmlns:a16="http://schemas.microsoft.com/office/drawing/2014/main" id="{242856F5-C66F-602A-3ECF-FC995DB9C5A7}"/>
              </a:ext>
            </a:extLst>
          </p:cNvPr>
          <p:cNvSpPr/>
          <p:nvPr/>
        </p:nvSpPr>
        <p:spPr>
          <a:xfrm rot="5400000">
            <a:off x="1331036" y="4429206"/>
            <a:ext cx="315311" cy="297641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B05B6959-7552-0B8B-89B8-24C8F6BF8C43}"/>
              </a:ext>
            </a:extLst>
          </p:cNvPr>
          <p:cNvSpPr/>
          <p:nvPr/>
        </p:nvSpPr>
        <p:spPr>
          <a:xfrm>
            <a:off x="7386526" y="3094923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>
                <a:solidFill>
                  <a:schemeClr val="accent1"/>
                </a:solidFill>
              </a:rPr>
              <a:t>Transmission</a:t>
            </a:r>
          </a:p>
        </p:txBody>
      </p:sp>
      <p:sp>
        <p:nvSpPr>
          <p:cNvPr id="141" name="Rounded Rectangle 140">
            <a:extLst>
              <a:ext uri="{FF2B5EF4-FFF2-40B4-BE49-F238E27FC236}">
                <a16:creationId xmlns:a16="http://schemas.microsoft.com/office/drawing/2014/main" id="{DDA61A70-AA65-E1D9-C328-5289CD1F5190}"/>
              </a:ext>
            </a:extLst>
          </p:cNvPr>
          <p:cNvSpPr/>
          <p:nvPr/>
        </p:nvSpPr>
        <p:spPr>
          <a:xfrm>
            <a:off x="7384074" y="1084704"/>
            <a:ext cx="2133600" cy="6411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600" dirty="0">
                <a:solidFill>
                  <a:schemeClr val="accent1"/>
                </a:solidFill>
              </a:rPr>
              <a:t>Aggregation</a:t>
            </a:r>
          </a:p>
        </p:txBody>
      </p:sp>
      <p:pic>
        <p:nvPicPr>
          <p:cNvPr id="10" name="Picture 16">
            <a:extLst>
              <a:ext uri="{FF2B5EF4-FFF2-40B4-BE49-F238E27FC236}">
                <a16:creationId xmlns:a16="http://schemas.microsoft.com/office/drawing/2014/main" id="{36172B63-8AB0-CAAF-B7AF-116E49CDB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962" y="3883450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19" name="Picture 1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390F0E0-AE4F-91BC-D7B2-21A0E66B82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389" y="3709714"/>
            <a:ext cx="524604" cy="524604"/>
          </a:xfrm>
          <a:prstGeom prst="rect">
            <a:avLst/>
          </a:prstGeom>
        </p:spPr>
      </p:pic>
      <p:pic>
        <p:nvPicPr>
          <p:cNvPr id="20" name="Picture 16">
            <a:extLst>
              <a:ext uri="{FF2B5EF4-FFF2-40B4-BE49-F238E27FC236}">
                <a16:creationId xmlns:a16="http://schemas.microsoft.com/office/drawing/2014/main" id="{8469F5BE-77E0-4244-2456-8B24F8968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9269" y="3908469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27" name="Picture 2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E812F283-8852-A043-3BB0-8157504F11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5689" y="3754291"/>
            <a:ext cx="524604" cy="524604"/>
          </a:xfrm>
          <a:prstGeom prst="rect">
            <a:avLst/>
          </a:prstGeom>
        </p:spPr>
      </p:pic>
      <p:pic>
        <p:nvPicPr>
          <p:cNvPr id="28" name="Picture 16">
            <a:extLst>
              <a:ext uri="{FF2B5EF4-FFF2-40B4-BE49-F238E27FC236}">
                <a16:creationId xmlns:a16="http://schemas.microsoft.com/office/drawing/2014/main" id="{B82749D8-AD7B-2EBD-F075-5F07F69847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3333" y="3921237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29" name="Picture 2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6B34F90-1FEB-B2E0-3EB2-8F9FCF2486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8852" y="3695771"/>
            <a:ext cx="524604" cy="524604"/>
          </a:xfrm>
          <a:prstGeom prst="rect">
            <a:avLst/>
          </a:prstGeom>
        </p:spPr>
      </p:pic>
      <p:pic>
        <p:nvPicPr>
          <p:cNvPr id="30" name="Picture 16">
            <a:extLst>
              <a:ext uri="{FF2B5EF4-FFF2-40B4-BE49-F238E27FC236}">
                <a16:creationId xmlns:a16="http://schemas.microsoft.com/office/drawing/2014/main" id="{78D5B633-6E4F-11CC-A22C-84CFF7B4B5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259" y="1176814"/>
            <a:ext cx="485370" cy="447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pic>
        <p:nvPicPr>
          <p:cNvPr id="31" name="Picture 16">
            <a:extLst>
              <a:ext uri="{FF2B5EF4-FFF2-40B4-BE49-F238E27FC236}">
                <a16:creationId xmlns:a16="http://schemas.microsoft.com/office/drawing/2014/main" id="{509308F8-37F2-E939-8B3E-47CCF7287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660" y="1186655"/>
            <a:ext cx="485370" cy="447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</p:pic>
      <p:pic>
        <p:nvPicPr>
          <p:cNvPr id="34" name="Picture 16">
            <a:extLst>
              <a:ext uri="{FF2B5EF4-FFF2-40B4-BE49-F238E27FC236}">
                <a16:creationId xmlns:a16="http://schemas.microsoft.com/office/drawing/2014/main" id="{6601E9FB-C3A9-A3A6-1313-3717B13AB0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621" y="1184189"/>
            <a:ext cx="485370" cy="447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43063871-0E00-3322-349E-E3E40C968BFE}"/>
              </a:ext>
            </a:extLst>
          </p:cNvPr>
          <p:cNvSpPr txBox="1"/>
          <p:nvPr/>
        </p:nvSpPr>
        <p:spPr>
          <a:xfrm>
            <a:off x="2738685" y="1146304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0850040-F1E3-4424-7480-F1844AF88A4A}"/>
              </a:ext>
            </a:extLst>
          </p:cNvPr>
          <p:cNvSpPr txBox="1"/>
          <p:nvPr/>
        </p:nvSpPr>
        <p:spPr>
          <a:xfrm>
            <a:off x="3725162" y="1173233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+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0C8BA3E-2BE6-F49A-14D1-A6C937E3F7E9}"/>
              </a:ext>
            </a:extLst>
          </p:cNvPr>
          <p:cNvSpPr txBox="1"/>
          <p:nvPr/>
        </p:nvSpPr>
        <p:spPr>
          <a:xfrm>
            <a:off x="4745535" y="1133930"/>
            <a:ext cx="399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=</a:t>
            </a:r>
            <a:endParaRPr kumimoji="0" lang="en-AE" sz="2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48" name="Picture 20">
            <a:extLst>
              <a:ext uri="{FF2B5EF4-FFF2-40B4-BE49-F238E27FC236}">
                <a16:creationId xmlns:a16="http://schemas.microsoft.com/office/drawing/2014/main" id="{12329474-0212-0F05-9435-54C6CD3256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936" y="1099118"/>
            <a:ext cx="544291" cy="489330"/>
          </a:xfrm>
          <a:prstGeom prst="rect">
            <a:avLst/>
          </a:prstGeom>
          <a:noFill/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E6FC57EC-D4FF-4925-6518-D528B473F5EE}"/>
              </a:ext>
            </a:extLst>
          </p:cNvPr>
          <p:cNvSpPr/>
          <p:nvPr/>
        </p:nvSpPr>
        <p:spPr>
          <a:xfrm>
            <a:off x="2050398" y="953115"/>
            <a:ext cx="4031549" cy="8170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9" name="Picture 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DC8E2D-E618-3971-FBAD-9F15E25FD5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834" y="946190"/>
            <a:ext cx="524604" cy="524604"/>
          </a:xfrm>
          <a:prstGeom prst="rect">
            <a:avLst/>
          </a:prstGeom>
        </p:spPr>
      </p:pic>
      <p:pic>
        <p:nvPicPr>
          <p:cNvPr id="52" name="Picture 5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80AD745-CB06-A24E-253B-78140A1E92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896" y="938306"/>
            <a:ext cx="524604" cy="524604"/>
          </a:xfrm>
          <a:prstGeom prst="rect">
            <a:avLst/>
          </a:prstGeom>
        </p:spPr>
      </p:pic>
      <p:pic>
        <p:nvPicPr>
          <p:cNvPr id="53" name="Picture 52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0F31B31-BFC8-D5CD-4647-FA06DDA5BD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958" y="930422"/>
            <a:ext cx="524604" cy="524604"/>
          </a:xfrm>
          <a:prstGeom prst="rect">
            <a:avLst/>
          </a:prstGeom>
        </p:spPr>
      </p:pic>
      <p:pic>
        <p:nvPicPr>
          <p:cNvPr id="54" name="Picture 53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7283B08-FC4A-AF5A-295C-A2CA0918D9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2913" y="953115"/>
            <a:ext cx="557488" cy="55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16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5481 -0.1949 " pathEditMode="relative" ptsTypes="AA">
                                      <p:cBhvr>
                                        <p:cTn id="1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5481 -0.1949 " pathEditMode="relative" ptsTypes="AA">
                                      <p:cBhvr>
                                        <p:cTn id="19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7986 " pathEditMode="relative" ptsTypes="AA">
                                      <p:cBhvr>
                                        <p:cTn id="21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7986 " pathEditMode="relative" ptsTypes="AA">
                                      <p:cBhvr>
                                        <p:cTn id="23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4909 -0.20717 " pathEditMode="relative" ptsTypes="AA">
                                      <p:cBhvr>
                                        <p:cTn id="2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4909 -0.20717 " pathEditMode="relative" ptsTypes="AA">
                                      <p:cBhvr>
                                        <p:cTn id="27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6" grpId="0"/>
      <p:bldP spid="47" grpId="0"/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heme/theme1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0029CADD-249E-4DEB-927C-A1905749D3C3}" vid="{D7A71639-F575-4E48-8FDB-5786CD42D9CB}"/>
    </a:ext>
  </a:extLst>
</a:theme>
</file>

<file path=ppt/theme/theme2.xml><?xml version="1.0" encoding="utf-8"?>
<a:theme xmlns:a="http://schemas.openxmlformats.org/drawingml/2006/main" name="Dark_Cov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AI71 - Dark Theme">
  <a:themeElements>
    <a:clrScheme name="AI71">
      <a:dk1>
        <a:srgbClr val="000000"/>
      </a:dk1>
      <a:lt1>
        <a:sysClr val="window" lastClr="FFFFFF"/>
      </a:lt1>
      <a:dk2>
        <a:srgbClr val="241F20"/>
      </a:dk2>
      <a:lt2>
        <a:srgbClr val="EFF9FF"/>
      </a:lt2>
      <a:accent1>
        <a:srgbClr val="4A8FE4"/>
      </a:accent1>
      <a:accent2>
        <a:srgbClr val="241F20"/>
      </a:accent2>
      <a:accent3>
        <a:srgbClr val="79C5FD"/>
      </a:accent3>
      <a:accent4>
        <a:srgbClr val="843762"/>
      </a:accent4>
      <a:accent5>
        <a:srgbClr val="259694"/>
      </a:accent5>
      <a:accent6>
        <a:srgbClr val="282560"/>
      </a:accent6>
      <a:hlink>
        <a:srgbClr val="79C5FD"/>
      </a:hlink>
      <a:folHlink>
        <a:srgbClr val="282560"/>
      </a:folHlink>
    </a:clrScheme>
    <a:fontScheme name="Custom 13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I71">
    <a:dk1>
      <a:srgbClr val="000000"/>
    </a:dk1>
    <a:lt1>
      <a:sysClr val="window" lastClr="FFFFFF"/>
    </a:lt1>
    <a:dk2>
      <a:srgbClr val="241F20"/>
    </a:dk2>
    <a:lt2>
      <a:srgbClr val="EFF9FF"/>
    </a:lt2>
    <a:accent1>
      <a:srgbClr val="4A8FE4"/>
    </a:accent1>
    <a:accent2>
      <a:srgbClr val="241F20"/>
    </a:accent2>
    <a:accent3>
      <a:srgbClr val="79C5FD"/>
    </a:accent3>
    <a:accent4>
      <a:srgbClr val="843762"/>
    </a:accent4>
    <a:accent5>
      <a:srgbClr val="259694"/>
    </a:accent5>
    <a:accent6>
      <a:srgbClr val="282560"/>
    </a:accent6>
    <a:hlink>
      <a:srgbClr val="79C5FD"/>
    </a:hlink>
    <a:folHlink>
      <a:srgbClr val="28256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71993d1-0980-46a9-80f8-4318d7a82d9e">
      <Terms xmlns="http://schemas.microsoft.com/office/infopath/2007/PartnerControls"/>
    </lcf76f155ced4ddcb4097134ff3c332f>
    <TaxCatchAll xmlns="99d7de56-01d5-4750-a2a7-ffa05f83c0e9" xsi:nil="true"/>
    <Open_x0020_with_x0020_Seclore xmlns="d71993d1-0980-46a9-80f8-4318d7a82d9e" xsi:nil="true"/>
    <SharedWithUsers xmlns="99d7de56-01d5-4750-a2a7-ffa05f83c0e9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EEF89029119C4C8A6BF6E584B8D150" ma:contentTypeVersion="19" ma:contentTypeDescription="Create a new document." ma:contentTypeScope="" ma:versionID="9d2a568f373f48a0d3bd08fbee27c71c">
  <xsd:schema xmlns:xsd="http://www.w3.org/2001/XMLSchema" xmlns:xs="http://www.w3.org/2001/XMLSchema" xmlns:p="http://schemas.microsoft.com/office/2006/metadata/properties" xmlns:ns2="d71993d1-0980-46a9-80f8-4318d7a82d9e" xmlns:ns3="99d7de56-01d5-4750-a2a7-ffa05f83c0e9" targetNamespace="http://schemas.microsoft.com/office/2006/metadata/properties" ma:root="true" ma:fieldsID="42115f97f8cc0f58e92a1d8fe871e5c5" ns2:_="" ns3:_="">
    <xsd:import namespace="d71993d1-0980-46a9-80f8-4318d7a82d9e"/>
    <xsd:import namespace="99d7de56-01d5-4750-a2a7-ffa05f83c0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Open_x0020_with_x0020_Seclor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Billing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1993d1-0980-46a9-80f8-4318d7a82d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Open_x0020_with_x0020_Seclore" ma:index="13" nillable="true" ma:displayName="Open with Seclore" ma:hidden="true" ma:internalName="Open_x0020_with_x0020_Seclor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1da2b078-8700-4205-b40f-bd5c9f5457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d7de56-01d5-4750-a2a7-ffa05f83c0e9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63c19d4e-f997-4b5e-a57e-b9d993e9c34b}" ma:internalName="TaxCatchAll" ma:showField="CatchAllData" ma:web="99d7de56-01d5-4750-a2a7-ffa05f83c0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3DC16F-0ECA-4357-AF81-A8381DCAFF4F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d71993d1-0980-46a9-80f8-4318d7a82d9e"/>
    <ds:schemaRef ds:uri="http://schemas.microsoft.com/office/2006/metadata/properties"/>
    <ds:schemaRef ds:uri="http://schemas.openxmlformats.org/package/2006/metadata/core-properties"/>
    <ds:schemaRef ds:uri="99d7de56-01d5-4750-a2a7-ffa05f83c0e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0514E88-9877-4369-BCC5-D759287CA59F}">
  <ds:schemaRefs>
    <ds:schemaRef ds:uri="99d7de56-01d5-4750-a2a7-ffa05f83c0e9"/>
    <ds:schemaRef ds:uri="d71993d1-0980-46a9-80f8-4318d7a82d9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6</TotalTime>
  <Words>1349</Words>
  <Application>Microsoft Macintosh PowerPoint</Application>
  <PresentationFormat>Widescreen</PresentationFormat>
  <Paragraphs>402</Paragraphs>
  <Slides>31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9" baseType="lpstr">
      <vt:lpstr>Montserrat </vt:lpstr>
      <vt:lpstr>System Font Regular</vt:lpstr>
      <vt:lpstr>Aptos</vt:lpstr>
      <vt:lpstr>Arial</vt:lpstr>
      <vt:lpstr>Arial Black</vt:lpstr>
      <vt:lpstr>Calibri</vt:lpstr>
      <vt:lpstr>Cambria Math</vt:lpstr>
      <vt:lpstr>Charter</vt:lpstr>
      <vt:lpstr>Franklin Gothic Book</vt:lpstr>
      <vt:lpstr>Montserrat</vt:lpstr>
      <vt:lpstr>Montserrat ExtraBold</vt:lpstr>
      <vt:lpstr>Montserrat Medium</vt:lpstr>
      <vt:lpstr>Segoe UI</vt:lpstr>
      <vt:lpstr>Wingdings</vt:lpstr>
      <vt:lpstr>1_Kearney Report Template</vt:lpstr>
      <vt:lpstr>Dark_Cover</vt:lpstr>
      <vt:lpstr>2_AI71 - Dark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talGuard, applying MP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curity</vt:lpstr>
      <vt:lpstr>PowerPoint Presentation</vt:lpstr>
      <vt:lpstr>PowerPoint Presentation</vt:lpstr>
      <vt:lpstr>Verifiability</vt:lpstr>
      <vt:lpstr>PowerPoint Presentation</vt:lpstr>
      <vt:lpstr>PowerPoint Presentation</vt:lpstr>
      <vt:lpstr>Private Computation</vt:lpstr>
      <vt:lpstr>PowerPoint Presentation</vt:lpstr>
      <vt:lpstr>Deployment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han, Vigram</dc:creator>
  <cp:lastModifiedBy>Victor Sucasas</cp:lastModifiedBy>
  <cp:revision>7</cp:revision>
  <cp:lastPrinted>2025-05-23T07:26:44Z</cp:lastPrinted>
  <dcterms:created xsi:type="dcterms:W3CDTF">2024-11-21T07:32:31Z</dcterms:created>
  <dcterms:modified xsi:type="dcterms:W3CDTF">2026-06-22T20:1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EEF89029119C4C8A6BF6E584B8D150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2-11-07T17:18:51Z</vt:lpwstr>
  </property>
  <property fmtid="{D5CDD505-2E9C-101B-9397-08002B2CF9AE}" pid="5" name="MSIP_Label_0e815a84-bb14-486b-9367-c1af54c95fa4_Method">
    <vt:lpwstr>Privilege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ce246d1c-37b9-4eb5-8a18-2ecb0cf7a017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  <property fmtid="{D5CDD505-2E9C-101B-9397-08002B2CF9AE}" pid="11" name="Order">
    <vt:r8>283200</vt:r8>
  </property>
  <property fmtid="{D5CDD505-2E9C-101B-9397-08002B2CF9AE}" pid="12" name="_SourceUrl">
    <vt:lpwstr/>
  </property>
  <property fmtid="{D5CDD505-2E9C-101B-9397-08002B2CF9AE}" pid="13" name="_SharedFileIndex">
    <vt:lpwstr/>
  </property>
  <property fmtid="{D5CDD505-2E9C-101B-9397-08002B2CF9AE}" pid="14" name="ComplianceAssetId">
    <vt:lpwstr/>
  </property>
  <property fmtid="{D5CDD505-2E9C-101B-9397-08002B2CF9AE}" pid="15" name="_activity">
    <vt:lpwstr>{"FileActivityType":"9","FileActivityTimeStamp":"2025-11-11T13:34:36.053Z","FileActivityUsersOnPage":[{"DisplayName":"Clementine Dumortier","Id":"clementine.dumortier@ventureone.ae"},{"DisplayName":"Radia Soullami","Id":"radia.soullami@ventureone.ae"}],"FileActivityNavigationId":null}</vt:lpwstr>
  </property>
  <property fmtid="{D5CDD505-2E9C-101B-9397-08002B2CF9AE}" pid="16" name="_ExtendedDescription">
    <vt:lpwstr/>
  </property>
  <property fmtid="{D5CDD505-2E9C-101B-9397-08002B2CF9AE}" pid="17" name="TriggerFlowInfo">
    <vt:lpwstr/>
  </property>
  <property fmtid="{D5CDD505-2E9C-101B-9397-08002B2CF9AE}" pid="18" name="MSIP_Label_40d61a5c-c6b5-464d-8b3f-061f4b44183c_Enabled">
    <vt:lpwstr>true</vt:lpwstr>
  </property>
  <property fmtid="{D5CDD505-2E9C-101B-9397-08002B2CF9AE}" pid="19" name="MSIP_Label_40d61a5c-c6b5-464d-8b3f-061f4b44183c_SetDate">
    <vt:lpwstr>2026-02-26T07:26:15Z</vt:lpwstr>
  </property>
  <property fmtid="{D5CDD505-2E9C-101B-9397-08002B2CF9AE}" pid="20" name="MSIP_Label_40d61a5c-c6b5-464d-8b3f-061f4b44183c_Method">
    <vt:lpwstr>Standard</vt:lpwstr>
  </property>
  <property fmtid="{D5CDD505-2E9C-101B-9397-08002B2CF9AE}" pid="21" name="MSIP_Label_40d61a5c-c6b5-464d-8b3f-061f4b44183c_Name">
    <vt:lpwstr>Confidential</vt:lpwstr>
  </property>
  <property fmtid="{D5CDD505-2E9C-101B-9397-08002B2CF9AE}" pid="22" name="MSIP_Label_40d61a5c-c6b5-464d-8b3f-061f4b44183c_SiteId">
    <vt:lpwstr>f0869253-be00-4a37-9c77-37742cb15c38</vt:lpwstr>
  </property>
  <property fmtid="{D5CDD505-2E9C-101B-9397-08002B2CF9AE}" pid="23" name="MSIP_Label_40d61a5c-c6b5-464d-8b3f-061f4b44183c_ActionId">
    <vt:lpwstr>ab52d91f-b499-4b80-aebc-d25a17c4e55f</vt:lpwstr>
  </property>
  <property fmtid="{D5CDD505-2E9C-101B-9397-08002B2CF9AE}" pid="24" name="MSIP_Label_40d61a5c-c6b5-464d-8b3f-061f4b44183c_ContentBits">
    <vt:lpwstr>3</vt:lpwstr>
  </property>
  <property fmtid="{D5CDD505-2E9C-101B-9397-08002B2CF9AE}" pid="25" name="MSIP_Label_40d61a5c-c6b5-464d-8b3f-061f4b44183c_Tag">
    <vt:lpwstr>50, 1, 2, 1</vt:lpwstr>
  </property>
  <property fmtid="{D5CDD505-2E9C-101B-9397-08002B2CF9AE}" pid="26" name="ClassificationContentMarkingFooterLocations">
    <vt:lpwstr>1_Kearney Report Template:7\2_White Body:4\Dark_Cover:4\2_AI71 - Dark Theme:8\White Body:38</vt:lpwstr>
  </property>
  <property fmtid="{D5CDD505-2E9C-101B-9397-08002B2CF9AE}" pid="27" name="ClassificationContentMarkingFooterText">
    <vt:lpwstr>Document Classified as: Confidential  </vt:lpwstr>
  </property>
</Properties>
</file>